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93" r:id="rId4"/>
    <p:sldMasterId id="2147483720" r:id="rId5"/>
  </p:sldMasterIdLst>
  <p:notesMasterIdLst>
    <p:notesMasterId r:id="rId64"/>
  </p:notesMasterIdLst>
  <p:sldIdLst>
    <p:sldId id="260" r:id="rId6"/>
    <p:sldId id="258" r:id="rId7"/>
    <p:sldId id="296" r:id="rId8"/>
    <p:sldId id="307" r:id="rId9"/>
    <p:sldId id="284" r:id="rId10"/>
    <p:sldId id="295" r:id="rId11"/>
    <p:sldId id="294" r:id="rId12"/>
    <p:sldId id="292" r:id="rId13"/>
    <p:sldId id="305" r:id="rId14"/>
    <p:sldId id="297" r:id="rId15"/>
    <p:sldId id="273" r:id="rId16"/>
    <p:sldId id="303" r:id="rId17"/>
    <p:sldId id="272" r:id="rId18"/>
    <p:sldId id="298" r:id="rId19"/>
    <p:sldId id="283" r:id="rId20"/>
    <p:sldId id="278" r:id="rId21"/>
    <p:sldId id="281" r:id="rId22"/>
    <p:sldId id="259" r:id="rId23"/>
    <p:sldId id="300" r:id="rId24"/>
    <p:sldId id="291" r:id="rId25"/>
    <p:sldId id="293" r:id="rId26"/>
    <p:sldId id="289" r:id="rId27"/>
    <p:sldId id="308" r:id="rId28"/>
    <p:sldId id="309" r:id="rId29"/>
    <p:sldId id="327" r:id="rId30"/>
    <p:sldId id="310" r:id="rId31"/>
    <p:sldId id="311" r:id="rId32"/>
    <p:sldId id="312" r:id="rId33"/>
    <p:sldId id="313" r:id="rId34"/>
    <p:sldId id="314" r:id="rId35"/>
    <p:sldId id="315" r:id="rId36"/>
    <p:sldId id="316" r:id="rId37"/>
    <p:sldId id="317" r:id="rId38"/>
    <p:sldId id="318" r:id="rId39"/>
    <p:sldId id="319" r:id="rId40"/>
    <p:sldId id="320" r:id="rId41"/>
    <p:sldId id="325" r:id="rId42"/>
    <p:sldId id="328" r:id="rId43"/>
    <p:sldId id="329" r:id="rId44"/>
    <p:sldId id="330" r:id="rId45"/>
    <p:sldId id="331" r:id="rId46"/>
    <p:sldId id="332" r:id="rId47"/>
    <p:sldId id="333" r:id="rId48"/>
    <p:sldId id="334" r:id="rId49"/>
    <p:sldId id="335" r:id="rId50"/>
    <p:sldId id="336" r:id="rId51"/>
    <p:sldId id="337" r:id="rId52"/>
    <p:sldId id="338" r:id="rId53"/>
    <p:sldId id="343" r:id="rId54"/>
    <p:sldId id="342" r:id="rId55"/>
    <p:sldId id="339" r:id="rId56"/>
    <p:sldId id="340" r:id="rId57"/>
    <p:sldId id="341" r:id="rId58"/>
    <p:sldId id="344" r:id="rId59"/>
    <p:sldId id="345" r:id="rId60"/>
    <p:sldId id="346" r:id="rId61"/>
    <p:sldId id="347" r:id="rId62"/>
    <p:sldId id="326" r:id="rId63"/>
  </p:sldIdLst>
  <p:sldSz cx="9144000" cy="5143500" type="screen16x9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0505"/>
    <a:srgbClr val="FB840D"/>
    <a:srgbClr val="EC205F"/>
    <a:srgbClr val="FF3333"/>
    <a:srgbClr val="CA1C1C"/>
    <a:srgbClr val="000066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82" autoAdjust="0"/>
    <p:restoredTop sz="99712" autoAdjust="0"/>
  </p:normalViewPr>
  <p:slideViewPr>
    <p:cSldViewPr>
      <p:cViewPr>
        <p:scale>
          <a:sx n="133" d="100"/>
          <a:sy n="133" d="100"/>
        </p:scale>
        <p:origin x="-270" y="-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.engel\Documents\Projecten%20business%20consultancy\2%20Digital%20BU\Mobile\2014%2001%2005%20strategie\datadoc%20mobile%20strategy%20V2%20(nov%202013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Reeks 1</c:v>
                </c:pt>
              </c:strCache>
            </c:strRef>
          </c:tx>
          <c:invertIfNegative val="0"/>
          <c:dPt>
            <c:idx val="1"/>
            <c:invertIfNegative val="0"/>
            <c:bubble3D val="0"/>
          </c:dPt>
          <c:cat>
            <c:numRef>
              <c:f>Blad1!$A$2:$A$3</c:f>
              <c:numCache>
                <c:formatCode>General</c:formatCode>
                <c:ptCount val="2"/>
              </c:numCache>
            </c:numRef>
          </c:cat>
          <c:val>
            <c:numRef>
              <c:f>Blad1!$B$2:$B$3</c:f>
              <c:numCache>
                <c:formatCode>General</c:formatCode>
                <c:ptCount val="2"/>
                <c:pt idx="0">
                  <c:v>2</c:v>
                </c:pt>
              </c:numCache>
            </c:numRef>
          </c:val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Reeks 2</c:v>
                </c:pt>
              </c:strCache>
            </c:strRef>
          </c:tx>
          <c:invertIfNegative val="0"/>
          <c:cat>
            <c:numRef>
              <c:f>Blad1!$A$2:$A$3</c:f>
              <c:numCache>
                <c:formatCode>General</c:formatCode>
                <c:ptCount val="2"/>
              </c:numCache>
            </c:numRef>
          </c:cat>
          <c:val>
            <c:numRef>
              <c:f>Blad1!$C$2:$C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Reeks 3</c:v>
                </c:pt>
              </c:strCache>
            </c:strRef>
          </c:tx>
          <c:invertIfNegative val="0"/>
          <c:cat>
            <c:numRef>
              <c:f>Blad1!$A$2:$A$3</c:f>
              <c:numCache>
                <c:formatCode>General</c:formatCode>
                <c:ptCount val="2"/>
              </c:numCache>
            </c:numRef>
          </c:cat>
          <c:val>
            <c:numRef>
              <c:f>Blad1!$D$2:$D$3</c:f>
              <c:numCache>
                <c:formatCode>General</c:formatCode>
                <c:ptCount val="2"/>
                <c:pt idx="0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0335616"/>
        <c:axId val="80337152"/>
      </c:barChart>
      <c:barChart>
        <c:barDir val="col"/>
        <c:grouping val="stacked"/>
        <c:varyColors val="0"/>
        <c:ser>
          <c:idx val="3"/>
          <c:order val="3"/>
          <c:tx>
            <c:strRef>
              <c:f>Blad1!$E$1</c:f>
              <c:strCache>
                <c:ptCount val="1"/>
                <c:pt idx="0">
                  <c:v>Reeks 4</c:v>
                </c:pt>
              </c:strCache>
            </c:strRef>
          </c:tx>
          <c:invertIfNegative val="0"/>
          <c:cat>
            <c:numRef>
              <c:f>Blad1!$A$2:$A$3</c:f>
              <c:numCache>
                <c:formatCode>General</c:formatCode>
                <c:ptCount val="2"/>
              </c:numCache>
            </c:numRef>
          </c:cat>
          <c:val>
            <c:numRef>
              <c:f>Blad1!$E$2:$E$3</c:f>
              <c:numCache>
                <c:formatCode>General</c:formatCode>
                <c:ptCount val="2"/>
                <c:pt idx="1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80340480"/>
        <c:axId val="80338944"/>
      </c:barChart>
      <c:catAx>
        <c:axId val="80335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80337152"/>
        <c:crosses val="autoZero"/>
        <c:auto val="1"/>
        <c:lblAlgn val="ctr"/>
        <c:lblOffset val="100"/>
        <c:noMultiLvlLbl val="0"/>
      </c:catAx>
      <c:valAx>
        <c:axId val="80337152"/>
        <c:scaling>
          <c:orientation val="minMax"/>
          <c:max val="12"/>
        </c:scaling>
        <c:delete val="0"/>
        <c:axPos val="l"/>
        <c:majorGridlines/>
        <c:numFmt formatCode="General" sourceLinked="1"/>
        <c:majorTickMark val="out"/>
        <c:minorTickMark val="none"/>
        <c:tickLblPos val="none"/>
        <c:crossAx val="80335616"/>
        <c:crosses val="autoZero"/>
        <c:crossBetween val="between"/>
        <c:majorUnit val="2"/>
        <c:minorUnit val="0.4"/>
      </c:valAx>
      <c:valAx>
        <c:axId val="8033894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one"/>
        <c:crossAx val="80340480"/>
        <c:crosses val="max"/>
        <c:crossBetween val="between"/>
      </c:valAx>
      <c:catAx>
        <c:axId val="80340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033894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nl-N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rgbClr val="C4EEFF"/>
            </a:solidFill>
            <a:effectLst/>
          </c:spPr>
          <c:invertIfNegative val="0"/>
          <c:cat>
            <c:numRef>
              <c:f>Blad1!$A$2:$A$7</c:f>
              <c:numCache>
                <c:formatCode>General</c:formatCode>
                <c:ptCount val="6"/>
              </c:numCache>
            </c:numRef>
          </c:cat>
          <c:val>
            <c:numRef>
              <c:f>Blad1!$B$2:$B$7</c:f>
              <c:numCache>
                <c:formatCode>General</c:formatCode>
                <c:ptCount val="6"/>
                <c:pt idx="0">
                  <c:v>45</c:v>
                </c:pt>
                <c:pt idx="1">
                  <c:v>25</c:v>
                </c:pt>
                <c:pt idx="2">
                  <c:v>17</c:v>
                </c:pt>
                <c:pt idx="3">
                  <c:v>9</c:v>
                </c:pt>
                <c:pt idx="4">
                  <c:v>7</c:v>
                </c:pt>
                <c:pt idx="5">
                  <c:v>4</c:v>
                </c:pt>
              </c:numCache>
            </c:numRef>
          </c:val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rgbClr val="47B5F9"/>
            </a:solidFill>
            <a:effectLst/>
          </c:spPr>
          <c:invertIfNegative val="0"/>
          <c:cat>
            <c:numRef>
              <c:f>Blad1!$A$2:$A$7</c:f>
              <c:numCache>
                <c:formatCode>General</c:formatCode>
                <c:ptCount val="6"/>
              </c:numCache>
            </c:numRef>
          </c:cat>
          <c:val>
            <c:numRef>
              <c:f>Blad1!$C$2:$C$7</c:f>
              <c:numCache>
                <c:formatCode>General</c:formatCode>
                <c:ptCount val="6"/>
                <c:pt idx="0">
                  <c:v>43</c:v>
                </c:pt>
                <c:pt idx="1">
                  <c:v>26</c:v>
                </c:pt>
                <c:pt idx="2">
                  <c:v>15</c:v>
                </c:pt>
                <c:pt idx="3">
                  <c:v>7</c:v>
                </c:pt>
                <c:pt idx="4">
                  <c:v>7</c:v>
                </c:pt>
                <c:pt idx="5">
                  <c:v>9</c:v>
                </c:pt>
              </c:numCache>
            </c:numRef>
          </c:val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3587BB"/>
            </a:solidFill>
            <a:effectLst/>
          </c:spPr>
          <c:invertIfNegative val="0"/>
          <c:cat>
            <c:numRef>
              <c:f>Blad1!$A$2:$A$7</c:f>
              <c:numCache>
                <c:formatCode>General</c:formatCode>
                <c:ptCount val="6"/>
              </c:numCache>
            </c:numRef>
          </c:cat>
          <c:val>
            <c:numRef>
              <c:f>Blad1!$D$2:$D$7</c:f>
              <c:numCache>
                <c:formatCode>General</c:formatCode>
                <c:ptCount val="6"/>
                <c:pt idx="0">
                  <c:v>38</c:v>
                </c:pt>
                <c:pt idx="1">
                  <c:v>20</c:v>
                </c:pt>
                <c:pt idx="2">
                  <c:v>12</c:v>
                </c:pt>
                <c:pt idx="3">
                  <c:v>5</c:v>
                </c:pt>
                <c:pt idx="4">
                  <c:v>5</c:v>
                </c:pt>
                <c:pt idx="5">
                  <c:v>20</c:v>
                </c:pt>
              </c:numCache>
            </c:numRef>
          </c:val>
        </c:ser>
        <c:ser>
          <c:idx val="3"/>
          <c:order val="3"/>
          <c:tx>
            <c:strRef>
              <c:f>Blad1!$E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235B7F"/>
            </a:solidFill>
            <a:effectLst/>
          </c:spPr>
          <c:invertIfNegative val="0"/>
          <c:cat>
            <c:numRef>
              <c:f>Blad1!$A$2:$A$7</c:f>
              <c:numCache>
                <c:formatCode>General</c:formatCode>
                <c:ptCount val="6"/>
              </c:numCache>
            </c:numRef>
          </c:cat>
          <c:val>
            <c:numRef>
              <c:f>Blad1!$E$2:$E$7</c:f>
              <c:numCache>
                <c:formatCode>General</c:formatCode>
                <c:ptCount val="6"/>
                <c:pt idx="0">
                  <c:v>37</c:v>
                </c:pt>
                <c:pt idx="1">
                  <c:v>18</c:v>
                </c:pt>
                <c:pt idx="2">
                  <c:v>10</c:v>
                </c:pt>
                <c:pt idx="3">
                  <c:v>4</c:v>
                </c:pt>
                <c:pt idx="4">
                  <c:v>5</c:v>
                </c:pt>
                <c:pt idx="5">
                  <c:v>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736128"/>
        <c:axId val="130737664"/>
      </c:barChart>
      <c:catAx>
        <c:axId val="130736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0737664"/>
        <c:crosses val="autoZero"/>
        <c:auto val="1"/>
        <c:lblAlgn val="ctr"/>
        <c:lblOffset val="100"/>
        <c:noMultiLvlLbl val="0"/>
      </c:catAx>
      <c:valAx>
        <c:axId val="13073766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nl-NL"/>
          </a:p>
        </c:txPr>
        <c:crossAx val="1307361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91378032771917905"/>
          <c:y val="1.9658419365414799E-2"/>
          <c:w val="6.75979862404711E-2"/>
          <c:h val="0.32405435701736501"/>
        </c:manualLayout>
      </c:layout>
      <c:overlay val="0"/>
      <c:txPr>
        <a:bodyPr/>
        <a:lstStyle/>
        <a:p>
          <a:pPr>
            <a:defRPr sz="1000"/>
          </a:pPr>
          <a:endParaRPr lang="nl-N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N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datadoc mobile strategy V2 (nov 2013).xlsx]SUMMARY'!$C$184</c:f>
              <c:strCache>
                <c:ptCount val="1"/>
                <c:pt idx="0">
                  <c:v>Desktop</c:v>
                </c:pt>
              </c:strCache>
            </c:strRef>
          </c:tx>
          <c:spPr>
            <a:solidFill>
              <a:srgbClr val="47B5F9"/>
            </a:solidFill>
          </c:spPr>
          <c:invertIfNegative val="0"/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nl-N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[datadoc mobile strategy V2 (nov 2013).xlsx]SUMMARY'!$A$185:$B$205</c:f>
              <c:multiLvlStrCache>
                <c:ptCount val="21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</c:lvl>
                <c:lvl>
                  <c:pt idx="0">
                    <c:v>2010</c:v>
                  </c:pt>
                  <c:pt idx="4">
                    <c:v>2011</c:v>
                  </c:pt>
                  <c:pt idx="8">
                    <c:v>2012</c:v>
                  </c:pt>
                  <c:pt idx="12">
                    <c:v>2013</c:v>
                  </c:pt>
                  <c:pt idx="16">
                    <c:v>2014</c:v>
                  </c:pt>
                  <c:pt idx="20">
                    <c:v>2015</c:v>
                  </c:pt>
                </c:lvl>
              </c:multiLvlStrCache>
            </c:multiLvlStrRef>
          </c:cat>
          <c:val>
            <c:numRef>
              <c:f>'[datadoc mobile strategy V2 (nov 2013).xlsx]SUMMARY'!$C$185:$C$205</c:f>
              <c:numCache>
                <c:formatCode>0%</c:formatCode>
                <c:ptCount val="21"/>
                <c:pt idx="0">
                  <c:v>0.97163902717390305</c:v>
                </c:pt>
                <c:pt idx="1">
                  <c:v>0.96155278730981497</c:v>
                </c:pt>
                <c:pt idx="2">
                  <c:v>0.94161925499198496</c:v>
                </c:pt>
                <c:pt idx="3">
                  <c:v>0.90815536922729001</c:v>
                </c:pt>
                <c:pt idx="4">
                  <c:v>0.88249104828151503</c:v>
                </c:pt>
                <c:pt idx="5">
                  <c:v>0.82494690553129701</c:v>
                </c:pt>
                <c:pt idx="6">
                  <c:v>0.77153776274452701</c:v>
                </c:pt>
                <c:pt idx="7">
                  <c:v>0.71641205648928796</c:v>
                </c:pt>
                <c:pt idx="8">
                  <c:v>0.662252749237072</c:v>
                </c:pt>
                <c:pt idx="9">
                  <c:v>0.60987049112817404</c:v>
                </c:pt>
                <c:pt idx="10">
                  <c:v>0.549001567112121</c:v>
                </c:pt>
                <c:pt idx="11">
                  <c:v>0.53138609869652398</c:v>
                </c:pt>
                <c:pt idx="12">
                  <c:v>0.50312231016177</c:v>
                </c:pt>
                <c:pt idx="13">
                  <c:v>0.47464211525206701</c:v>
                </c:pt>
                <c:pt idx="14">
                  <c:v>0.41805689109959898</c:v>
                </c:pt>
                <c:pt idx="15">
                  <c:v>0.40796889312718598</c:v>
                </c:pt>
                <c:pt idx="16">
                  <c:v>0.40792656735083299</c:v>
                </c:pt>
                <c:pt idx="17">
                  <c:v>0.39307602788264701</c:v>
                </c:pt>
                <c:pt idx="18">
                  <c:v>0.34055394441237702</c:v>
                </c:pt>
                <c:pt idx="19">
                  <c:v>0.338807652247955</c:v>
                </c:pt>
                <c:pt idx="20">
                  <c:v>0.31814146002406202</c:v>
                </c:pt>
              </c:numCache>
            </c:numRef>
          </c:val>
        </c:ser>
        <c:ser>
          <c:idx val="1"/>
          <c:order val="1"/>
          <c:tx>
            <c:strRef>
              <c:f>'[datadoc mobile strategy V2 (nov 2013).xlsx]SUMMARY'!$D$184</c:f>
              <c:strCache>
                <c:ptCount val="1"/>
                <c:pt idx="0">
                  <c:v>Tablet (app &amp; web)</c:v>
                </c:pt>
              </c:strCache>
            </c:strRef>
          </c:tx>
          <c:spPr>
            <a:solidFill>
              <a:srgbClr val="3587BB"/>
            </a:solidFill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>
                <c:manualLayout>
                  <c:x val="0"/>
                  <c:y val="4.517772879036830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-8.535601307457070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-3.413607065101929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"/>
                  <c:y val="3.2062714279307303E-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"/>
                  <c:y val="-1.24913021360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"/>
                  <c:y val="1.954730115522899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0"/>
                  <c:y val="-2.618812565809139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5.8901558081137E-17"/>
                  <c:y val="1.9711610215094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nl-N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[datadoc mobile strategy V2 (nov 2013).xlsx]SUMMARY'!$A$185:$B$205</c:f>
              <c:multiLvlStrCache>
                <c:ptCount val="21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</c:lvl>
                <c:lvl>
                  <c:pt idx="0">
                    <c:v>2010</c:v>
                  </c:pt>
                  <c:pt idx="4">
                    <c:v>2011</c:v>
                  </c:pt>
                  <c:pt idx="8">
                    <c:v>2012</c:v>
                  </c:pt>
                  <c:pt idx="12">
                    <c:v>2013</c:v>
                  </c:pt>
                  <c:pt idx="16">
                    <c:v>2014</c:v>
                  </c:pt>
                  <c:pt idx="20">
                    <c:v>2015</c:v>
                  </c:pt>
                </c:lvl>
              </c:multiLvlStrCache>
            </c:multiLvlStrRef>
          </c:cat>
          <c:val>
            <c:numRef>
              <c:f>'[datadoc mobile strategy V2 (nov 2013).xlsx]SUMMARY'!$D$185:$D$205</c:f>
              <c:numCache>
                <c:formatCode>0%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3.1154207649257701E-3</c:v>
                </c:pt>
                <c:pt idx="3">
                  <c:v>5.82448059590609E-3</c:v>
                </c:pt>
                <c:pt idx="4">
                  <c:v>7.4363067258082401E-3</c:v>
                </c:pt>
                <c:pt idx="5">
                  <c:v>9.9776028000697504E-3</c:v>
                </c:pt>
                <c:pt idx="6">
                  <c:v>1.5825383826012299E-2</c:v>
                </c:pt>
                <c:pt idx="7">
                  <c:v>1.9565766350425499E-2</c:v>
                </c:pt>
                <c:pt idx="8">
                  <c:v>6.4442018187905598E-2</c:v>
                </c:pt>
                <c:pt idx="9">
                  <c:v>6.8589033272433403E-2</c:v>
                </c:pt>
                <c:pt idx="10">
                  <c:v>7.9950596157182294E-2</c:v>
                </c:pt>
                <c:pt idx="11">
                  <c:v>6.8548212090741606E-2</c:v>
                </c:pt>
                <c:pt idx="12">
                  <c:v>9.1592555817377394E-2</c:v>
                </c:pt>
                <c:pt idx="13">
                  <c:v>9.8848739716432196E-2</c:v>
                </c:pt>
                <c:pt idx="14">
                  <c:v>0.10795069895071401</c:v>
                </c:pt>
                <c:pt idx="15">
                  <c:v>0.116578174034974</c:v>
                </c:pt>
                <c:pt idx="16">
                  <c:v>0.12155495942326799</c:v>
                </c:pt>
                <c:pt idx="17">
                  <c:v>0.137471644494426</c:v>
                </c:pt>
                <c:pt idx="18">
                  <c:v>0.144445499748976</c:v>
                </c:pt>
                <c:pt idx="19">
                  <c:v>0.14717043490475501</c:v>
                </c:pt>
                <c:pt idx="20">
                  <c:v>0.146099024485495</c:v>
                </c:pt>
              </c:numCache>
            </c:numRef>
          </c:val>
        </c:ser>
        <c:ser>
          <c:idx val="2"/>
          <c:order val="2"/>
          <c:tx>
            <c:strRef>
              <c:f>'[datadoc mobile strategy V2 (nov 2013).xlsx]SUMMARY'!$E$184</c:f>
              <c:strCache>
                <c:ptCount val="1"/>
                <c:pt idx="0">
                  <c:v>Smartphone (app &amp; web)</c:v>
                </c:pt>
              </c:strCache>
            </c:strRef>
          </c:tx>
          <c:spPr>
            <a:solidFill>
              <a:srgbClr val="235B7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3465530218827402E-18"/>
                  <c:y val="4.342353773557319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3.203591413819519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nl-N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[datadoc mobile strategy V2 (nov 2013).xlsx]SUMMARY'!$A$185:$B$205</c:f>
              <c:multiLvlStrCache>
                <c:ptCount val="21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</c:lvl>
                <c:lvl>
                  <c:pt idx="0">
                    <c:v>2010</c:v>
                  </c:pt>
                  <c:pt idx="4">
                    <c:v>2011</c:v>
                  </c:pt>
                  <c:pt idx="8">
                    <c:v>2012</c:v>
                  </c:pt>
                  <c:pt idx="12">
                    <c:v>2013</c:v>
                  </c:pt>
                  <c:pt idx="16">
                    <c:v>2014</c:v>
                  </c:pt>
                  <c:pt idx="20">
                    <c:v>2015</c:v>
                  </c:pt>
                </c:lvl>
              </c:multiLvlStrCache>
            </c:multiLvlStrRef>
          </c:cat>
          <c:val>
            <c:numRef>
              <c:f>'[datadoc mobile strategy V2 (nov 2013).xlsx]SUMMARY'!$E$185:$E$205</c:f>
              <c:numCache>
                <c:formatCode>0%</c:formatCode>
                <c:ptCount val="21"/>
                <c:pt idx="0">
                  <c:v>2.8360972826096901E-2</c:v>
                </c:pt>
                <c:pt idx="1">
                  <c:v>3.8447212690184598E-2</c:v>
                </c:pt>
                <c:pt idx="2">
                  <c:v>5.52653242430894E-2</c:v>
                </c:pt>
                <c:pt idx="3">
                  <c:v>8.6020150176803895E-2</c:v>
                </c:pt>
                <c:pt idx="4">
                  <c:v>0.11007264499267699</c:v>
                </c:pt>
                <c:pt idx="5">
                  <c:v>0.165075491668633</c:v>
                </c:pt>
                <c:pt idx="6">
                  <c:v>0.21263685342946101</c:v>
                </c:pt>
                <c:pt idx="7">
                  <c:v>0.26402217716028697</c:v>
                </c:pt>
                <c:pt idx="8">
                  <c:v>0.27330523257502298</c:v>
                </c:pt>
                <c:pt idx="9">
                  <c:v>0.32154047559939303</c:v>
                </c:pt>
                <c:pt idx="10">
                  <c:v>0.37104783673069702</c:v>
                </c:pt>
                <c:pt idx="11">
                  <c:v>0.400065689212735</c:v>
                </c:pt>
                <c:pt idx="12">
                  <c:v>0.40528513402085298</c:v>
                </c:pt>
                <c:pt idx="13">
                  <c:v>0.426509145031501</c:v>
                </c:pt>
                <c:pt idx="14">
                  <c:v>0.473992409949687</c:v>
                </c:pt>
                <c:pt idx="15">
                  <c:v>0.47545293283784001</c:v>
                </c:pt>
                <c:pt idx="16">
                  <c:v>0.47051847322589901</c:v>
                </c:pt>
                <c:pt idx="17">
                  <c:v>0.46945232762292799</c:v>
                </c:pt>
                <c:pt idx="18">
                  <c:v>0.51500055583864701</c:v>
                </c:pt>
                <c:pt idx="19">
                  <c:v>0.51402191284729104</c:v>
                </c:pt>
                <c:pt idx="20">
                  <c:v>0.53575951549044298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210152064"/>
        <c:axId val="210157952"/>
      </c:barChart>
      <c:catAx>
        <c:axId val="210152064"/>
        <c:scaling>
          <c:orientation val="minMax"/>
        </c:scaling>
        <c:delete val="0"/>
        <c:axPos val="b"/>
        <c:majorTickMark val="out"/>
        <c:minorTickMark val="none"/>
        <c:tickLblPos val="nextTo"/>
        <c:crossAx val="210157952"/>
        <c:crosses val="autoZero"/>
        <c:auto val="1"/>
        <c:lblAlgn val="ctr"/>
        <c:lblOffset val="100"/>
        <c:noMultiLvlLbl val="0"/>
      </c:catAx>
      <c:valAx>
        <c:axId val="210157952"/>
        <c:scaling>
          <c:orientation val="minMax"/>
          <c:max val="1"/>
        </c:scaling>
        <c:delete val="1"/>
        <c:axPos val="l"/>
        <c:numFmt formatCode="0%" sourceLinked="1"/>
        <c:majorTickMark val="out"/>
        <c:minorTickMark val="none"/>
        <c:tickLblPos val="nextTo"/>
        <c:crossAx val="21015206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84A33C-6F22-402A-A719-77C475180300}" type="doc">
      <dgm:prSet loTypeId="urn:microsoft.com/office/officeart/2005/8/layout/chart3" loCatId="cycle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nl-NL"/>
        </a:p>
      </dgm:t>
    </dgm:pt>
    <dgm:pt modelId="{CE9EF848-C628-4F49-970C-6E0E31349891}">
      <dgm:prSet phldrT="[Tekst]" custT="1"/>
      <dgm:spPr>
        <a:solidFill>
          <a:srgbClr val="EC205F">
            <a:alpha val="90000"/>
          </a:srgbClr>
        </a:solidFill>
      </dgm:spPr>
      <dgm:t>
        <a:bodyPr/>
        <a:lstStyle/>
        <a:p>
          <a:r>
            <a:rPr lang="nl-NL" sz="2500" b="1" dirty="0" smtClean="0"/>
            <a:t>SIM</a:t>
          </a:r>
          <a:endParaRPr lang="nl-NL" sz="2500" b="1" dirty="0"/>
        </a:p>
      </dgm:t>
    </dgm:pt>
    <dgm:pt modelId="{BA92DFC0-259B-4075-AB16-07331D777EEF}" type="parTrans" cxnId="{21779C98-CED5-4BE9-BA03-9B0DC8C0CF10}">
      <dgm:prSet/>
      <dgm:spPr/>
      <dgm:t>
        <a:bodyPr/>
        <a:lstStyle/>
        <a:p>
          <a:endParaRPr lang="nl-NL"/>
        </a:p>
      </dgm:t>
    </dgm:pt>
    <dgm:pt modelId="{59CD1F4B-C313-4A45-931A-E24F26441164}" type="sibTrans" cxnId="{21779C98-CED5-4BE9-BA03-9B0DC8C0CF10}">
      <dgm:prSet/>
      <dgm:spPr/>
      <dgm:t>
        <a:bodyPr/>
        <a:lstStyle/>
        <a:p>
          <a:endParaRPr lang="nl-NL"/>
        </a:p>
      </dgm:t>
    </dgm:pt>
    <dgm:pt modelId="{AE54C182-7FB2-4507-B94F-F542B5C2FA10}">
      <dgm:prSet phldrT="[Tekst]" custT="1"/>
      <dgm:spPr>
        <a:solidFill>
          <a:srgbClr val="00B0F0">
            <a:alpha val="76667"/>
          </a:srgbClr>
        </a:solidFill>
      </dgm:spPr>
      <dgm:t>
        <a:bodyPr/>
        <a:lstStyle/>
        <a:p>
          <a:r>
            <a:rPr lang="nl-NL" sz="2500" b="1" dirty="0" smtClean="0"/>
            <a:t>HAAS</a:t>
          </a:r>
          <a:endParaRPr lang="nl-NL" sz="2500" b="1" dirty="0"/>
        </a:p>
      </dgm:t>
    </dgm:pt>
    <dgm:pt modelId="{D83F219C-F225-4C58-9CE4-4BFDD7314D59}" type="parTrans" cxnId="{3C6C7C55-BD3A-467D-AC0F-B29BA2E54849}">
      <dgm:prSet/>
      <dgm:spPr/>
      <dgm:t>
        <a:bodyPr/>
        <a:lstStyle/>
        <a:p>
          <a:endParaRPr lang="nl-NL"/>
        </a:p>
      </dgm:t>
    </dgm:pt>
    <dgm:pt modelId="{0C1CDC4B-76AD-4CFD-99F7-068544E484DC}" type="sibTrans" cxnId="{3C6C7C55-BD3A-467D-AC0F-B29BA2E54849}">
      <dgm:prSet/>
      <dgm:spPr/>
      <dgm:t>
        <a:bodyPr/>
        <a:lstStyle/>
        <a:p>
          <a:endParaRPr lang="nl-NL"/>
        </a:p>
      </dgm:t>
    </dgm:pt>
    <dgm:pt modelId="{6A473C8E-9B7E-4448-89CB-6F2402D00D48}">
      <dgm:prSet phldrT="[Tekst]" custT="1"/>
      <dgm:spPr>
        <a:solidFill>
          <a:srgbClr val="00B050"/>
        </a:solidFill>
      </dgm:spPr>
      <dgm:t>
        <a:bodyPr/>
        <a:lstStyle/>
        <a:p>
          <a:r>
            <a:rPr lang="nl-NL" sz="2500" b="1" dirty="0" smtClean="0"/>
            <a:t>CLOUD</a:t>
          </a:r>
          <a:endParaRPr lang="nl-NL" sz="2500" b="1" dirty="0"/>
        </a:p>
      </dgm:t>
    </dgm:pt>
    <dgm:pt modelId="{16698870-B3A1-47B2-885D-6F928892105F}" type="parTrans" cxnId="{50CFC0E9-3A18-4B12-BAD4-BC824125171C}">
      <dgm:prSet/>
      <dgm:spPr/>
      <dgm:t>
        <a:bodyPr/>
        <a:lstStyle/>
        <a:p>
          <a:endParaRPr lang="nl-NL"/>
        </a:p>
      </dgm:t>
    </dgm:pt>
    <dgm:pt modelId="{221C0494-6D5E-4F14-8D78-5F0EEBB1193D}" type="sibTrans" cxnId="{50CFC0E9-3A18-4B12-BAD4-BC824125171C}">
      <dgm:prSet/>
      <dgm:spPr/>
      <dgm:t>
        <a:bodyPr/>
        <a:lstStyle/>
        <a:p>
          <a:endParaRPr lang="nl-NL"/>
        </a:p>
      </dgm:t>
    </dgm:pt>
    <dgm:pt modelId="{AFA75D2E-F6E4-46D9-ABB2-928E1D9332E5}">
      <dgm:prSet custT="1"/>
      <dgm:spPr>
        <a:solidFill>
          <a:srgbClr val="FB840D">
            <a:alpha val="50000"/>
          </a:srgbClr>
        </a:solidFill>
      </dgm:spPr>
      <dgm:t>
        <a:bodyPr/>
        <a:lstStyle/>
        <a:p>
          <a:r>
            <a:rPr lang="nl-NL" sz="2500" b="1" dirty="0" smtClean="0"/>
            <a:t>SERVICE</a:t>
          </a:r>
          <a:endParaRPr lang="nl-NL" sz="2500" b="1" dirty="0"/>
        </a:p>
      </dgm:t>
    </dgm:pt>
    <dgm:pt modelId="{2E01F129-6E47-41DC-8914-8176D3A33D09}" type="parTrans" cxnId="{0C77FCE1-587D-4709-8917-BCD22E819823}">
      <dgm:prSet/>
      <dgm:spPr/>
      <dgm:t>
        <a:bodyPr/>
        <a:lstStyle/>
        <a:p>
          <a:endParaRPr lang="nl-NL"/>
        </a:p>
      </dgm:t>
    </dgm:pt>
    <dgm:pt modelId="{105EED7C-3607-4E54-93F7-2265DDA78CE6}" type="sibTrans" cxnId="{0C77FCE1-587D-4709-8917-BCD22E819823}">
      <dgm:prSet/>
      <dgm:spPr/>
      <dgm:t>
        <a:bodyPr/>
        <a:lstStyle/>
        <a:p>
          <a:endParaRPr lang="nl-NL"/>
        </a:p>
      </dgm:t>
    </dgm:pt>
    <dgm:pt modelId="{E01EFE79-F0AA-4F4E-B882-3ACB119CC624}" type="pres">
      <dgm:prSet presAssocID="{4A84A33C-6F22-402A-A719-77C475180300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nl-NL"/>
        </a:p>
      </dgm:t>
    </dgm:pt>
    <dgm:pt modelId="{C983EB90-9859-4B3E-AD3D-6A5B8491E8A1}" type="pres">
      <dgm:prSet presAssocID="{4A84A33C-6F22-402A-A719-77C475180300}" presName="wedge1" presStyleLbl="node1" presStyleIdx="0" presStyleCnt="4" custScaleX="100539" custScaleY="100539" custLinFactNeighborX="-2107" custLinFactNeighborY="3592"/>
      <dgm:spPr/>
      <dgm:t>
        <a:bodyPr/>
        <a:lstStyle/>
        <a:p>
          <a:endParaRPr lang="nl-NL"/>
        </a:p>
      </dgm:t>
    </dgm:pt>
    <dgm:pt modelId="{7A9CEB57-A3BC-48C8-9CFD-99712D84C85D}" type="pres">
      <dgm:prSet presAssocID="{4A84A33C-6F22-402A-A719-77C475180300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A837A120-2DAE-4CD1-ADCB-0ABBF1CAA991}" type="pres">
      <dgm:prSet presAssocID="{4A84A33C-6F22-402A-A719-77C475180300}" presName="wedge2" presStyleLbl="node1" presStyleIdx="1" presStyleCnt="4" custScaleX="100809" custScaleY="100809" custLinFactNeighborX="2107" custLinFactNeighborY="-622"/>
      <dgm:spPr/>
      <dgm:t>
        <a:bodyPr/>
        <a:lstStyle/>
        <a:p>
          <a:endParaRPr lang="nl-NL"/>
        </a:p>
      </dgm:t>
    </dgm:pt>
    <dgm:pt modelId="{4B908EB4-B2EB-45B4-96CF-F7715C2C439D}" type="pres">
      <dgm:prSet presAssocID="{4A84A33C-6F22-402A-A719-77C475180300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4917C1BE-A582-4ADE-8AAC-C725845A4FD7}" type="pres">
      <dgm:prSet presAssocID="{4A84A33C-6F22-402A-A719-77C475180300}" presName="wedge3" presStyleLbl="node1" presStyleIdx="2" presStyleCnt="4" custScaleX="109487" custScaleY="99253" custLinFactNeighborX="2047" custLinFactNeighborY="-362"/>
      <dgm:spPr/>
      <dgm:t>
        <a:bodyPr/>
        <a:lstStyle/>
        <a:p>
          <a:endParaRPr lang="nl-NL"/>
        </a:p>
      </dgm:t>
    </dgm:pt>
    <dgm:pt modelId="{2E7675FE-CDA9-47D5-A812-E49A5CF5ED95}" type="pres">
      <dgm:prSet presAssocID="{4A84A33C-6F22-402A-A719-77C475180300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B9E4DAAD-7F47-48C2-8F29-06D29115FE12}" type="pres">
      <dgm:prSet presAssocID="{4A84A33C-6F22-402A-A719-77C475180300}" presName="wedge4" presStyleLbl="node1" presStyleIdx="3" presStyleCnt="4" custScaleX="108847" custScaleY="101449" custLinFactNeighborX="1727" custLinFactNeighborY="-362"/>
      <dgm:spPr/>
      <dgm:t>
        <a:bodyPr/>
        <a:lstStyle/>
        <a:p>
          <a:endParaRPr lang="nl-NL"/>
        </a:p>
      </dgm:t>
    </dgm:pt>
    <dgm:pt modelId="{12EE15BD-D4D9-41B4-9AA3-E4F8185CD553}" type="pres">
      <dgm:prSet presAssocID="{4A84A33C-6F22-402A-A719-77C475180300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74031C9D-C0BD-4A87-85E5-5E19F7ABC835}" type="presOf" srcId="{CE9EF848-C628-4F49-970C-6E0E31349891}" destId="{C983EB90-9859-4B3E-AD3D-6A5B8491E8A1}" srcOrd="0" destOrd="0" presId="urn:microsoft.com/office/officeart/2005/8/layout/chart3"/>
    <dgm:cxn modelId="{3C6C7C55-BD3A-467D-AC0F-B29BA2E54849}" srcId="{4A84A33C-6F22-402A-A719-77C475180300}" destId="{AE54C182-7FB2-4507-B94F-F542B5C2FA10}" srcOrd="1" destOrd="0" parTransId="{D83F219C-F225-4C58-9CE4-4BFDD7314D59}" sibTransId="{0C1CDC4B-76AD-4CFD-99F7-068544E484DC}"/>
    <dgm:cxn modelId="{21779C98-CED5-4BE9-BA03-9B0DC8C0CF10}" srcId="{4A84A33C-6F22-402A-A719-77C475180300}" destId="{CE9EF848-C628-4F49-970C-6E0E31349891}" srcOrd="0" destOrd="0" parTransId="{BA92DFC0-259B-4075-AB16-07331D777EEF}" sibTransId="{59CD1F4B-C313-4A45-931A-E24F26441164}"/>
    <dgm:cxn modelId="{90E8670A-1170-41EF-9985-07C1D49E90C3}" type="presOf" srcId="{AE54C182-7FB2-4507-B94F-F542B5C2FA10}" destId="{A837A120-2DAE-4CD1-ADCB-0ABBF1CAA991}" srcOrd="0" destOrd="0" presId="urn:microsoft.com/office/officeart/2005/8/layout/chart3"/>
    <dgm:cxn modelId="{09D0D69C-5AF6-46C0-84BF-DF00BF3F71BE}" type="presOf" srcId="{6A473C8E-9B7E-4448-89CB-6F2402D00D48}" destId="{2E7675FE-CDA9-47D5-A812-E49A5CF5ED95}" srcOrd="1" destOrd="0" presId="urn:microsoft.com/office/officeart/2005/8/layout/chart3"/>
    <dgm:cxn modelId="{0C77FCE1-587D-4709-8917-BCD22E819823}" srcId="{4A84A33C-6F22-402A-A719-77C475180300}" destId="{AFA75D2E-F6E4-46D9-ABB2-928E1D9332E5}" srcOrd="3" destOrd="0" parTransId="{2E01F129-6E47-41DC-8914-8176D3A33D09}" sibTransId="{105EED7C-3607-4E54-93F7-2265DDA78CE6}"/>
    <dgm:cxn modelId="{E5A3967C-4D0D-4546-B93C-E33C4725D44C}" type="presOf" srcId="{CE9EF848-C628-4F49-970C-6E0E31349891}" destId="{7A9CEB57-A3BC-48C8-9CFD-99712D84C85D}" srcOrd="1" destOrd="0" presId="urn:microsoft.com/office/officeart/2005/8/layout/chart3"/>
    <dgm:cxn modelId="{50F7F654-BC29-4EF0-900A-6EFFA336C81E}" type="presOf" srcId="{AFA75D2E-F6E4-46D9-ABB2-928E1D9332E5}" destId="{12EE15BD-D4D9-41B4-9AA3-E4F8185CD553}" srcOrd="1" destOrd="0" presId="urn:microsoft.com/office/officeart/2005/8/layout/chart3"/>
    <dgm:cxn modelId="{E9F9CE69-2D72-4C1B-A6C1-358ACB9CD810}" type="presOf" srcId="{AFA75D2E-F6E4-46D9-ABB2-928E1D9332E5}" destId="{B9E4DAAD-7F47-48C2-8F29-06D29115FE12}" srcOrd="0" destOrd="0" presId="urn:microsoft.com/office/officeart/2005/8/layout/chart3"/>
    <dgm:cxn modelId="{361DAF0E-B892-467A-8F2A-59A605D1CA07}" type="presOf" srcId="{6A473C8E-9B7E-4448-89CB-6F2402D00D48}" destId="{4917C1BE-A582-4ADE-8AAC-C725845A4FD7}" srcOrd="0" destOrd="0" presId="urn:microsoft.com/office/officeart/2005/8/layout/chart3"/>
    <dgm:cxn modelId="{50CFC0E9-3A18-4B12-BAD4-BC824125171C}" srcId="{4A84A33C-6F22-402A-A719-77C475180300}" destId="{6A473C8E-9B7E-4448-89CB-6F2402D00D48}" srcOrd="2" destOrd="0" parTransId="{16698870-B3A1-47B2-885D-6F928892105F}" sibTransId="{221C0494-6D5E-4F14-8D78-5F0EEBB1193D}"/>
    <dgm:cxn modelId="{D33317EB-1950-4A56-988F-362526EA25E5}" type="presOf" srcId="{4A84A33C-6F22-402A-A719-77C475180300}" destId="{E01EFE79-F0AA-4F4E-B882-3ACB119CC624}" srcOrd="0" destOrd="0" presId="urn:microsoft.com/office/officeart/2005/8/layout/chart3"/>
    <dgm:cxn modelId="{DB59F3F6-C837-4B8E-B2CB-356DC045FE5D}" type="presOf" srcId="{AE54C182-7FB2-4507-B94F-F542B5C2FA10}" destId="{4B908EB4-B2EB-45B4-96CF-F7715C2C439D}" srcOrd="1" destOrd="0" presId="urn:microsoft.com/office/officeart/2005/8/layout/chart3"/>
    <dgm:cxn modelId="{863F8602-71C1-4D43-9FF3-D5262A25FA8E}" type="presParOf" srcId="{E01EFE79-F0AA-4F4E-B882-3ACB119CC624}" destId="{C983EB90-9859-4B3E-AD3D-6A5B8491E8A1}" srcOrd="0" destOrd="0" presId="urn:microsoft.com/office/officeart/2005/8/layout/chart3"/>
    <dgm:cxn modelId="{377F808E-4CFF-4E44-A99A-C9CE55C7395C}" type="presParOf" srcId="{E01EFE79-F0AA-4F4E-B882-3ACB119CC624}" destId="{7A9CEB57-A3BC-48C8-9CFD-99712D84C85D}" srcOrd="1" destOrd="0" presId="urn:microsoft.com/office/officeart/2005/8/layout/chart3"/>
    <dgm:cxn modelId="{7B29B433-BDD6-436E-9B96-DE2910B52F91}" type="presParOf" srcId="{E01EFE79-F0AA-4F4E-B882-3ACB119CC624}" destId="{A837A120-2DAE-4CD1-ADCB-0ABBF1CAA991}" srcOrd="2" destOrd="0" presId="urn:microsoft.com/office/officeart/2005/8/layout/chart3"/>
    <dgm:cxn modelId="{57D93B94-25AF-460D-950F-37DD60459286}" type="presParOf" srcId="{E01EFE79-F0AA-4F4E-B882-3ACB119CC624}" destId="{4B908EB4-B2EB-45B4-96CF-F7715C2C439D}" srcOrd="3" destOrd="0" presId="urn:microsoft.com/office/officeart/2005/8/layout/chart3"/>
    <dgm:cxn modelId="{B1D8BB3C-B365-43DB-966B-D1932542F4FA}" type="presParOf" srcId="{E01EFE79-F0AA-4F4E-B882-3ACB119CC624}" destId="{4917C1BE-A582-4ADE-8AAC-C725845A4FD7}" srcOrd="4" destOrd="0" presId="urn:microsoft.com/office/officeart/2005/8/layout/chart3"/>
    <dgm:cxn modelId="{B767DE46-D28B-4EED-B86D-5C6F2710FB30}" type="presParOf" srcId="{E01EFE79-F0AA-4F4E-B882-3ACB119CC624}" destId="{2E7675FE-CDA9-47D5-A812-E49A5CF5ED95}" srcOrd="5" destOrd="0" presId="urn:microsoft.com/office/officeart/2005/8/layout/chart3"/>
    <dgm:cxn modelId="{1B7740C5-1903-4E65-9504-70E2EC84FEBD}" type="presParOf" srcId="{E01EFE79-F0AA-4F4E-B882-3ACB119CC624}" destId="{B9E4DAAD-7F47-48C2-8F29-06D29115FE12}" srcOrd="6" destOrd="0" presId="urn:microsoft.com/office/officeart/2005/8/layout/chart3"/>
    <dgm:cxn modelId="{9D4C65E5-A7CA-44AF-A134-FB499EFE6DFF}" type="presParOf" srcId="{E01EFE79-F0AA-4F4E-B882-3ACB119CC624}" destId="{12EE15BD-D4D9-41B4-9AA3-E4F8185CD553}" srcOrd="7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A84A33C-6F22-402A-A719-77C475180300}" type="doc">
      <dgm:prSet loTypeId="urn:microsoft.com/office/officeart/2005/8/layout/chart3" loCatId="cycle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nl-NL"/>
        </a:p>
      </dgm:t>
    </dgm:pt>
    <dgm:pt modelId="{CE9EF848-C628-4F49-970C-6E0E31349891}">
      <dgm:prSet phldrT="[Tekst]" custT="1"/>
      <dgm:spPr>
        <a:solidFill>
          <a:srgbClr val="EC205F">
            <a:alpha val="90000"/>
          </a:srgbClr>
        </a:solidFill>
      </dgm:spPr>
      <dgm:t>
        <a:bodyPr/>
        <a:lstStyle/>
        <a:p>
          <a:r>
            <a:rPr lang="nl-NL" sz="2500" b="1" dirty="0" smtClean="0"/>
            <a:t>SIM</a:t>
          </a:r>
          <a:endParaRPr lang="nl-NL" sz="2500" b="1" dirty="0"/>
        </a:p>
      </dgm:t>
    </dgm:pt>
    <dgm:pt modelId="{BA92DFC0-259B-4075-AB16-07331D777EEF}" type="parTrans" cxnId="{21779C98-CED5-4BE9-BA03-9B0DC8C0CF10}">
      <dgm:prSet/>
      <dgm:spPr/>
      <dgm:t>
        <a:bodyPr/>
        <a:lstStyle/>
        <a:p>
          <a:endParaRPr lang="nl-NL"/>
        </a:p>
      </dgm:t>
    </dgm:pt>
    <dgm:pt modelId="{59CD1F4B-C313-4A45-931A-E24F26441164}" type="sibTrans" cxnId="{21779C98-CED5-4BE9-BA03-9B0DC8C0CF10}">
      <dgm:prSet/>
      <dgm:spPr/>
      <dgm:t>
        <a:bodyPr/>
        <a:lstStyle/>
        <a:p>
          <a:endParaRPr lang="nl-NL"/>
        </a:p>
      </dgm:t>
    </dgm:pt>
    <dgm:pt modelId="{AE54C182-7FB2-4507-B94F-F542B5C2FA10}">
      <dgm:prSet phldrT="[Tekst]" custT="1"/>
      <dgm:spPr>
        <a:solidFill>
          <a:srgbClr val="00B0F0">
            <a:alpha val="76667"/>
          </a:srgbClr>
        </a:solidFill>
      </dgm:spPr>
      <dgm:t>
        <a:bodyPr/>
        <a:lstStyle/>
        <a:p>
          <a:r>
            <a:rPr lang="nl-NL" sz="2500" b="1" dirty="0" smtClean="0"/>
            <a:t>HAAS</a:t>
          </a:r>
          <a:endParaRPr lang="nl-NL" sz="2500" b="1" dirty="0"/>
        </a:p>
      </dgm:t>
    </dgm:pt>
    <dgm:pt modelId="{D83F219C-F225-4C58-9CE4-4BFDD7314D59}" type="parTrans" cxnId="{3C6C7C55-BD3A-467D-AC0F-B29BA2E54849}">
      <dgm:prSet/>
      <dgm:spPr/>
      <dgm:t>
        <a:bodyPr/>
        <a:lstStyle/>
        <a:p>
          <a:endParaRPr lang="nl-NL"/>
        </a:p>
      </dgm:t>
    </dgm:pt>
    <dgm:pt modelId="{0C1CDC4B-76AD-4CFD-99F7-068544E484DC}" type="sibTrans" cxnId="{3C6C7C55-BD3A-467D-AC0F-B29BA2E54849}">
      <dgm:prSet/>
      <dgm:spPr/>
      <dgm:t>
        <a:bodyPr/>
        <a:lstStyle/>
        <a:p>
          <a:endParaRPr lang="nl-NL"/>
        </a:p>
      </dgm:t>
    </dgm:pt>
    <dgm:pt modelId="{6A473C8E-9B7E-4448-89CB-6F2402D00D48}">
      <dgm:prSet phldrT="[Tekst]" custT="1"/>
      <dgm:spPr>
        <a:solidFill>
          <a:srgbClr val="00B050"/>
        </a:solidFill>
      </dgm:spPr>
      <dgm:t>
        <a:bodyPr/>
        <a:lstStyle/>
        <a:p>
          <a:r>
            <a:rPr lang="nl-NL" sz="2500" b="1" dirty="0" smtClean="0"/>
            <a:t>CLOUD</a:t>
          </a:r>
          <a:endParaRPr lang="nl-NL" sz="2500" b="1" dirty="0"/>
        </a:p>
      </dgm:t>
    </dgm:pt>
    <dgm:pt modelId="{16698870-B3A1-47B2-885D-6F928892105F}" type="parTrans" cxnId="{50CFC0E9-3A18-4B12-BAD4-BC824125171C}">
      <dgm:prSet/>
      <dgm:spPr/>
      <dgm:t>
        <a:bodyPr/>
        <a:lstStyle/>
        <a:p>
          <a:endParaRPr lang="nl-NL"/>
        </a:p>
      </dgm:t>
    </dgm:pt>
    <dgm:pt modelId="{221C0494-6D5E-4F14-8D78-5F0EEBB1193D}" type="sibTrans" cxnId="{50CFC0E9-3A18-4B12-BAD4-BC824125171C}">
      <dgm:prSet/>
      <dgm:spPr/>
      <dgm:t>
        <a:bodyPr/>
        <a:lstStyle/>
        <a:p>
          <a:endParaRPr lang="nl-NL"/>
        </a:p>
      </dgm:t>
    </dgm:pt>
    <dgm:pt modelId="{AFA75D2E-F6E4-46D9-ABB2-928E1D9332E5}">
      <dgm:prSet custT="1"/>
      <dgm:spPr>
        <a:solidFill>
          <a:srgbClr val="FB840D">
            <a:alpha val="50000"/>
          </a:srgbClr>
        </a:solidFill>
      </dgm:spPr>
      <dgm:t>
        <a:bodyPr/>
        <a:lstStyle/>
        <a:p>
          <a:r>
            <a:rPr lang="nl-NL" sz="2500" b="1" dirty="0" smtClean="0"/>
            <a:t>SERVICE</a:t>
          </a:r>
          <a:endParaRPr lang="nl-NL" sz="2500" b="1" dirty="0"/>
        </a:p>
      </dgm:t>
    </dgm:pt>
    <dgm:pt modelId="{2E01F129-6E47-41DC-8914-8176D3A33D09}" type="parTrans" cxnId="{0C77FCE1-587D-4709-8917-BCD22E819823}">
      <dgm:prSet/>
      <dgm:spPr/>
      <dgm:t>
        <a:bodyPr/>
        <a:lstStyle/>
        <a:p>
          <a:endParaRPr lang="nl-NL"/>
        </a:p>
      </dgm:t>
    </dgm:pt>
    <dgm:pt modelId="{105EED7C-3607-4E54-93F7-2265DDA78CE6}" type="sibTrans" cxnId="{0C77FCE1-587D-4709-8917-BCD22E819823}">
      <dgm:prSet/>
      <dgm:spPr/>
      <dgm:t>
        <a:bodyPr/>
        <a:lstStyle/>
        <a:p>
          <a:endParaRPr lang="nl-NL"/>
        </a:p>
      </dgm:t>
    </dgm:pt>
    <dgm:pt modelId="{E01EFE79-F0AA-4F4E-B882-3ACB119CC624}" type="pres">
      <dgm:prSet presAssocID="{4A84A33C-6F22-402A-A719-77C475180300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nl-NL"/>
        </a:p>
      </dgm:t>
    </dgm:pt>
    <dgm:pt modelId="{C983EB90-9859-4B3E-AD3D-6A5B8491E8A1}" type="pres">
      <dgm:prSet presAssocID="{4A84A33C-6F22-402A-A719-77C475180300}" presName="wedge1" presStyleLbl="node1" presStyleIdx="0" presStyleCnt="4" custScaleX="100539" custScaleY="100539" custLinFactNeighborX="-2107" custLinFactNeighborY="3592"/>
      <dgm:spPr/>
      <dgm:t>
        <a:bodyPr/>
        <a:lstStyle/>
        <a:p>
          <a:endParaRPr lang="nl-NL"/>
        </a:p>
      </dgm:t>
    </dgm:pt>
    <dgm:pt modelId="{7A9CEB57-A3BC-48C8-9CFD-99712D84C85D}" type="pres">
      <dgm:prSet presAssocID="{4A84A33C-6F22-402A-A719-77C475180300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A837A120-2DAE-4CD1-ADCB-0ABBF1CAA991}" type="pres">
      <dgm:prSet presAssocID="{4A84A33C-6F22-402A-A719-77C475180300}" presName="wedge2" presStyleLbl="node1" presStyleIdx="1" presStyleCnt="4" custScaleX="100809" custScaleY="100809" custLinFactNeighborX="2107" custLinFactNeighborY="-622"/>
      <dgm:spPr/>
      <dgm:t>
        <a:bodyPr/>
        <a:lstStyle/>
        <a:p>
          <a:endParaRPr lang="nl-NL"/>
        </a:p>
      </dgm:t>
    </dgm:pt>
    <dgm:pt modelId="{4B908EB4-B2EB-45B4-96CF-F7715C2C439D}" type="pres">
      <dgm:prSet presAssocID="{4A84A33C-6F22-402A-A719-77C475180300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4917C1BE-A582-4ADE-8AAC-C725845A4FD7}" type="pres">
      <dgm:prSet presAssocID="{4A84A33C-6F22-402A-A719-77C475180300}" presName="wedge3" presStyleLbl="node1" presStyleIdx="2" presStyleCnt="4" custScaleX="131489" custScaleY="119199" custLinFactNeighborX="2047" custLinFactNeighborY="-362"/>
      <dgm:spPr/>
      <dgm:t>
        <a:bodyPr/>
        <a:lstStyle/>
        <a:p>
          <a:endParaRPr lang="nl-NL"/>
        </a:p>
      </dgm:t>
    </dgm:pt>
    <dgm:pt modelId="{2E7675FE-CDA9-47D5-A812-E49A5CF5ED95}" type="pres">
      <dgm:prSet presAssocID="{4A84A33C-6F22-402A-A719-77C475180300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B9E4DAAD-7F47-48C2-8F29-06D29115FE12}" type="pres">
      <dgm:prSet presAssocID="{4A84A33C-6F22-402A-A719-77C475180300}" presName="wedge4" presStyleLbl="node1" presStyleIdx="3" presStyleCnt="4" custScaleX="109811" custScaleY="101447" custLinFactNeighborX="1920" custLinFactNeighborY="-918"/>
      <dgm:spPr/>
      <dgm:t>
        <a:bodyPr/>
        <a:lstStyle/>
        <a:p>
          <a:endParaRPr lang="nl-NL"/>
        </a:p>
      </dgm:t>
    </dgm:pt>
    <dgm:pt modelId="{12EE15BD-D4D9-41B4-9AA3-E4F8185CD553}" type="pres">
      <dgm:prSet presAssocID="{4A84A33C-6F22-402A-A719-77C475180300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35FE204B-A08A-4D9C-8CF2-AFC86C5B3C4C}" type="presOf" srcId="{AFA75D2E-F6E4-46D9-ABB2-928E1D9332E5}" destId="{12EE15BD-D4D9-41B4-9AA3-E4F8185CD553}" srcOrd="1" destOrd="0" presId="urn:microsoft.com/office/officeart/2005/8/layout/chart3"/>
    <dgm:cxn modelId="{3C6C7C55-BD3A-467D-AC0F-B29BA2E54849}" srcId="{4A84A33C-6F22-402A-A719-77C475180300}" destId="{AE54C182-7FB2-4507-B94F-F542B5C2FA10}" srcOrd="1" destOrd="0" parTransId="{D83F219C-F225-4C58-9CE4-4BFDD7314D59}" sibTransId="{0C1CDC4B-76AD-4CFD-99F7-068544E484DC}"/>
    <dgm:cxn modelId="{C3021A3D-E8AA-48BE-A66B-20BE28577350}" type="presOf" srcId="{6A473C8E-9B7E-4448-89CB-6F2402D00D48}" destId="{4917C1BE-A582-4ADE-8AAC-C725845A4FD7}" srcOrd="0" destOrd="0" presId="urn:microsoft.com/office/officeart/2005/8/layout/chart3"/>
    <dgm:cxn modelId="{21779C98-CED5-4BE9-BA03-9B0DC8C0CF10}" srcId="{4A84A33C-6F22-402A-A719-77C475180300}" destId="{CE9EF848-C628-4F49-970C-6E0E31349891}" srcOrd="0" destOrd="0" parTransId="{BA92DFC0-259B-4075-AB16-07331D777EEF}" sibTransId="{59CD1F4B-C313-4A45-931A-E24F26441164}"/>
    <dgm:cxn modelId="{F87E6C77-CB40-451F-B710-E400FDE9E9F5}" type="presOf" srcId="{6A473C8E-9B7E-4448-89CB-6F2402D00D48}" destId="{2E7675FE-CDA9-47D5-A812-E49A5CF5ED95}" srcOrd="1" destOrd="0" presId="urn:microsoft.com/office/officeart/2005/8/layout/chart3"/>
    <dgm:cxn modelId="{64CEC7AD-C65F-49EF-886F-64C8B29F4B13}" type="presOf" srcId="{AE54C182-7FB2-4507-B94F-F542B5C2FA10}" destId="{A837A120-2DAE-4CD1-ADCB-0ABBF1CAA991}" srcOrd="0" destOrd="0" presId="urn:microsoft.com/office/officeart/2005/8/layout/chart3"/>
    <dgm:cxn modelId="{0C77FCE1-587D-4709-8917-BCD22E819823}" srcId="{4A84A33C-6F22-402A-A719-77C475180300}" destId="{AFA75D2E-F6E4-46D9-ABB2-928E1D9332E5}" srcOrd="3" destOrd="0" parTransId="{2E01F129-6E47-41DC-8914-8176D3A33D09}" sibTransId="{105EED7C-3607-4E54-93F7-2265DDA78CE6}"/>
    <dgm:cxn modelId="{6ED64791-8B53-4701-B9D8-6E3334EC2311}" type="presOf" srcId="{AFA75D2E-F6E4-46D9-ABB2-928E1D9332E5}" destId="{B9E4DAAD-7F47-48C2-8F29-06D29115FE12}" srcOrd="0" destOrd="0" presId="urn:microsoft.com/office/officeart/2005/8/layout/chart3"/>
    <dgm:cxn modelId="{46F591EE-80F7-4E97-A804-E893006A8C2D}" type="presOf" srcId="{CE9EF848-C628-4F49-970C-6E0E31349891}" destId="{C983EB90-9859-4B3E-AD3D-6A5B8491E8A1}" srcOrd="0" destOrd="0" presId="urn:microsoft.com/office/officeart/2005/8/layout/chart3"/>
    <dgm:cxn modelId="{09CFF86E-1EBF-4485-9C9E-7AF013627176}" type="presOf" srcId="{4A84A33C-6F22-402A-A719-77C475180300}" destId="{E01EFE79-F0AA-4F4E-B882-3ACB119CC624}" srcOrd="0" destOrd="0" presId="urn:microsoft.com/office/officeart/2005/8/layout/chart3"/>
    <dgm:cxn modelId="{422F74AF-395D-4321-B25E-482791BB02ED}" type="presOf" srcId="{CE9EF848-C628-4F49-970C-6E0E31349891}" destId="{7A9CEB57-A3BC-48C8-9CFD-99712D84C85D}" srcOrd="1" destOrd="0" presId="urn:microsoft.com/office/officeart/2005/8/layout/chart3"/>
    <dgm:cxn modelId="{50CFC0E9-3A18-4B12-BAD4-BC824125171C}" srcId="{4A84A33C-6F22-402A-A719-77C475180300}" destId="{6A473C8E-9B7E-4448-89CB-6F2402D00D48}" srcOrd="2" destOrd="0" parTransId="{16698870-B3A1-47B2-885D-6F928892105F}" sibTransId="{221C0494-6D5E-4F14-8D78-5F0EEBB1193D}"/>
    <dgm:cxn modelId="{238AD08E-79BF-4BCD-9968-54CACBB59AE2}" type="presOf" srcId="{AE54C182-7FB2-4507-B94F-F542B5C2FA10}" destId="{4B908EB4-B2EB-45B4-96CF-F7715C2C439D}" srcOrd="1" destOrd="0" presId="urn:microsoft.com/office/officeart/2005/8/layout/chart3"/>
    <dgm:cxn modelId="{368541A8-BF87-48B6-93A5-D354E5D989F1}" type="presParOf" srcId="{E01EFE79-F0AA-4F4E-B882-3ACB119CC624}" destId="{C983EB90-9859-4B3E-AD3D-6A5B8491E8A1}" srcOrd="0" destOrd="0" presId="urn:microsoft.com/office/officeart/2005/8/layout/chart3"/>
    <dgm:cxn modelId="{16E7BD4D-9592-4E32-82F4-930139AC3870}" type="presParOf" srcId="{E01EFE79-F0AA-4F4E-B882-3ACB119CC624}" destId="{7A9CEB57-A3BC-48C8-9CFD-99712D84C85D}" srcOrd="1" destOrd="0" presId="urn:microsoft.com/office/officeart/2005/8/layout/chart3"/>
    <dgm:cxn modelId="{CCE76167-6017-4038-90FB-CE6AD29C589B}" type="presParOf" srcId="{E01EFE79-F0AA-4F4E-B882-3ACB119CC624}" destId="{A837A120-2DAE-4CD1-ADCB-0ABBF1CAA991}" srcOrd="2" destOrd="0" presId="urn:microsoft.com/office/officeart/2005/8/layout/chart3"/>
    <dgm:cxn modelId="{EBCBA128-18FA-4DC6-A038-9FD49104263D}" type="presParOf" srcId="{E01EFE79-F0AA-4F4E-B882-3ACB119CC624}" destId="{4B908EB4-B2EB-45B4-96CF-F7715C2C439D}" srcOrd="3" destOrd="0" presId="urn:microsoft.com/office/officeart/2005/8/layout/chart3"/>
    <dgm:cxn modelId="{9335F3F2-2AF9-465C-8F95-6413FE2C8E1E}" type="presParOf" srcId="{E01EFE79-F0AA-4F4E-B882-3ACB119CC624}" destId="{4917C1BE-A582-4ADE-8AAC-C725845A4FD7}" srcOrd="4" destOrd="0" presId="urn:microsoft.com/office/officeart/2005/8/layout/chart3"/>
    <dgm:cxn modelId="{02EB779F-7745-4685-B2D9-AC97D3D8F67A}" type="presParOf" srcId="{E01EFE79-F0AA-4F4E-B882-3ACB119CC624}" destId="{2E7675FE-CDA9-47D5-A812-E49A5CF5ED95}" srcOrd="5" destOrd="0" presId="urn:microsoft.com/office/officeart/2005/8/layout/chart3"/>
    <dgm:cxn modelId="{0E29184B-4F69-46ED-8DCC-D65D3A4EB3A7}" type="presParOf" srcId="{E01EFE79-F0AA-4F4E-B882-3ACB119CC624}" destId="{B9E4DAAD-7F47-48C2-8F29-06D29115FE12}" srcOrd="6" destOrd="0" presId="urn:microsoft.com/office/officeart/2005/8/layout/chart3"/>
    <dgm:cxn modelId="{78AB5D84-32BF-4100-9824-8A0EA2929600}" type="presParOf" srcId="{E01EFE79-F0AA-4F4E-B882-3ACB119CC624}" destId="{12EE15BD-D4D9-41B4-9AA3-E4F8185CD553}" srcOrd="7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A84A33C-6F22-402A-A719-77C475180300}" type="doc">
      <dgm:prSet loTypeId="urn:microsoft.com/office/officeart/2005/8/layout/chart3" loCatId="cycle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nl-NL"/>
        </a:p>
      </dgm:t>
    </dgm:pt>
    <dgm:pt modelId="{CE9EF848-C628-4F49-970C-6E0E31349891}">
      <dgm:prSet phldrT="[Tekst]" custT="1"/>
      <dgm:spPr>
        <a:solidFill>
          <a:srgbClr val="EC205F">
            <a:alpha val="90000"/>
          </a:srgbClr>
        </a:solidFill>
      </dgm:spPr>
      <dgm:t>
        <a:bodyPr/>
        <a:lstStyle/>
        <a:p>
          <a:r>
            <a:rPr lang="nl-NL" sz="2500" b="1" dirty="0" smtClean="0"/>
            <a:t>SIM</a:t>
          </a:r>
          <a:endParaRPr lang="nl-NL" sz="2500" b="1" dirty="0"/>
        </a:p>
      </dgm:t>
    </dgm:pt>
    <dgm:pt modelId="{BA92DFC0-259B-4075-AB16-07331D777EEF}" type="parTrans" cxnId="{21779C98-CED5-4BE9-BA03-9B0DC8C0CF10}">
      <dgm:prSet/>
      <dgm:spPr/>
      <dgm:t>
        <a:bodyPr/>
        <a:lstStyle/>
        <a:p>
          <a:endParaRPr lang="nl-NL"/>
        </a:p>
      </dgm:t>
    </dgm:pt>
    <dgm:pt modelId="{59CD1F4B-C313-4A45-931A-E24F26441164}" type="sibTrans" cxnId="{21779C98-CED5-4BE9-BA03-9B0DC8C0CF10}">
      <dgm:prSet/>
      <dgm:spPr/>
      <dgm:t>
        <a:bodyPr/>
        <a:lstStyle/>
        <a:p>
          <a:endParaRPr lang="nl-NL"/>
        </a:p>
      </dgm:t>
    </dgm:pt>
    <dgm:pt modelId="{AE54C182-7FB2-4507-B94F-F542B5C2FA10}">
      <dgm:prSet phldrT="[Tekst]" custT="1"/>
      <dgm:spPr>
        <a:solidFill>
          <a:srgbClr val="00B0F0">
            <a:alpha val="76667"/>
          </a:srgbClr>
        </a:solidFill>
      </dgm:spPr>
      <dgm:t>
        <a:bodyPr/>
        <a:lstStyle/>
        <a:p>
          <a:r>
            <a:rPr lang="nl-NL" sz="2500" b="1" dirty="0" smtClean="0"/>
            <a:t>HAAS</a:t>
          </a:r>
          <a:endParaRPr lang="nl-NL" sz="2500" b="1" dirty="0"/>
        </a:p>
      </dgm:t>
    </dgm:pt>
    <dgm:pt modelId="{D83F219C-F225-4C58-9CE4-4BFDD7314D59}" type="parTrans" cxnId="{3C6C7C55-BD3A-467D-AC0F-B29BA2E54849}">
      <dgm:prSet/>
      <dgm:spPr/>
      <dgm:t>
        <a:bodyPr/>
        <a:lstStyle/>
        <a:p>
          <a:endParaRPr lang="nl-NL"/>
        </a:p>
      </dgm:t>
    </dgm:pt>
    <dgm:pt modelId="{0C1CDC4B-76AD-4CFD-99F7-068544E484DC}" type="sibTrans" cxnId="{3C6C7C55-BD3A-467D-AC0F-B29BA2E54849}">
      <dgm:prSet/>
      <dgm:spPr/>
      <dgm:t>
        <a:bodyPr/>
        <a:lstStyle/>
        <a:p>
          <a:endParaRPr lang="nl-NL"/>
        </a:p>
      </dgm:t>
    </dgm:pt>
    <dgm:pt modelId="{6A473C8E-9B7E-4448-89CB-6F2402D00D48}">
      <dgm:prSet phldrT="[Tekst]" custT="1"/>
      <dgm:spPr>
        <a:solidFill>
          <a:srgbClr val="00B050"/>
        </a:solidFill>
      </dgm:spPr>
      <dgm:t>
        <a:bodyPr/>
        <a:lstStyle/>
        <a:p>
          <a:r>
            <a:rPr lang="nl-NL" sz="2500" b="1" dirty="0" smtClean="0"/>
            <a:t>CLOUD</a:t>
          </a:r>
          <a:endParaRPr lang="nl-NL" sz="2500" b="1" dirty="0"/>
        </a:p>
      </dgm:t>
    </dgm:pt>
    <dgm:pt modelId="{16698870-B3A1-47B2-885D-6F928892105F}" type="parTrans" cxnId="{50CFC0E9-3A18-4B12-BAD4-BC824125171C}">
      <dgm:prSet/>
      <dgm:spPr/>
      <dgm:t>
        <a:bodyPr/>
        <a:lstStyle/>
        <a:p>
          <a:endParaRPr lang="nl-NL"/>
        </a:p>
      </dgm:t>
    </dgm:pt>
    <dgm:pt modelId="{221C0494-6D5E-4F14-8D78-5F0EEBB1193D}" type="sibTrans" cxnId="{50CFC0E9-3A18-4B12-BAD4-BC824125171C}">
      <dgm:prSet/>
      <dgm:spPr/>
      <dgm:t>
        <a:bodyPr/>
        <a:lstStyle/>
        <a:p>
          <a:endParaRPr lang="nl-NL"/>
        </a:p>
      </dgm:t>
    </dgm:pt>
    <dgm:pt modelId="{AFA75D2E-F6E4-46D9-ABB2-928E1D9332E5}">
      <dgm:prSet custT="1"/>
      <dgm:spPr>
        <a:solidFill>
          <a:srgbClr val="FB840D">
            <a:alpha val="50000"/>
          </a:srgbClr>
        </a:solidFill>
      </dgm:spPr>
      <dgm:t>
        <a:bodyPr/>
        <a:lstStyle/>
        <a:p>
          <a:r>
            <a:rPr lang="nl-NL" sz="2500" b="1" dirty="0" smtClean="0"/>
            <a:t>SERVICE</a:t>
          </a:r>
          <a:endParaRPr lang="nl-NL" sz="2500" b="1" dirty="0"/>
        </a:p>
      </dgm:t>
    </dgm:pt>
    <dgm:pt modelId="{2E01F129-6E47-41DC-8914-8176D3A33D09}" type="parTrans" cxnId="{0C77FCE1-587D-4709-8917-BCD22E819823}">
      <dgm:prSet/>
      <dgm:spPr/>
      <dgm:t>
        <a:bodyPr/>
        <a:lstStyle/>
        <a:p>
          <a:endParaRPr lang="nl-NL"/>
        </a:p>
      </dgm:t>
    </dgm:pt>
    <dgm:pt modelId="{105EED7C-3607-4E54-93F7-2265DDA78CE6}" type="sibTrans" cxnId="{0C77FCE1-587D-4709-8917-BCD22E819823}">
      <dgm:prSet/>
      <dgm:spPr/>
      <dgm:t>
        <a:bodyPr/>
        <a:lstStyle/>
        <a:p>
          <a:endParaRPr lang="nl-NL"/>
        </a:p>
      </dgm:t>
    </dgm:pt>
    <dgm:pt modelId="{E01EFE79-F0AA-4F4E-B882-3ACB119CC624}" type="pres">
      <dgm:prSet presAssocID="{4A84A33C-6F22-402A-A719-77C475180300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nl-NL"/>
        </a:p>
      </dgm:t>
    </dgm:pt>
    <dgm:pt modelId="{C983EB90-9859-4B3E-AD3D-6A5B8491E8A1}" type="pres">
      <dgm:prSet presAssocID="{4A84A33C-6F22-402A-A719-77C475180300}" presName="wedge1" presStyleLbl="node1" presStyleIdx="0" presStyleCnt="4" custScaleX="100539" custScaleY="100539" custLinFactNeighborX="-2518" custLinFactNeighborY="3592"/>
      <dgm:spPr/>
      <dgm:t>
        <a:bodyPr/>
        <a:lstStyle/>
        <a:p>
          <a:endParaRPr lang="nl-NL"/>
        </a:p>
      </dgm:t>
    </dgm:pt>
    <dgm:pt modelId="{7A9CEB57-A3BC-48C8-9CFD-99712D84C85D}" type="pres">
      <dgm:prSet presAssocID="{4A84A33C-6F22-402A-A719-77C475180300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A837A120-2DAE-4CD1-ADCB-0ABBF1CAA991}" type="pres">
      <dgm:prSet presAssocID="{4A84A33C-6F22-402A-A719-77C475180300}" presName="wedge2" presStyleLbl="node1" presStyleIdx="1" presStyleCnt="4" custScaleX="100809" custScaleY="100809" custLinFactNeighborX="1561" custLinFactNeighborY="-599"/>
      <dgm:spPr/>
      <dgm:t>
        <a:bodyPr/>
        <a:lstStyle/>
        <a:p>
          <a:endParaRPr lang="nl-NL"/>
        </a:p>
      </dgm:t>
    </dgm:pt>
    <dgm:pt modelId="{4B908EB4-B2EB-45B4-96CF-F7715C2C439D}" type="pres">
      <dgm:prSet presAssocID="{4A84A33C-6F22-402A-A719-77C475180300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4917C1BE-A582-4ADE-8AAC-C725845A4FD7}" type="pres">
      <dgm:prSet presAssocID="{4A84A33C-6F22-402A-A719-77C475180300}" presName="wedge3" presStyleLbl="node1" presStyleIdx="2" presStyleCnt="4" custScaleX="147570" custScaleY="133777" custLinFactNeighborX="-3767" custLinFactNeighborY="4783"/>
      <dgm:spPr/>
      <dgm:t>
        <a:bodyPr/>
        <a:lstStyle/>
        <a:p>
          <a:endParaRPr lang="nl-NL"/>
        </a:p>
      </dgm:t>
    </dgm:pt>
    <dgm:pt modelId="{2E7675FE-CDA9-47D5-A812-E49A5CF5ED95}" type="pres">
      <dgm:prSet presAssocID="{4A84A33C-6F22-402A-A719-77C475180300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B9E4DAAD-7F47-48C2-8F29-06D29115FE12}" type="pres">
      <dgm:prSet presAssocID="{4A84A33C-6F22-402A-A719-77C475180300}" presName="wedge4" presStyleLbl="node1" presStyleIdx="3" presStyleCnt="4" custScaleX="165382" custScaleY="154141" custLinFactNeighborX="-3772" custLinFactNeighborY="-6037"/>
      <dgm:spPr/>
      <dgm:t>
        <a:bodyPr/>
        <a:lstStyle/>
        <a:p>
          <a:endParaRPr lang="nl-NL"/>
        </a:p>
      </dgm:t>
    </dgm:pt>
    <dgm:pt modelId="{12EE15BD-D4D9-41B4-9AA3-E4F8185CD553}" type="pres">
      <dgm:prSet presAssocID="{4A84A33C-6F22-402A-A719-77C475180300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3C6C7C55-BD3A-467D-AC0F-B29BA2E54849}" srcId="{4A84A33C-6F22-402A-A719-77C475180300}" destId="{AE54C182-7FB2-4507-B94F-F542B5C2FA10}" srcOrd="1" destOrd="0" parTransId="{D83F219C-F225-4C58-9CE4-4BFDD7314D59}" sibTransId="{0C1CDC4B-76AD-4CFD-99F7-068544E484DC}"/>
    <dgm:cxn modelId="{47E672E0-2228-41ED-AC68-9330CE60EFE6}" type="presOf" srcId="{6A473C8E-9B7E-4448-89CB-6F2402D00D48}" destId="{4917C1BE-A582-4ADE-8AAC-C725845A4FD7}" srcOrd="0" destOrd="0" presId="urn:microsoft.com/office/officeart/2005/8/layout/chart3"/>
    <dgm:cxn modelId="{21779C98-CED5-4BE9-BA03-9B0DC8C0CF10}" srcId="{4A84A33C-6F22-402A-A719-77C475180300}" destId="{CE9EF848-C628-4F49-970C-6E0E31349891}" srcOrd="0" destOrd="0" parTransId="{BA92DFC0-259B-4075-AB16-07331D777EEF}" sibTransId="{59CD1F4B-C313-4A45-931A-E24F26441164}"/>
    <dgm:cxn modelId="{56B41ED3-EB5B-4EF5-AB36-7A85C6C6E603}" type="presOf" srcId="{6A473C8E-9B7E-4448-89CB-6F2402D00D48}" destId="{2E7675FE-CDA9-47D5-A812-E49A5CF5ED95}" srcOrd="1" destOrd="0" presId="urn:microsoft.com/office/officeart/2005/8/layout/chart3"/>
    <dgm:cxn modelId="{0C77FCE1-587D-4709-8917-BCD22E819823}" srcId="{4A84A33C-6F22-402A-A719-77C475180300}" destId="{AFA75D2E-F6E4-46D9-ABB2-928E1D9332E5}" srcOrd="3" destOrd="0" parTransId="{2E01F129-6E47-41DC-8914-8176D3A33D09}" sibTransId="{105EED7C-3607-4E54-93F7-2265DDA78CE6}"/>
    <dgm:cxn modelId="{FC493C90-DD79-482D-9CD7-D5D13F1B158D}" type="presOf" srcId="{CE9EF848-C628-4F49-970C-6E0E31349891}" destId="{C983EB90-9859-4B3E-AD3D-6A5B8491E8A1}" srcOrd="0" destOrd="0" presId="urn:microsoft.com/office/officeart/2005/8/layout/chart3"/>
    <dgm:cxn modelId="{C748CA3B-18B9-45AE-A19B-64E7EE394B73}" type="presOf" srcId="{4A84A33C-6F22-402A-A719-77C475180300}" destId="{E01EFE79-F0AA-4F4E-B882-3ACB119CC624}" srcOrd="0" destOrd="0" presId="urn:microsoft.com/office/officeart/2005/8/layout/chart3"/>
    <dgm:cxn modelId="{2667354B-2E31-4E24-A63B-B228D5F36CCC}" type="presOf" srcId="{AFA75D2E-F6E4-46D9-ABB2-928E1D9332E5}" destId="{B9E4DAAD-7F47-48C2-8F29-06D29115FE12}" srcOrd="0" destOrd="0" presId="urn:microsoft.com/office/officeart/2005/8/layout/chart3"/>
    <dgm:cxn modelId="{58164234-40E2-41A5-86C0-B8297EF4E65C}" type="presOf" srcId="{CE9EF848-C628-4F49-970C-6E0E31349891}" destId="{7A9CEB57-A3BC-48C8-9CFD-99712D84C85D}" srcOrd="1" destOrd="0" presId="urn:microsoft.com/office/officeart/2005/8/layout/chart3"/>
    <dgm:cxn modelId="{50CFC0E9-3A18-4B12-BAD4-BC824125171C}" srcId="{4A84A33C-6F22-402A-A719-77C475180300}" destId="{6A473C8E-9B7E-4448-89CB-6F2402D00D48}" srcOrd="2" destOrd="0" parTransId="{16698870-B3A1-47B2-885D-6F928892105F}" sibTransId="{221C0494-6D5E-4F14-8D78-5F0EEBB1193D}"/>
    <dgm:cxn modelId="{A35A5981-38F6-4ED5-8F5A-79A1A4272F3F}" type="presOf" srcId="{AFA75D2E-F6E4-46D9-ABB2-928E1D9332E5}" destId="{12EE15BD-D4D9-41B4-9AA3-E4F8185CD553}" srcOrd="1" destOrd="0" presId="urn:microsoft.com/office/officeart/2005/8/layout/chart3"/>
    <dgm:cxn modelId="{6243909C-87C6-4AFE-9053-2EFC6F18C920}" type="presOf" srcId="{AE54C182-7FB2-4507-B94F-F542B5C2FA10}" destId="{A837A120-2DAE-4CD1-ADCB-0ABBF1CAA991}" srcOrd="0" destOrd="0" presId="urn:microsoft.com/office/officeart/2005/8/layout/chart3"/>
    <dgm:cxn modelId="{0274D86F-1929-4551-9201-26C742CF607D}" type="presOf" srcId="{AE54C182-7FB2-4507-B94F-F542B5C2FA10}" destId="{4B908EB4-B2EB-45B4-96CF-F7715C2C439D}" srcOrd="1" destOrd="0" presId="urn:microsoft.com/office/officeart/2005/8/layout/chart3"/>
    <dgm:cxn modelId="{55844995-87FC-417A-B722-ADD9E4D84F3F}" type="presParOf" srcId="{E01EFE79-F0AA-4F4E-B882-3ACB119CC624}" destId="{C983EB90-9859-4B3E-AD3D-6A5B8491E8A1}" srcOrd="0" destOrd="0" presId="urn:microsoft.com/office/officeart/2005/8/layout/chart3"/>
    <dgm:cxn modelId="{12B40A4E-B53F-44E1-ACC9-A1FC7310EE59}" type="presParOf" srcId="{E01EFE79-F0AA-4F4E-B882-3ACB119CC624}" destId="{7A9CEB57-A3BC-48C8-9CFD-99712D84C85D}" srcOrd="1" destOrd="0" presId="urn:microsoft.com/office/officeart/2005/8/layout/chart3"/>
    <dgm:cxn modelId="{669BD500-9420-4B94-97A4-D4B801A05988}" type="presParOf" srcId="{E01EFE79-F0AA-4F4E-B882-3ACB119CC624}" destId="{A837A120-2DAE-4CD1-ADCB-0ABBF1CAA991}" srcOrd="2" destOrd="0" presId="urn:microsoft.com/office/officeart/2005/8/layout/chart3"/>
    <dgm:cxn modelId="{945BAE9A-A421-49C4-994F-A0B285EECEB4}" type="presParOf" srcId="{E01EFE79-F0AA-4F4E-B882-3ACB119CC624}" destId="{4B908EB4-B2EB-45B4-96CF-F7715C2C439D}" srcOrd="3" destOrd="0" presId="urn:microsoft.com/office/officeart/2005/8/layout/chart3"/>
    <dgm:cxn modelId="{25B0989F-1154-49C4-8F31-A9A62EA47667}" type="presParOf" srcId="{E01EFE79-F0AA-4F4E-B882-3ACB119CC624}" destId="{4917C1BE-A582-4ADE-8AAC-C725845A4FD7}" srcOrd="4" destOrd="0" presId="urn:microsoft.com/office/officeart/2005/8/layout/chart3"/>
    <dgm:cxn modelId="{5704845F-BD9C-4582-88EE-E4D9CCE9B93A}" type="presParOf" srcId="{E01EFE79-F0AA-4F4E-B882-3ACB119CC624}" destId="{2E7675FE-CDA9-47D5-A812-E49A5CF5ED95}" srcOrd="5" destOrd="0" presId="urn:microsoft.com/office/officeart/2005/8/layout/chart3"/>
    <dgm:cxn modelId="{82EFA7F3-CD2B-4B15-98BE-906A32581C6E}" type="presParOf" srcId="{E01EFE79-F0AA-4F4E-B882-3ACB119CC624}" destId="{B9E4DAAD-7F47-48C2-8F29-06D29115FE12}" srcOrd="6" destOrd="0" presId="urn:microsoft.com/office/officeart/2005/8/layout/chart3"/>
    <dgm:cxn modelId="{F5671042-3D07-48E7-BC9E-F08880F4399C}" type="presParOf" srcId="{E01EFE79-F0AA-4F4E-B882-3ACB119CC624}" destId="{12EE15BD-D4D9-41B4-9AA3-E4F8185CD553}" srcOrd="7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8C6A6CB-9464-43C7-ADDF-E6955AC1C679}" type="doc">
      <dgm:prSet loTypeId="urn:microsoft.com/office/officeart/2005/8/layout/hProcess7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7EE952A1-A8BB-4686-9553-C76A0D77D02C}">
      <dgm:prSet phldrT="[Tekst]"/>
      <dgm:spPr>
        <a:solidFill>
          <a:schemeClr val="accent6"/>
        </a:solidFill>
      </dgm:spPr>
      <dgm:t>
        <a:bodyPr/>
        <a:lstStyle/>
        <a:p>
          <a:r>
            <a:rPr lang="nl-NL" dirty="0" err="1" smtClean="0"/>
            <a:t>Economy</a:t>
          </a:r>
          <a:r>
            <a:rPr lang="nl-NL" dirty="0" smtClean="0"/>
            <a:t> class</a:t>
          </a:r>
          <a:endParaRPr lang="nl-NL" dirty="0"/>
        </a:p>
      </dgm:t>
    </dgm:pt>
    <dgm:pt modelId="{BE72EC35-3569-4CFD-AB07-E93952650F0A}" type="parTrans" cxnId="{E1E9A398-F544-4940-B48C-C1E344F78434}">
      <dgm:prSet/>
      <dgm:spPr/>
      <dgm:t>
        <a:bodyPr/>
        <a:lstStyle/>
        <a:p>
          <a:endParaRPr lang="nl-NL"/>
        </a:p>
      </dgm:t>
    </dgm:pt>
    <dgm:pt modelId="{280BE56F-56D1-4CD1-BD8D-AA0A2A4B3F5D}" type="sibTrans" cxnId="{E1E9A398-F544-4940-B48C-C1E344F78434}">
      <dgm:prSet/>
      <dgm:spPr/>
      <dgm:t>
        <a:bodyPr/>
        <a:lstStyle/>
        <a:p>
          <a:endParaRPr lang="nl-NL"/>
        </a:p>
      </dgm:t>
    </dgm:pt>
    <dgm:pt modelId="{5C46CB97-B45C-4835-8A43-21A57C283327}">
      <dgm:prSet phldrT="[Tekst]"/>
      <dgm:spPr/>
      <dgm:t>
        <a:bodyPr/>
        <a:lstStyle/>
        <a:p>
          <a:endParaRPr lang="nl-NL" dirty="0" smtClean="0">
            <a:solidFill>
              <a:schemeClr val="tx1"/>
            </a:solidFill>
          </a:endParaRPr>
        </a:p>
        <a:p>
          <a:r>
            <a:rPr lang="nl-NL" dirty="0" smtClean="0">
              <a:solidFill>
                <a:schemeClr val="tx1"/>
              </a:solidFill>
            </a:rPr>
            <a:t>Display advertising</a:t>
          </a:r>
        </a:p>
        <a:p>
          <a:r>
            <a:rPr lang="nl-NL" dirty="0" smtClean="0">
              <a:solidFill>
                <a:schemeClr val="tx1"/>
              </a:solidFill>
            </a:rPr>
            <a:t>(</a:t>
          </a:r>
          <a:r>
            <a:rPr lang="nl-NL" dirty="0" err="1" smtClean="0">
              <a:solidFill>
                <a:schemeClr val="tx1"/>
              </a:solidFill>
            </a:rPr>
            <a:t>Prospecting</a:t>
          </a:r>
          <a:r>
            <a:rPr lang="nl-NL" dirty="0" smtClean="0">
              <a:solidFill>
                <a:schemeClr val="tx1"/>
              </a:solidFill>
            </a:rPr>
            <a:t>)</a:t>
          </a:r>
        </a:p>
        <a:p>
          <a:r>
            <a:rPr lang="nl-NL" dirty="0" smtClean="0">
              <a:solidFill>
                <a:schemeClr val="tx1"/>
              </a:solidFill>
            </a:rPr>
            <a:t>5000 clicks</a:t>
          </a:r>
        </a:p>
        <a:p>
          <a:r>
            <a:rPr lang="nl-NL" dirty="0" smtClean="0">
              <a:solidFill>
                <a:schemeClr val="tx1"/>
              </a:solidFill>
            </a:rPr>
            <a:t>Reporting 1 x </a:t>
          </a:r>
          <a:r>
            <a:rPr lang="nl-NL" dirty="0" err="1" smtClean="0">
              <a:solidFill>
                <a:schemeClr val="tx1"/>
              </a:solidFill>
            </a:rPr>
            <a:t>mnd</a:t>
          </a:r>
          <a:endParaRPr lang="nl-NL" dirty="0" smtClean="0">
            <a:solidFill>
              <a:schemeClr val="tx1"/>
            </a:solidFill>
          </a:endParaRPr>
        </a:p>
        <a:p>
          <a:endParaRPr lang="nl-NL" dirty="0" smtClean="0">
            <a:solidFill>
              <a:schemeClr val="tx1"/>
            </a:solidFill>
          </a:endParaRPr>
        </a:p>
        <a:p>
          <a:endParaRPr lang="nl-NL" dirty="0" smtClean="0">
            <a:solidFill>
              <a:schemeClr val="tx1"/>
            </a:solidFill>
          </a:endParaRPr>
        </a:p>
        <a:p>
          <a:endParaRPr lang="nl-NL" dirty="0">
            <a:solidFill>
              <a:schemeClr val="tx1"/>
            </a:solidFill>
          </a:endParaRPr>
        </a:p>
      </dgm:t>
    </dgm:pt>
    <dgm:pt modelId="{EBC3E117-E33B-42F7-9F94-65AEC40067EB}" type="parTrans" cxnId="{B9145DFE-243C-458F-8033-E47A433D9D44}">
      <dgm:prSet/>
      <dgm:spPr/>
      <dgm:t>
        <a:bodyPr/>
        <a:lstStyle/>
        <a:p>
          <a:endParaRPr lang="nl-NL"/>
        </a:p>
      </dgm:t>
    </dgm:pt>
    <dgm:pt modelId="{E7BA3CF3-20A9-442D-8650-B21015649ED4}" type="sibTrans" cxnId="{B9145DFE-243C-458F-8033-E47A433D9D44}">
      <dgm:prSet/>
      <dgm:spPr/>
      <dgm:t>
        <a:bodyPr/>
        <a:lstStyle/>
        <a:p>
          <a:endParaRPr lang="nl-NL"/>
        </a:p>
      </dgm:t>
    </dgm:pt>
    <dgm:pt modelId="{90AB22B8-E7BB-4FF0-8BDF-7DAE5DD22055}">
      <dgm:prSet phldrT="[Tekst]"/>
      <dgm:spPr>
        <a:solidFill>
          <a:schemeClr val="accent6"/>
        </a:solidFill>
      </dgm:spPr>
      <dgm:t>
        <a:bodyPr/>
        <a:lstStyle/>
        <a:p>
          <a:r>
            <a:rPr lang="nl-NL" dirty="0" smtClean="0"/>
            <a:t>Business class</a:t>
          </a:r>
          <a:endParaRPr lang="nl-NL" dirty="0"/>
        </a:p>
      </dgm:t>
    </dgm:pt>
    <dgm:pt modelId="{37EABEDA-E523-4397-964A-0EB5DDE2BDCE}" type="parTrans" cxnId="{6F350533-4168-4D34-91C7-00ACE35F3375}">
      <dgm:prSet/>
      <dgm:spPr/>
      <dgm:t>
        <a:bodyPr/>
        <a:lstStyle/>
        <a:p>
          <a:endParaRPr lang="nl-NL"/>
        </a:p>
      </dgm:t>
    </dgm:pt>
    <dgm:pt modelId="{9443509B-1D17-4867-8C80-F440D75C21EA}" type="sibTrans" cxnId="{6F350533-4168-4D34-91C7-00ACE35F3375}">
      <dgm:prSet/>
      <dgm:spPr/>
      <dgm:t>
        <a:bodyPr/>
        <a:lstStyle/>
        <a:p>
          <a:endParaRPr lang="nl-NL"/>
        </a:p>
      </dgm:t>
    </dgm:pt>
    <dgm:pt modelId="{1E1123DF-9714-4118-A285-2D51FD869CF0}">
      <dgm:prSet phldrT="[Tekst]"/>
      <dgm:spPr/>
      <dgm:t>
        <a:bodyPr/>
        <a:lstStyle/>
        <a:p>
          <a:endParaRPr lang="nl-NL" dirty="0" smtClean="0">
            <a:solidFill>
              <a:schemeClr val="tx1"/>
            </a:solidFill>
          </a:endParaRPr>
        </a:p>
        <a:p>
          <a:r>
            <a:rPr lang="nl-NL" dirty="0" smtClean="0">
              <a:solidFill>
                <a:schemeClr val="tx1"/>
              </a:solidFill>
            </a:rPr>
            <a:t>Display advertising </a:t>
          </a:r>
        </a:p>
        <a:p>
          <a:r>
            <a:rPr lang="nl-NL" dirty="0" smtClean="0">
              <a:solidFill>
                <a:schemeClr val="tx1"/>
              </a:solidFill>
            </a:rPr>
            <a:t>(</a:t>
          </a:r>
          <a:r>
            <a:rPr lang="nl-NL" dirty="0" err="1" smtClean="0">
              <a:solidFill>
                <a:schemeClr val="tx1"/>
              </a:solidFill>
            </a:rPr>
            <a:t>Prospecting</a:t>
          </a:r>
          <a:r>
            <a:rPr lang="nl-NL" dirty="0" smtClean="0">
              <a:solidFill>
                <a:schemeClr val="tx1"/>
              </a:solidFill>
            </a:rPr>
            <a:t> &amp; </a:t>
          </a:r>
          <a:r>
            <a:rPr lang="nl-NL" dirty="0" err="1" smtClean="0">
              <a:solidFill>
                <a:schemeClr val="tx1"/>
              </a:solidFill>
            </a:rPr>
            <a:t>Retargeting</a:t>
          </a:r>
          <a:r>
            <a:rPr lang="nl-NL" dirty="0" smtClean="0">
              <a:solidFill>
                <a:schemeClr val="tx1"/>
              </a:solidFill>
            </a:rPr>
            <a:t>)</a:t>
          </a:r>
        </a:p>
        <a:p>
          <a:r>
            <a:rPr lang="nl-NL" dirty="0" smtClean="0">
              <a:solidFill>
                <a:schemeClr val="tx1"/>
              </a:solidFill>
            </a:rPr>
            <a:t>6.500 clicks</a:t>
          </a:r>
        </a:p>
        <a:p>
          <a:r>
            <a:rPr lang="nl-NL" dirty="0" smtClean="0">
              <a:solidFill>
                <a:schemeClr val="tx1"/>
              </a:solidFill>
            </a:rPr>
            <a:t>Creatie (productie </a:t>
          </a:r>
          <a:r>
            <a:rPr lang="nl-NL" dirty="0" err="1" smtClean="0">
              <a:solidFill>
                <a:schemeClr val="tx1"/>
              </a:solidFill>
            </a:rPr>
            <a:t>creatives</a:t>
          </a:r>
          <a:r>
            <a:rPr lang="nl-NL" dirty="0" smtClean="0">
              <a:solidFill>
                <a:schemeClr val="tx1"/>
              </a:solidFill>
            </a:rPr>
            <a:t> mobiel en desktop)</a:t>
          </a:r>
        </a:p>
        <a:p>
          <a:endParaRPr lang="nl-NL" dirty="0" smtClean="0">
            <a:solidFill>
              <a:schemeClr val="tx1"/>
            </a:solidFill>
          </a:endParaRPr>
        </a:p>
        <a:p>
          <a:r>
            <a:rPr lang="nl-NL" dirty="0" smtClean="0">
              <a:solidFill>
                <a:schemeClr val="tx1"/>
              </a:solidFill>
            </a:rPr>
            <a:t>Reporting 1 x  </a:t>
          </a:r>
          <a:r>
            <a:rPr lang="nl-NL" dirty="0" err="1" smtClean="0">
              <a:solidFill>
                <a:schemeClr val="tx1"/>
              </a:solidFill>
            </a:rPr>
            <a:t>wk</a:t>
          </a:r>
          <a:endParaRPr lang="nl-NL" dirty="0" smtClean="0">
            <a:solidFill>
              <a:schemeClr val="tx1"/>
            </a:solidFill>
          </a:endParaRPr>
        </a:p>
        <a:p>
          <a:endParaRPr lang="nl-NL" dirty="0" smtClean="0">
            <a:solidFill>
              <a:schemeClr val="tx1"/>
            </a:solidFill>
          </a:endParaRPr>
        </a:p>
        <a:p>
          <a:endParaRPr lang="nl-NL" dirty="0" smtClean="0">
            <a:solidFill>
              <a:schemeClr val="tx1"/>
            </a:solidFill>
          </a:endParaRPr>
        </a:p>
        <a:p>
          <a:endParaRPr lang="nl-NL" dirty="0">
            <a:solidFill>
              <a:schemeClr val="tx1"/>
            </a:solidFill>
          </a:endParaRPr>
        </a:p>
      </dgm:t>
    </dgm:pt>
    <dgm:pt modelId="{99216EFC-71D7-4B0E-BF4E-9E5A25341990}" type="parTrans" cxnId="{1E224180-D991-48B9-9F69-749CB16F864A}">
      <dgm:prSet/>
      <dgm:spPr/>
      <dgm:t>
        <a:bodyPr/>
        <a:lstStyle/>
        <a:p>
          <a:endParaRPr lang="nl-NL"/>
        </a:p>
      </dgm:t>
    </dgm:pt>
    <dgm:pt modelId="{4AFDCCFD-0466-4C31-8658-952C7A87B924}" type="sibTrans" cxnId="{1E224180-D991-48B9-9F69-749CB16F864A}">
      <dgm:prSet/>
      <dgm:spPr/>
      <dgm:t>
        <a:bodyPr/>
        <a:lstStyle/>
        <a:p>
          <a:endParaRPr lang="nl-NL"/>
        </a:p>
      </dgm:t>
    </dgm:pt>
    <dgm:pt modelId="{8517ED42-F3BE-40F4-968B-09AB5AA5E443}">
      <dgm:prSet phldrT="[Tekst]"/>
      <dgm:spPr>
        <a:solidFill>
          <a:schemeClr val="accent6"/>
        </a:solidFill>
      </dgm:spPr>
      <dgm:t>
        <a:bodyPr/>
        <a:lstStyle/>
        <a:p>
          <a:r>
            <a:rPr lang="nl-NL" dirty="0" err="1" smtClean="0"/>
            <a:t>Fisrt</a:t>
          </a:r>
          <a:r>
            <a:rPr lang="nl-NL" dirty="0" smtClean="0"/>
            <a:t> Class</a:t>
          </a:r>
          <a:endParaRPr lang="nl-NL" dirty="0"/>
        </a:p>
      </dgm:t>
    </dgm:pt>
    <dgm:pt modelId="{DCFC675B-FD1C-4CB1-BD8A-4ED9DF940169}" type="parTrans" cxnId="{E77709B9-C355-4DD8-8949-C192E6BA5D23}">
      <dgm:prSet/>
      <dgm:spPr/>
      <dgm:t>
        <a:bodyPr/>
        <a:lstStyle/>
        <a:p>
          <a:endParaRPr lang="nl-NL"/>
        </a:p>
      </dgm:t>
    </dgm:pt>
    <dgm:pt modelId="{E7088B49-8592-47AB-8B4C-28D741C13F77}" type="sibTrans" cxnId="{E77709B9-C355-4DD8-8949-C192E6BA5D23}">
      <dgm:prSet/>
      <dgm:spPr/>
      <dgm:t>
        <a:bodyPr/>
        <a:lstStyle/>
        <a:p>
          <a:endParaRPr lang="nl-NL"/>
        </a:p>
      </dgm:t>
    </dgm:pt>
    <dgm:pt modelId="{736E0239-B068-4284-9ED7-7E63EE6C1792}">
      <dgm:prSet phldrT="[Tekst]"/>
      <dgm:spPr/>
      <dgm:t>
        <a:bodyPr/>
        <a:lstStyle/>
        <a:p>
          <a:r>
            <a:rPr lang="nl-NL" b="0" dirty="0" smtClean="0">
              <a:solidFill>
                <a:schemeClr val="tx1"/>
              </a:solidFill>
            </a:rPr>
            <a:t>Display advertising </a:t>
          </a:r>
          <a:r>
            <a:rPr lang="nl-NL" dirty="0" smtClean="0">
              <a:solidFill>
                <a:schemeClr val="tx1"/>
              </a:solidFill>
            </a:rPr>
            <a:t>(</a:t>
          </a:r>
          <a:r>
            <a:rPr lang="nl-NL" dirty="0" err="1" smtClean="0">
              <a:solidFill>
                <a:schemeClr val="tx1"/>
              </a:solidFill>
            </a:rPr>
            <a:t>Prospecting</a:t>
          </a:r>
          <a:r>
            <a:rPr lang="nl-NL" dirty="0" smtClean="0">
              <a:solidFill>
                <a:schemeClr val="tx1"/>
              </a:solidFill>
            </a:rPr>
            <a:t> &amp; </a:t>
          </a:r>
          <a:r>
            <a:rPr lang="nl-NL" dirty="0" err="1" smtClean="0">
              <a:solidFill>
                <a:schemeClr val="tx1"/>
              </a:solidFill>
            </a:rPr>
            <a:t>Retargeting</a:t>
          </a:r>
          <a:r>
            <a:rPr lang="nl-NL" dirty="0" smtClean="0">
              <a:solidFill>
                <a:schemeClr val="tx1"/>
              </a:solidFill>
            </a:rPr>
            <a:t>)</a:t>
          </a:r>
        </a:p>
        <a:p>
          <a:r>
            <a:rPr lang="nl-NL" dirty="0" smtClean="0">
              <a:solidFill>
                <a:schemeClr val="tx1"/>
              </a:solidFill>
            </a:rPr>
            <a:t>8.800 clicks</a:t>
          </a:r>
          <a:endParaRPr lang="nl-NL" dirty="0">
            <a:solidFill>
              <a:schemeClr val="tx1"/>
            </a:solidFill>
          </a:endParaRPr>
        </a:p>
      </dgm:t>
    </dgm:pt>
    <dgm:pt modelId="{2823EC61-80AF-47D3-9619-EE4984064FFF}" type="parTrans" cxnId="{A78809C5-2878-4BA1-973F-A2A27B643DDE}">
      <dgm:prSet/>
      <dgm:spPr/>
      <dgm:t>
        <a:bodyPr/>
        <a:lstStyle/>
        <a:p>
          <a:endParaRPr lang="nl-NL"/>
        </a:p>
      </dgm:t>
    </dgm:pt>
    <dgm:pt modelId="{4D198CD3-0E53-4E1A-8EC0-9F4A1916B873}" type="sibTrans" cxnId="{A78809C5-2878-4BA1-973F-A2A27B643DDE}">
      <dgm:prSet/>
      <dgm:spPr/>
      <dgm:t>
        <a:bodyPr/>
        <a:lstStyle/>
        <a:p>
          <a:endParaRPr lang="nl-NL"/>
        </a:p>
      </dgm:t>
    </dgm:pt>
    <dgm:pt modelId="{3917FBB9-6C0B-4DEE-AD47-3AFD0D1645F2}">
      <dgm:prSet/>
      <dgm:spPr/>
      <dgm:t>
        <a:bodyPr/>
        <a:lstStyle/>
        <a:p>
          <a:r>
            <a:rPr lang="nl-NL" dirty="0" smtClean="0">
              <a:solidFill>
                <a:schemeClr val="tx1"/>
              </a:solidFill>
            </a:rPr>
            <a:t>Creatie (productie </a:t>
          </a:r>
          <a:r>
            <a:rPr lang="nl-NL" dirty="0" err="1" smtClean="0">
              <a:solidFill>
                <a:schemeClr val="tx1"/>
              </a:solidFill>
            </a:rPr>
            <a:t>creatives</a:t>
          </a:r>
          <a:r>
            <a:rPr lang="nl-NL" dirty="0" smtClean="0">
              <a:solidFill>
                <a:schemeClr val="tx1"/>
              </a:solidFill>
            </a:rPr>
            <a:t> mobiel en desktop)</a:t>
          </a:r>
        </a:p>
        <a:p>
          <a:r>
            <a:rPr lang="nl-NL" dirty="0" smtClean="0">
              <a:solidFill>
                <a:schemeClr val="tx1"/>
              </a:solidFill>
            </a:rPr>
            <a:t>Mobile </a:t>
          </a:r>
          <a:r>
            <a:rPr lang="nl-NL" dirty="0" err="1" smtClean="0">
              <a:solidFill>
                <a:schemeClr val="tx1"/>
              </a:solidFill>
            </a:rPr>
            <a:t>Local</a:t>
          </a:r>
          <a:r>
            <a:rPr lang="nl-NL" dirty="0" smtClean="0">
              <a:solidFill>
                <a:schemeClr val="tx1"/>
              </a:solidFill>
            </a:rPr>
            <a:t> (</a:t>
          </a:r>
          <a:r>
            <a:rPr lang="nl-NL" dirty="0" err="1" smtClean="0">
              <a:solidFill>
                <a:schemeClr val="tx1"/>
              </a:solidFill>
            </a:rPr>
            <a:t>LocalSensor</a:t>
          </a:r>
          <a:r>
            <a:rPr lang="nl-NL" dirty="0" smtClean="0">
              <a:solidFill>
                <a:schemeClr val="tx1"/>
              </a:solidFill>
            </a:rPr>
            <a:t>)</a:t>
          </a:r>
        </a:p>
      </dgm:t>
    </dgm:pt>
    <dgm:pt modelId="{0323FDAA-05F0-409C-8EC1-EBC6E53E6490}" type="parTrans" cxnId="{3D3A46BE-AA33-4B4D-B6E4-435DDE9EBB84}">
      <dgm:prSet/>
      <dgm:spPr/>
      <dgm:t>
        <a:bodyPr/>
        <a:lstStyle/>
        <a:p>
          <a:endParaRPr lang="nl-NL"/>
        </a:p>
      </dgm:t>
    </dgm:pt>
    <dgm:pt modelId="{303FEA53-48EE-44DE-B47B-438BECE9B677}" type="sibTrans" cxnId="{3D3A46BE-AA33-4B4D-B6E4-435DDE9EBB84}">
      <dgm:prSet/>
      <dgm:spPr/>
      <dgm:t>
        <a:bodyPr/>
        <a:lstStyle/>
        <a:p>
          <a:endParaRPr lang="nl-NL"/>
        </a:p>
      </dgm:t>
    </dgm:pt>
    <dgm:pt modelId="{8EC07703-AE31-49A3-AAEC-FC73ABEEFBA2}">
      <dgm:prSet/>
      <dgm:spPr/>
      <dgm:t>
        <a:bodyPr/>
        <a:lstStyle/>
        <a:p>
          <a:r>
            <a:rPr lang="nl-NL" dirty="0" smtClean="0">
              <a:solidFill>
                <a:schemeClr val="tx1"/>
              </a:solidFill>
            </a:rPr>
            <a:t>Reporting 1 x </a:t>
          </a:r>
          <a:r>
            <a:rPr lang="nl-NL" dirty="0" err="1" smtClean="0">
              <a:solidFill>
                <a:schemeClr val="tx1"/>
              </a:solidFill>
            </a:rPr>
            <a:t>wk</a:t>
          </a:r>
          <a:endParaRPr lang="nl-NL" dirty="0">
            <a:solidFill>
              <a:schemeClr val="tx1"/>
            </a:solidFill>
          </a:endParaRPr>
        </a:p>
      </dgm:t>
    </dgm:pt>
    <dgm:pt modelId="{1E05F7BA-8834-4A54-92B2-53D8C6A30EC0}" type="sibTrans" cxnId="{5DC6BFC5-06BE-4D38-BD6C-AD773EC24EAF}">
      <dgm:prSet/>
      <dgm:spPr/>
      <dgm:t>
        <a:bodyPr/>
        <a:lstStyle/>
        <a:p>
          <a:endParaRPr lang="nl-NL"/>
        </a:p>
      </dgm:t>
    </dgm:pt>
    <dgm:pt modelId="{60248F5E-9740-43B5-AF04-842CBE3CA124}" type="parTrans" cxnId="{5DC6BFC5-06BE-4D38-BD6C-AD773EC24EAF}">
      <dgm:prSet/>
      <dgm:spPr/>
      <dgm:t>
        <a:bodyPr/>
        <a:lstStyle/>
        <a:p>
          <a:endParaRPr lang="nl-NL"/>
        </a:p>
      </dgm:t>
    </dgm:pt>
    <dgm:pt modelId="{503DA44F-AB2D-4516-8379-E3F26BB12AE0}" type="pres">
      <dgm:prSet presAssocID="{E8C6A6CB-9464-43C7-ADDF-E6955AC1C67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nl-NL"/>
        </a:p>
      </dgm:t>
    </dgm:pt>
    <dgm:pt modelId="{DEDB397F-73BE-40F6-A9C5-BAC0B4AF6DFC}" type="pres">
      <dgm:prSet presAssocID="{7EE952A1-A8BB-4686-9553-C76A0D77D02C}" presName="compositeNode" presStyleCnt="0">
        <dgm:presLayoutVars>
          <dgm:bulletEnabled val="1"/>
        </dgm:presLayoutVars>
      </dgm:prSet>
      <dgm:spPr/>
    </dgm:pt>
    <dgm:pt modelId="{2A44BC6D-4009-47E6-8D69-B87A3919A400}" type="pres">
      <dgm:prSet presAssocID="{7EE952A1-A8BB-4686-9553-C76A0D77D02C}" presName="bgRect" presStyleLbl="node1" presStyleIdx="0" presStyleCnt="3" custScaleX="136448" custLinFactNeighborX="-111" custLinFactNeighborY="24895"/>
      <dgm:spPr/>
      <dgm:t>
        <a:bodyPr/>
        <a:lstStyle/>
        <a:p>
          <a:endParaRPr lang="nl-NL"/>
        </a:p>
      </dgm:t>
    </dgm:pt>
    <dgm:pt modelId="{8B3D6433-3A50-4D58-BE0D-0993834E34C9}" type="pres">
      <dgm:prSet presAssocID="{7EE952A1-A8BB-4686-9553-C76A0D77D02C}" presName="parentNode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9EAA02BC-7A72-47C3-B185-6F96E597D3D9}" type="pres">
      <dgm:prSet presAssocID="{7EE952A1-A8BB-4686-9553-C76A0D77D02C}" presName="child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9124AE40-B462-410A-904E-F0AB19EAE26E}" type="pres">
      <dgm:prSet presAssocID="{280BE56F-56D1-4CD1-BD8D-AA0A2A4B3F5D}" presName="hSp" presStyleCnt="0"/>
      <dgm:spPr/>
    </dgm:pt>
    <dgm:pt modelId="{685C7FDD-C14F-43C3-86FE-BB261205F385}" type="pres">
      <dgm:prSet presAssocID="{280BE56F-56D1-4CD1-BD8D-AA0A2A4B3F5D}" presName="vProcSp" presStyleCnt="0"/>
      <dgm:spPr/>
    </dgm:pt>
    <dgm:pt modelId="{AF00B77B-5AEA-4A0B-AC9F-338C0F04B6C1}" type="pres">
      <dgm:prSet presAssocID="{280BE56F-56D1-4CD1-BD8D-AA0A2A4B3F5D}" presName="vSp1" presStyleCnt="0"/>
      <dgm:spPr/>
    </dgm:pt>
    <dgm:pt modelId="{D164CCB2-F3AF-41EC-A3B8-A58AB33BF81B}" type="pres">
      <dgm:prSet presAssocID="{280BE56F-56D1-4CD1-BD8D-AA0A2A4B3F5D}" presName="simulatedConn" presStyleLbl="solidFgAcc1" presStyleIdx="0" presStyleCnt="2" custLinFactX="-126948" custLinFactY="300000" custLinFactNeighborX="-200000" custLinFactNeighborY="342348"/>
      <dgm:spPr>
        <a:ln>
          <a:noFill/>
        </a:ln>
      </dgm:spPr>
    </dgm:pt>
    <dgm:pt modelId="{1EAF808A-13F3-40B6-97B9-CFECA86FD3D7}" type="pres">
      <dgm:prSet presAssocID="{280BE56F-56D1-4CD1-BD8D-AA0A2A4B3F5D}" presName="vSp2" presStyleCnt="0"/>
      <dgm:spPr/>
    </dgm:pt>
    <dgm:pt modelId="{798EF21A-20E9-4F25-9235-D7FAD875BEE5}" type="pres">
      <dgm:prSet presAssocID="{280BE56F-56D1-4CD1-BD8D-AA0A2A4B3F5D}" presName="sibTrans" presStyleCnt="0"/>
      <dgm:spPr/>
    </dgm:pt>
    <dgm:pt modelId="{9D08F5E1-BFB4-4B46-90E3-875F2A42C920}" type="pres">
      <dgm:prSet presAssocID="{90AB22B8-E7BB-4FF0-8BDF-7DAE5DD22055}" presName="compositeNode" presStyleCnt="0">
        <dgm:presLayoutVars>
          <dgm:bulletEnabled val="1"/>
        </dgm:presLayoutVars>
      </dgm:prSet>
      <dgm:spPr/>
    </dgm:pt>
    <dgm:pt modelId="{5D7B6F8B-3579-49EE-BDA8-7D951030A4D2}" type="pres">
      <dgm:prSet presAssocID="{90AB22B8-E7BB-4FF0-8BDF-7DAE5DD22055}" presName="bgRect" presStyleLbl="node1" presStyleIdx="1" presStyleCnt="3" custScaleX="193924" custScaleY="157009" custLinFactNeighborX="520" custLinFactNeighborY="-805"/>
      <dgm:spPr/>
      <dgm:t>
        <a:bodyPr/>
        <a:lstStyle/>
        <a:p>
          <a:endParaRPr lang="nl-NL"/>
        </a:p>
      </dgm:t>
    </dgm:pt>
    <dgm:pt modelId="{FA546D6B-A402-41D1-B977-612CF3266603}" type="pres">
      <dgm:prSet presAssocID="{90AB22B8-E7BB-4FF0-8BDF-7DAE5DD22055}" presName="parentNode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719C1DF3-B5C5-4099-A55F-CF5D37BB32B1}" type="pres">
      <dgm:prSet presAssocID="{90AB22B8-E7BB-4FF0-8BDF-7DAE5DD22055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32733D0C-8AEE-458E-A453-77B8637C0BD7}" type="pres">
      <dgm:prSet presAssocID="{9443509B-1D17-4867-8C80-F440D75C21EA}" presName="hSp" presStyleCnt="0"/>
      <dgm:spPr/>
    </dgm:pt>
    <dgm:pt modelId="{9932CC91-AFF0-49B2-B6F7-C6D5E83946B6}" type="pres">
      <dgm:prSet presAssocID="{9443509B-1D17-4867-8C80-F440D75C21EA}" presName="vProcSp" presStyleCnt="0"/>
      <dgm:spPr/>
    </dgm:pt>
    <dgm:pt modelId="{8A6A6C73-F118-4FFE-B2FA-45A5D6016FDE}" type="pres">
      <dgm:prSet presAssocID="{9443509B-1D17-4867-8C80-F440D75C21EA}" presName="vSp1" presStyleCnt="0"/>
      <dgm:spPr/>
    </dgm:pt>
    <dgm:pt modelId="{F8598EF0-F38E-4857-A7B0-80D41B44807E}" type="pres">
      <dgm:prSet presAssocID="{9443509B-1D17-4867-8C80-F440D75C21EA}" presName="simulatedConn" presStyleLbl="solidFgAcc1" presStyleIdx="1" presStyleCnt="2" custLinFactX="-900000" custLinFactY="500000" custLinFactNeighborX="-927759" custLinFactNeighborY="570621"/>
      <dgm:spPr>
        <a:ln>
          <a:solidFill>
            <a:schemeClr val="bg1"/>
          </a:solidFill>
        </a:ln>
      </dgm:spPr>
    </dgm:pt>
    <dgm:pt modelId="{6083AFF3-2200-4C80-9EA6-8CB42C2786F9}" type="pres">
      <dgm:prSet presAssocID="{9443509B-1D17-4867-8C80-F440D75C21EA}" presName="vSp2" presStyleCnt="0"/>
      <dgm:spPr/>
    </dgm:pt>
    <dgm:pt modelId="{DA4B3421-6EF8-4EF1-8E08-9816E3116159}" type="pres">
      <dgm:prSet presAssocID="{9443509B-1D17-4867-8C80-F440D75C21EA}" presName="sibTrans" presStyleCnt="0"/>
      <dgm:spPr/>
    </dgm:pt>
    <dgm:pt modelId="{D13B6C50-A50C-426A-9828-6FAE1316049A}" type="pres">
      <dgm:prSet presAssocID="{8517ED42-F3BE-40F4-968B-09AB5AA5E443}" presName="compositeNode" presStyleCnt="0">
        <dgm:presLayoutVars>
          <dgm:bulletEnabled val="1"/>
        </dgm:presLayoutVars>
      </dgm:prSet>
      <dgm:spPr/>
    </dgm:pt>
    <dgm:pt modelId="{F99BA2DC-C2BF-4F26-A24B-23F87836808A}" type="pres">
      <dgm:prSet presAssocID="{8517ED42-F3BE-40F4-968B-09AB5AA5E443}" presName="bgRect" presStyleLbl="node1" presStyleIdx="2" presStyleCnt="3" custScaleX="138599" custLinFactNeighborX="708" custLinFactNeighborY="24895"/>
      <dgm:spPr/>
      <dgm:t>
        <a:bodyPr/>
        <a:lstStyle/>
        <a:p>
          <a:endParaRPr lang="nl-NL"/>
        </a:p>
      </dgm:t>
    </dgm:pt>
    <dgm:pt modelId="{25A55C95-9446-4C2A-A1A1-F18294786CA3}" type="pres">
      <dgm:prSet presAssocID="{8517ED42-F3BE-40F4-968B-09AB5AA5E443}" presName="parentNode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0017C811-AC47-4075-AE18-68EE5A4A2D7E}" type="pres">
      <dgm:prSet presAssocID="{8517ED42-F3BE-40F4-968B-09AB5AA5E443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0B57C5AA-F243-49D5-B9A8-07B9AAC835EF}" type="presOf" srcId="{E8C6A6CB-9464-43C7-ADDF-E6955AC1C679}" destId="{503DA44F-AB2D-4516-8379-E3F26BB12AE0}" srcOrd="0" destOrd="0" presId="urn:microsoft.com/office/officeart/2005/8/layout/hProcess7"/>
    <dgm:cxn modelId="{B9145DFE-243C-458F-8033-E47A433D9D44}" srcId="{7EE952A1-A8BB-4686-9553-C76A0D77D02C}" destId="{5C46CB97-B45C-4835-8A43-21A57C283327}" srcOrd="0" destOrd="0" parTransId="{EBC3E117-E33B-42F7-9F94-65AEC40067EB}" sibTransId="{E7BA3CF3-20A9-442D-8650-B21015649ED4}"/>
    <dgm:cxn modelId="{36B17ED4-937E-4AF1-88AD-EA5342638A9D}" type="presOf" srcId="{1E1123DF-9714-4118-A285-2D51FD869CF0}" destId="{719C1DF3-B5C5-4099-A55F-CF5D37BB32B1}" srcOrd="0" destOrd="0" presId="urn:microsoft.com/office/officeart/2005/8/layout/hProcess7"/>
    <dgm:cxn modelId="{AB76AD3C-9AF0-4C6D-9C5F-56C3A132D9F5}" type="presOf" srcId="{8EC07703-AE31-49A3-AAEC-FC73ABEEFBA2}" destId="{0017C811-AC47-4075-AE18-68EE5A4A2D7E}" srcOrd="0" destOrd="2" presId="urn:microsoft.com/office/officeart/2005/8/layout/hProcess7"/>
    <dgm:cxn modelId="{1E224180-D991-48B9-9F69-749CB16F864A}" srcId="{90AB22B8-E7BB-4FF0-8BDF-7DAE5DD22055}" destId="{1E1123DF-9714-4118-A285-2D51FD869CF0}" srcOrd="0" destOrd="0" parTransId="{99216EFC-71D7-4B0E-BF4E-9E5A25341990}" sibTransId="{4AFDCCFD-0466-4C31-8658-952C7A87B924}"/>
    <dgm:cxn modelId="{79D371BE-91ED-4B09-A475-84E5668E2982}" type="presOf" srcId="{7EE952A1-A8BB-4686-9553-C76A0D77D02C}" destId="{2A44BC6D-4009-47E6-8D69-B87A3919A400}" srcOrd="0" destOrd="0" presId="urn:microsoft.com/office/officeart/2005/8/layout/hProcess7"/>
    <dgm:cxn modelId="{E77709B9-C355-4DD8-8949-C192E6BA5D23}" srcId="{E8C6A6CB-9464-43C7-ADDF-E6955AC1C679}" destId="{8517ED42-F3BE-40F4-968B-09AB5AA5E443}" srcOrd="2" destOrd="0" parTransId="{DCFC675B-FD1C-4CB1-BD8A-4ED9DF940169}" sibTransId="{E7088B49-8592-47AB-8B4C-28D741C13F77}"/>
    <dgm:cxn modelId="{6F350533-4168-4D34-91C7-00ACE35F3375}" srcId="{E8C6A6CB-9464-43C7-ADDF-E6955AC1C679}" destId="{90AB22B8-E7BB-4FF0-8BDF-7DAE5DD22055}" srcOrd="1" destOrd="0" parTransId="{37EABEDA-E523-4397-964A-0EB5DDE2BDCE}" sibTransId="{9443509B-1D17-4867-8C80-F440D75C21EA}"/>
    <dgm:cxn modelId="{A9E2EA19-3AC9-4930-AE4C-2950E328376F}" type="presOf" srcId="{7EE952A1-A8BB-4686-9553-C76A0D77D02C}" destId="{8B3D6433-3A50-4D58-BE0D-0993834E34C9}" srcOrd="1" destOrd="0" presId="urn:microsoft.com/office/officeart/2005/8/layout/hProcess7"/>
    <dgm:cxn modelId="{3D3A46BE-AA33-4B4D-B6E4-435DDE9EBB84}" srcId="{8517ED42-F3BE-40F4-968B-09AB5AA5E443}" destId="{3917FBB9-6C0B-4DEE-AD47-3AFD0D1645F2}" srcOrd="1" destOrd="0" parTransId="{0323FDAA-05F0-409C-8EC1-EBC6E53E6490}" sibTransId="{303FEA53-48EE-44DE-B47B-438BECE9B677}"/>
    <dgm:cxn modelId="{5A1C06A1-E2F7-49CB-88B8-B5B3CCA46468}" type="presOf" srcId="{90AB22B8-E7BB-4FF0-8BDF-7DAE5DD22055}" destId="{FA546D6B-A402-41D1-B977-612CF3266603}" srcOrd="1" destOrd="0" presId="urn:microsoft.com/office/officeart/2005/8/layout/hProcess7"/>
    <dgm:cxn modelId="{FADA6F98-9B49-47AC-A9F0-094BCF02A8D1}" type="presOf" srcId="{736E0239-B068-4284-9ED7-7E63EE6C1792}" destId="{0017C811-AC47-4075-AE18-68EE5A4A2D7E}" srcOrd="0" destOrd="0" presId="urn:microsoft.com/office/officeart/2005/8/layout/hProcess7"/>
    <dgm:cxn modelId="{A78809C5-2878-4BA1-973F-A2A27B643DDE}" srcId="{8517ED42-F3BE-40F4-968B-09AB5AA5E443}" destId="{736E0239-B068-4284-9ED7-7E63EE6C1792}" srcOrd="0" destOrd="0" parTransId="{2823EC61-80AF-47D3-9619-EE4984064FFF}" sibTransId="{4D198CD3-0E53-4E1A-8EC0-9F4A1916B873}"/>
    <dgm:cxn modelId="{2B905C52-15EA-4928-8B66-5A399ECAD4AA}" type="presOf" srcId="{5C46CB97-B45C-4835-8A43-21A57C283327}" destId="{9EAA02BC-7A72-47C3-B185-6F96E597D3D9}" srcOrd="0" destOrd="0" presId="urn:microsoft.com/office/officeart/2005/8/layout/hProcess7"/>
    <dgm:cxn modelId="{5DC6BFC5-06BE-4D38-BD6C-AD773EC24EAF}" srcId="{8517ED42-F3BE-40F4-968B-09AB5AA5E443}" destId="{8EC07703-AE31-49A3-AAEC-FC73ABEEFBA2}" srcOrd="2" destOrd="0" parTransId="{60248F5E-9740-43B5-AF04-842CBE3CA124}" sibTransId="{1E05F7BA-8834-4A54-92B2-53D8C6A30EC0}"/>
    <dgm:cxn modelId="{83A4087F-5CDE-4E35-852B-06C4AC138B6A}" type="presOf" srcId="{8517ED42-F3BE-40F4-968B-09AB5AA5E443}" destId="{F99BA2DC-C2BF-4F26-A24B-23F87836808A}" srcOrd="0" destOrd="0" presId="urn:microsoft.com/office/officeart/2005/8/layout/hProcess7"/>
    <dgm:cxn modelId="{DF68E1EF-B13A-426B-B0D8-EED7AC2D7C12}" type="presOf" srcId="{8517ED42-F3BE-40F4-968B-09AB5AA5E443}" destId="{25A55C95-9446-4C2A-A1A1-F18294786CA3}" srcOrd="1" destOrd="0" presId="urn:microsoft.com/office/officeart/2005/8/layout/hProcess7"/>
    <dgm:cxn modelId="{509116AC-1F36-41D8-AD10-0BB1ADE5BC56}" type="presOf" srcId="{3917FBB9-6C0B-4DEE-AD47-3AFD0D1645F2}" destId="{0017C811-AC47-4075-AE18-68EE5A4A2D7E}" srcOrd="0" destOrd="1" presId="urn:microsoft.com/office/officeart/2005/8/layout/hProcess7"/>
    <dgm:cxn modelId="{CBBAB171-2547-4DB6-99DE-A00C381C2A3A}" type="presOf" srcId="{90AB22B8-E7BB-4FF0-8BDF-7DAE5DD22055}" destId="{5D7B6F8B-3579-49EE-BDA8-7D951030A4D2}" srcOrd="0" destOrd="0" presId="urn:microsoft.com/office/officeart/2005/8/layout/hProcess7"/>
    <dgm:cxn modelId="{E1E9A398-F544-4940-B48C-C1E344F78434}" srcId="{E8C6A6CB-9464-43C7-ADDF-E6955AC1C679}" destId="{7EE952A1-A8BB-4686-9553-C76A0D77D02C}" srcOrd="0" destOrd="0" parTransId="{BE72EC35-3569-4CFD-AB07-E93952650F0A}" sibTransId="{280BE56F-56D1-4CD1-BD8D-AA0A2A4B3F5D}"/>
    <dgm:cxn modelId="{71384102-5051-49D4-9BCA-47E38309FDA0}" type="presParOf" srcId="{503DA44F-AB2D-4516-8379-E3F26BB12AE0}" destId="{DEDB397F-73BE-40F6-A9C5-BAC0B4AF6DFC}" srcOrd="0" destOrd="0" presId="urn:microsoft.com/office/officeart/2005/8/layout/hProcess7"/>
    <dgm:cxn modelId="{B1334141-15C6-4245-9E1F-CB0284FF6B95}" type="presParOf" srcId="{DEDB397F-73BE-40F6-A9C5-BAC0B4AF6DFC}" destId="{2A44BC6D-4009-47E6-8D69-B87A3919A400}" srcOrd="0" destOrd="0" presId="urn:microsoft.com/office/officeart/2005/8/layout/hProcess7"/>
    <dgm:cxn modelId="{2BFFD31C-CB4F-4C3D-9FC7-27A80D199E23}" type="presParOf" srcId="{DEDB397F-73BE-40F6-A9C5-BAC0B4AF6DFC}" destId="{8B3D6433-3A50-4D58-BE0D-0993834E34C9}" srcOrd="1" destOrd="0" presId="urn:microsoft.com/office/officeart/2005/8/layout/hProcess7"/>
    <dgm:cxn modelId="{2B0C8383-3DA0-44D6-A208-87092772CF42}" type="presParOf" srcId="{DEDB397F-73BE-40F6-A9C5-BAC0B4AF6DFC}" destId="{9EAA02BC-7A72-47C3-B185-6F96E597D3D9}" srcOrd="2" destOrd="0" presId="urn:microsoft.com/office/officeart/2005/8/layout/hProcess7"/>
    <dgm:cxn modelId="{660EAA0D-C4C1-49D2-9498-160C563E7AD4}" type="presParOf" srcId="{503DA44F-AB2D-4516-8379-E3F26BB12AE0}" destId="{9124AE40-B462-410A-904E-F0AB19EAE26E}" srcOrd="1" destOrd="0" presId="urn:microsoft.com/office/officeart/2005/8/layout/hProcess7"/>
    <dgm:cxn modelId="{A4CAC40C-191B-47A9-910E-ACBB1805D6CE}" type="presParOf" srcId="{503DA44F-AB2D-4516-8379-E3F26BB12AE0}" destId="{685C7FDD-C14F-43C3-86FE-BB261205F385}" srcOrd="2" destOrd="0" presId="urn:microsoft.com/office/officeart/2005/8/layout/hProcess7"/>
    <dgm:cxn modelId="{65E39CB3-C800-4140-BBDB-8F78E626794F}" type="presParOf" srcId="{685C7FDD-C14F-43C3-86FE-BB261205F385}" destId="{AF00B77B-5AEA-4A0B-AC9F-338C0F04B6C1}" srcOrd="0" destOrd="0" presId="urn:microsoft.com/office/officeart/2005/8/layout/hProcess7"/>
    <dgm:cxn modelId="{293C651A-9C6C-49DB-9FDF-94341938BDC2}" type="presParOf" srcId="{685C7FDD-C14F-43C3-86FE-BB261205F385}" destId="{D164CCB2-F3AF-41EC-A3B8-A58AB33BF81B}" srcOrd="1" destOrd="0" presId="urn:microsoft.com/office/officeart/2005/8/layout/hProcess7"/>
    <dgm:cxn modelId="{B3F4987D-70F8-4A50-93D1-013DE144F991}" type="presParOf" srcId="{685C7FDD-C14F-43C3-86FE-BB261205F385}" destId="{1EAF808A-13F3-40B6-97B9-CFECA86FD3D7}" srcOrd="2" destOrd="0" presId="urn:microsoft.com/office/officeart/2005/8/layout/hProcess7"/>
    <dgm:cxn modelId="{5943FE00-3BA6-4F19-AA5E-2E9ABA1085C0}" type="presParOf" srcId="{503DA44F-AB2D-4516-8379-E3F26BB12AE0}" destId="{798EF21A-20E9-4F25-9235-D7FAD875BEE5}" srcOrd="3" destOrd="0" presId="urn:microsoft.com/office/officeart/2005/8/layout/hProcess7"/>
    <dgm:cxn modelId="{E7411281-FA7E-4501-91C3-F9099736D608}" type="presParOf" srcId="{503DA44F-AB2D-4516-8379-E3F26BB12AE0}" destId="{9D08F5E1-BFB4-4B46-90E3-875F2A42C920}" srcOrd="4" destOrd="0" presId="urn:microsoft.com/office/officeart/2005/8/layout/hProcess7"/>
    <dgm:cxn modelId="{43ECB615-CC47-4CE9-80B7-D736F8F44E3B}" type="presParOf" srcId="{9D08F5E1-BFB4-4B46-90E3-875F2A42C920}" destId="{5D7B6F8B-3579-49EE-BDA8-7D951030A4D2}" srcOrd="0" destOrd="0" presId="urn:microsoft.com/office/officeart/2005/8/layout/hProcess7"/>
    <dgm:cxn modelId="{2648084D-8EE9-4035-AE5A-72C7AC281E59}" type="presParOf" srcId="{9D08F5E1-BFB4-4B46-90E3-875F2A42C920}" destId="{FA546D6B-A402-41D1-B977-612CF3266603}" srcOrd="1" destOrd="0" presId="urn:microsoft.com/office/officeart/2005/8/layout/hProcess7"/>
    <dgm:cxn modelId="{A3025B5A-076D-4A7B-831B-7D7CC0EF4752}" type="presParOf" srcId="{9D08F5E1-BFB4-4B46-90E3-875F2A42C920}" destId="{719C1DF3-B5C5-4099-A55F-CF5D37BB32B1}" srcOrd="2" destOrd="0" presId="urn:microsoft.com/office/officeart/2005/8/layout/hProcess7"/>
    <dgm:cxn modelId="{389CBE9D-8B21-44FB-B4BC-8C55F87F5B27}" type="presParOf" srcId="{503DA44F-AB2D-4516-8379-E3F26BB12AE0}" destId="{32733D0C-8AEE-458E-A453-77B8637C0BD7}" srcOrd="5" destOrd="0" presId="urn:microsoft.com/office/officeart/2005/8/layout/hProcess7"/>
    <dgm:cxn modelId="{42B3FB20-1211-4A2D-87EF-0BD6DA0ACBBF}" type="presParOf" srcId="{503DA44F-AB2D-4516-8379-E3F26BB12AE0}" destId="{9932CC91-AFF0-49B2-B6F7-C6D5E83946B6}" srcOrd="6" destOrd="0" presId="urn:microsoft.com/office/officeart/2005/8/layout/hProcess7"/>
    <dgm:cxn modelId="{A0601612-309E-45C8-B37A-5050474EE9A3}" type="presParOf" srcId="{9932CC91-AFF0-49B2-B6F7-C6D5E83946B6}" destId="{8A6A6C73-F118-4FFE-B2FA-45A5D6016FDE}" srcOrd="0" destOrd="0" presId="urn:microsoft.com/office/officeart/2005/8/layout/hProcess7"/>
    <dgm:cxn modelId="{CA97469E-E714-4DDC-88C6-91FACE6285D0}" type="presParOf" srcId="{9932CC91-AFF0-49B2-B6F7-C6D5E83946B6}" destId="{F8598EF0-F38E-4857-A7B0-80D41B44807E}" srcOrd="1" destOrd="0" presId="urn:microsoft.com/office/officeart/2005/8/layout/hProcess7"/>
    <dgm:cxn modelId="{06885CB9-8ACF-4178-AEEC-699C1480DC9B}" type="presParOf" srcId="{9932CC91-AFF0-49B2-B6F7-C6D5E83946B6}" destId="{6083AFF3-2200-4C80-9EA6-8CB42C2786F9}" srcOrd="2" destOrd="0" presId="urn:microsoft.com/office/officeart/2005/8/layout/hProcess7"/>
    <dgm:cxn modelId="{CE2212B4-8AB8-42FE-B123-4E9E8FECEE10}" type="presParOf" srcId="{503DA44F-AB2D-4516-8379-E3F26BB12AE0}" destId="{DA4B3421-6EF8-4EF1-8E08-9816E3116159}" srcOrd="7" destOrd="0" presId="urn:microsoft.com/office/officeart/2005/8/layout/hProcess7"/>
    <dgm:cxn modelId="{EF918255-616B-439E-B99F-559EF10C3F23}" type="presParOf" srcId="{503DA44F-AB2D-4516-8379-E3F26BB12AE0}" destId="{D13B6C50-A50C-426A-9828-6FAE1316049A}" srcOrd="8" destOrd="0" presId="urn:microsoft.com/office/officeart/2005/8/layout/hProcess7"/>
    <dgm:cxn modelId="{AD85C58E-9663-478E-95C4-D40E9E68149A}" type="presParOf" srcId="{D13B6C50-A50C-426A-9828-6FAE1316049A}" destId="{F99BA2DC-C2BF-4F26-A24B-23F87836808A}" srcOrd="0" destOrd="0" presId="urn:microsoft.com/office/officeart/2005/8/layout/hProcess7"/>
    <dgm:cxn modelId="{435E52C3-2E14-4561-BA98-85B5ED6CCBE5}" type="presParOf" srcId="{D13B6C50-A50C-426A-9828-6FAE1316049A}" destId="{25A55C95-9446-4C2A-A1A1-F18294786CA3}" srcOrd="1" destOrd="0" presId="urn:microsoft.com/office/officeart/2005/8/layout/hProcess7"/>
    <dgm:cxn modelId="{BED7EF84-F458-42E2-AA7E-132E54606104}" type="presParOf" srcId="{D13B6C50-A50C-426A-9828-6FAE1316049A}" destId="{0017C811-AC47-4075-AE18-68EE5A4A2D7E}" srcOrd="2" destOrd="0" presId="urn:microsoft.com/office/officeart/2005/8/layout/hProcess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83EB90-9859-4B3E-AD3D-6A5B8491E8A1}">
      <dsp:nvSpPr>
        <dsp:cNvPr id="0" name=""/>
        <dsp:cNvSpPr/>
      </dsp:nvSpPr>
      <dsp:spPr>
        <a:xfrm>
          <a:off x="759564" y="311549"/>
          <a:ext cx="2979824" cy="2979824"/>
        </a:xfrm>
        <a:prstGeom prst="pie">
          <a:avLst>
            <a:gd name="adj1" fmla="val 16200000"/>
            <a:gd name="adj2" fmla="val 0"/>
          </a:avLst>
        </a:prstGeom>
        <a:solidFill>
          <a:srgbClr val="EC205F">
            <a:alpha val="9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SIM</a:t>
          </a:r>
          <a:endParaRPr lang="nl-NL" sz="2500" b="1" kern="1200" dirty="0"/>
        </a:p>
      </dsp:txBody>
      <dsp:txXfrm>
        <a:off x="2283531" y="862817"/>
        <a:ext cx="1099697" cy="886852"/>
      </dsp:txXfrm>
    </dsp:sp>
    <dsp:sp modelId="{A837A120-2DAE-4CD1-ADCB-0ABBF1CAA991}">
      <dsp:nvSpPr>
        <dsp:cNvPr id="0" name=""/>
        <dsp:cNvSpPr/>
      </dsp:nvSpPr>
      <dsp:spPr>
        <a:xfrm>
          <a:off x="755554" y="307557"/>
          <a:ext cx="2987826" cy="2987826"/>
        </a:xfrm>
        <a:prstGeom prst="pie">
          <a:avLst>
            <a:gd name="adj1" fmla="val 0"/>
            <a:gd name="adj2" fmla="val 5400000"/>
          </a:avLst>
        </a:prstGeom>
        <a:solidFill>
          <a:srgbClr val="00B0F0">
            <a:alpha val="76667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HAAS</a:t>
          </a:r>
          <a:endParaRPr lang="nl-NL" sz="2500" b="1" kern="1200" dirty="0"/>
        </a:p>
      </dsp:txBody>
      <dsp:txXfrm>
        <a:off x="2302821" y="1854824"/>
        <a:ext cx="1102650" cy="889234"/>
      </dsp:txXfrm>
    </dsp:sp>
    <dsp:sp modelId="{4917C1BE-A582-4ADE-8AAC-C725845A4FD7}">
      <dsp:nvSpPr>
        <dsp:cNvPr id="0" name=""/>
        <dsp:cNvSpPr/>
      </dsp:nvSpPr>
      <dsp:spPr>
        <a:xfrm>
          <a:off x="625174" y="338321"/>
          <a:ext cx="3245029" cy="2941709"/>
        </a:xfrm>
        <a:prstGeom prst="pie">
          <a:avLst>
            <a:gd name="adj1" fmla="val 5400000"/>
            <a:gd name="adj2" fmla="val 1080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CLOUD</a:t>
          </a:r>
          <a:endParaRPr lang="nl-NL" sz="2500" b="1" kern="1200" dirty="0"/>
        </a:p>
      </dsp:txBody>
      <dsp:txXfrm>
        <a:off x="992172" y="1861707"/>
        <a:ext cx="1197570" cy="875508"/>
      </dsp:txXfrm>
    </dsp:sp>
    <dsp:sp modelId="{B9E4DAAD-7F47-48C2-8F29-06D29115FE12}">
      <dsp:nvSpPr>
        <dsp:cNvPr id="0" name=""/>
        <dsp:cNvSpPr/>
      </dsp:nvSpPr>
      <dsp:spPr>
        <a:xfrm>
          <a:off x="625174" y="305778"/>
          <a:ext cx="3226061" cy="3006795"/>
        </a:xfrm>
        <a:prstGeom prst="pie">
          <a:avLst>
            <a:gd name="adj1" fmla="val 10800000"/>
            <a:gd name="adj2" fmla="val 16200000"/>
          </a:avLst>
        </a:prstGeom>
        <a:solidFill>
          <a:srgbClr val="FB840D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SERVICE</a:t>
          </a:r>
          <a:endParaRPr lang="nl-NL" sz="2500" b="1" kern="1200" dirty="0"/>
        </a:p>
      </dsp:txBody>
      <dsp:txXfrm>
        <a:off x="990026" y="860604"/>
        <a:ext cx="1190570" cy="8948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83EB90-9859-4B3E-AD3D-6A5B8491E8A1}">
      <dsp:nvSpPr>
        <dsp:cNvPr id="0" name=""/>
        <dsp:cNvSpPr/>
      </dsp:nvSpPr>
      <dsp:spPr>
        <a:xfrm>
          <a:off x="560744" y="255840"/>
          <a:ext cx="2979824" cy="2979824"/>
        </a:xfrm>
        <a:prstGeom prst="pie">
          <a:avLst>
            <a:gd name="adj1" fmla="val 16200000"/>
            <a:gd name="adj2" fmla="val 0"/>
          </a:avLst>
        </a:prstGeom>
        <a:solidFill>
          <a:srgbClr val="EC205F">
            <a:alpha val="9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SIM</a:t>
          </a:r>
          <a:endParaRPr lang="nl-NL" sz="2500" b="1" kern="1200" dirty="0"/>
        </a:p>
      </dsp:txBody>
      <dsp:txXfrm>
        <a:off x="2084711" y="807107"/>
        <a:ext cx="1099697" cy="886852"/>
      </dsp:txXfrm>
    </dsp:sp>
    <dsp:sp modelId="{A837A120-2DAE-4CD1-ADCB-0ABBF1CAA991}">
      <dsp:nvSpPr>
        <dsp:cNvPr id="0" name=""/>
        <dsp:cNvSpPr/>
      </dsp:nvSpPr>
      <dsp:spPr>
        <a:xfrm>
          <a:off x="556734" y="251847"/>
          <a:ext cx="2987826" cy="2987826"/>
        </a:xfrm>
        <a:prstGeom prst="pie">
          <a:avLst>
            <a:gd name="adj1" fmla="val 0"/>
            <a:gd name="adj2" fmla="val 5400000"/>
          </a:avLst>
        </a:prstGeom>
        <a:solidFill>
          <a:srgbClr val="00B0F0">
            <a:alpha val="76667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HAAS</a:t>
          </a:r>
          <a:endParaRPr lang="nl-NL" sz="2500" b="1" kern="1200" dirty="0"/>
        </a:p>
      </dsp:txBody>
      <dsp:txXfrm>
        <a:off x="2104002" y="1799114"/>
        <a:ext cx="1102650" cy="889234"/>
      </dsp:txXfrm>
    </dsp:sp>
    <dsp:sp modelId="{4917C1BE-A582-4ADE-8AAC-C725845A4FD7}">
      <dsp:nvSpPr>
        <dsp:cNvPr id="0" name=""/>
        <dsp:cNvSpPr/>
      </dsp:nvSpPr>
      <dsp:spPr>
        <a:xfrm>
          <a:off x="100302" y="-12972"/>
          <a:ext cx="3897135" cy="3532878"/>
        </a:xfrm>
        <a:prstGeom prst="pie">
          <a:avLst>
            <a:gd name="adj1" fmla="val 5400000"/>
            <a:gd name="adj2" fmla="val 1080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CLOUD</a:t>
          </a:r>
          <a:endParaRPr lang="nl-NL" sz="2500" b="1" kern="1200" dirty="0"/>
        </a:p>
      </dsp:txBody>
      <dsp:txXfrm>
        <a:off x="541049" y="1816553"/>
        <a:ext cx="1438228" cy="1051451"/>
      </dsp:txXfrm>
    </dsp:sp>
    <dsp:sp modelId="{B9E4DAAD-7F47-48C2-8F29-06D29115FE12}">
      <dsp:nvSpPr>
        <dsp:cNvPr id="0" name=""/>
        <dsp:cNvSpPr/>
      </dsp:nvSpPr>
      <dsp:spPr>
        <a:xfrm>
          <a:off x="417789" y="233619"/>
          <a:ext cx="3254632" cy="3006736"/>
        </a:xfrm>
        <a:prstGeom prst="pie">
          <a:avLst>
            <a:gd name="adj1" fmla="val 10800000"/>
            <a:gd name="adj2" fmla="val 16200000"/>
          </a:avLst>
        </a:prstGeom>
        <a:solidFill>
          <a:srgbClr val="FB840D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SERVICE</a:t>
          </a:r>
          <a:endParaRPr lang="nl-NL" sz="2500" b="1" kern="1200" dirty="0"/>
        </a:p>
      </dsp:txBody>
      <dsp:txXfrm>
        <a:off x="785873" y="788434"/>
        <a:ext cx="1201114" cy="8948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83EB90-9859-4B3E-AD3D-6A5B8491E8A1}">
      <dsp:nvSpPr>
        <dsp:cNvPr id="0" name=""/>
        <dsp:cNvSpPr/>
      </dsp:nvSpPr>
      <dsp:spPr>
        <a:xfrm>
          <a:off x="548563" y="255840"/>
          <a:ext cx="2979824" cy="2979824"/>
        </a:xfrm>
        <a:prstGeom prst="pie">
          <a:avLst>
            <a:gd name="adj1" fmla="val 16200000"/>
            <a:gd name="adj2" fmla="val 0"/>
          </a:avLst>
        </a:prstGeom>
        <a:solidFill>
          <a:srgbClr val="EC205F">
            <a:alpha val="9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SIM</a:t>
          </a:r>
          <a:endParaRPr lang="nl-NL" sz="2500" b="1" kern="1200" dirty="0"/>
        </a:p>
      </dsp:txBody>
      <dsp:txXfrm>
        <a:off x="2072530" y="807107"/>
        <a:ext cx="1099697" cy="886852"/>
      </dsp:txXfrm>
    </dsp:sp>
    <dsp:sp modelId="{A837A120-2DAE-4CD1-ADCB-0ABBF1CAA991}">
      <dsp:nvSpPr>
        <dsp:cNvPr id="0" name=""/>
        <dsp:cNvSpPr/>
      </dsp:nvSpPr>
      <dsp:spPr>
        <a:xfrm>
          <a:off x="540552" y="252529"/>
          <a:ext cx="2987826" cy="2987826"/>
        </a:xfrm>
        <a:prstGeom prst="pie">
          <a:avLst>
            <a:gd name="adj1" fmla="val 0"/>
            <a:gd name="adj2" fmla="val 5400000"/>
          </a:avLst>
        </a:prstGeom>
        <a:solidFill>
          <a:srgbClr val="00B0F0">
            <a:alpha val="76667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HAAS</a:t>
          </a:r>
          <a:endParaRPr lang="nl-NL" sz="2500" b="1" kern="1200" dirty="0"/>
        </a:p>
      </dsp:txBody>
      <dsp:txXfrm>
        <a:off x="2087819" y="1799796"/>
        <a:ext cx="1102650" cy="889234"/>
      </dsp:txXfrm>
    </dsp:sp>
    <dsp:sp modelId="{4917C1BE-A582-4ADE-8AAC-C725845A4FD7}">
      <dsp:nvSpPr>
        <dsp:cNvPr id="0" name=""/>
        <dsp:cNvSpPr/>
      </dsp:nvSpPr>
      <dsp:spPr>
        <a:xfrm>
          <a:off x="-310324" y="-76517"/>
          <a:ext cx="4373752" cy="3964948"/>
        </a:xfrm>
        <a:prstGeom prst="pie">
          <a:avLst>
            <a:gd name="adj1" fmla="val 5400000"/>
            <a:gd name="adj2" fmla="val 1080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CLOUD</a:t>
          </a:r>
          <a:endParaRPr lang="nl-NL" sz="2500" b="1" kern="1200" dirty="0"/>
        </a:p>
      </dsp:txBody>
      <dsp:txXfrm>
        <a:off x="184326" y="1976759"/>
        <a:ext cx="1614122" cy="1180044"/>
      </dsp:txXfrm>
    </dsp:sp>
    <dsp:sp modelId="{B9E4DAAD-7F47-48C2-8F29-06D29115FE12}">
      <dsp:nvSpPr>
        <dsp:cNvPr id="0" name=""/>
        <dsp:cNvSpPr/>
      </dsp:nvSpPr>
      <dsp:spPr>
        <a:xfrm>
          <a:off x="-574433" y="-698985"/>
          <a:ext cx="4901673" cy="4568506"/>
        </a:xfrm>
        <a:prstGeom prst="pie">
          <a:avLst>
            <a:gd name="adj1" fmla="val 10800000"/>
            <a:gd name="adj2" fmla="val 16200000"/>
          </a:avLst>
        </a:prstGeom>
        <a:solidFill>
          <a:srgbClr val="FB840D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500" b="1" kern="1200" dirty="0" smtClean="0"/>
            <a:t>SERVICE</a:t>
          </a:r>
          <a:endParaRPr lang="nl-NL" sz="2500" b="1" kern="1200" dirty="0"/>
        </a:p>
      </dsp:txBody>
      <dsp:txXfrm>
        <a:off x="-20077" y="144013"/>
        <a:ext cx="1808950" cy="135967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44BC6D-4009-47E6-8D69-B87A3919A400}">
      <dsp:nvSpPr>
        <dsp:cNvPr id="0" name=""/>
        <dsp:cNvSpPr/>
      </dsp:nvSpPr>
      <dsp:spPr>
        <a:xfrm>
          <a:off x="777" y="226476"/>
          <a:ext cx="2464524" cy="2167440"/>
        </a:xfrm>
        <a:prstGeom prst="roundRect">
          <a:avLst>
            <a:gd name="adj" fmla="val 5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72009" rIns="93345" bIns="0" numCol="1" spcCol="1270" anchor="t" anchorCtr="0">
          <a:noAutofit/>
        </a:bodyPr>
        <a:lstStyle/>
        <a:p>
          <a:pPr lvl="0" algn="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100" kern="1200" dirty="0" err="1" smtClean="0"/>
            <a:t>Economy</a:t>
          </a:r>
          <a:r>
            <a:rPr lang="nl-NL" sz="2100" kern="1200" dirty="0" smtClean="0"/>
            <a:t> class</a:t>
          </a:r>
          <a:endParaRPr lang="nl-NL" sz="2100" kern="1200" dirty="0"/>
        </a:p>
      </dsp:txBody>
      <dsp:txXfrm rot="16200000">
        <a:off x="-641420" y="868674"/>
        <a:ext cx="1777301" cy="492904"/>
      </dsp:txXfrm>
    </dsp:sp>
    <dsp:sp modelId="{9EAA02BC-7A72-47C3-B185-6F96E597D3D9}">
      <dsp:nvSpPr>
        <dsp:cNvPr id="0" name=""/>
        <dsp:cNvSpPr/>
      </dsp:nvSpPr>
      <dsp:spPr>
        <a:xfrm>
          <a:off x="445953" y="226476"/>
          <a:ext cx="1836070" cy="216744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4577" rIns="0" bIns="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300" kern="1200" dirty="0" smtClean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Display advertising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(</a:t>
          </a:r>
          <a:r>
            <a:rPr lang="nl-NL" sz="1300" kern="1200" dirty="0" err="1" smtClean="0">
              <a:solidFill>
                <a:schemeClr val="tx1"/>
              </a:solidFill>
            </a:rPr>
            <a:t>Prospecting</a:t>
          </a:r>
          <a:r>
            <a:rPr lang="nl-NL" sz="1300" kern="1200" dirty="0" smtClean="0">
              <a:solidFill>
                <a:schemeClr val="tx1"/>
              </a:solidFill>
            </a:rPr>
            <a:t>)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5000 clicks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Reporting 1 x </a:t>
          </a:r>
          <a:r>
            <a:rPr lang="nl-NL" sz="1300" kern="1200" dirty="0" err="1" smtClean="0">
              <a:solidFill>
                <a:schemeClr val="tx1"/>
              </a:solidFill>
            </a:rPr>
            <a:t>mnd</a:t>
          </a:r>
          <a:endParaRPr lang="nl-NL" sz="1300" kern="1200" dirty="0" smtClean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300" kern="1200" dirty="0" smtClean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300" kern="1200" dirty="0" smtClean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300" kern="1200" dirty="0">
            <a:solidFill>
              <a:schemeClr val="tx1"/>
            </a:solidFill>
          </a:endParaRPr>
        </a:p>
      </dsp:txBody>
      <dsp:txXfrm>
        <a:off x="445953" y="226476"/>
        <a:ext cx="1836070" cy="2167440"/>
      </dsp:txXfrm>
    </dsp:sp>
    <dsp:sp modelId="{5D7B6F8B-3579-49EE-BDA8-7D951030A4D2}">
      <dsp:nvSpPr>
        <dsp:cNvPr id="0" name=""/>
        <dsp:cNvSpPr/>
      </dsp:nvSpPr>
      <dsp:spPr>
        <a:xfrm>
          <a:off x="2539915" y="-313107"/>
          <a:ext cx="3502655" cy="3403076"/>
        </a:xfrm>
        <a:prstGeom prst="roundRect">
          <a:avLst>
            <a:gd name="adj" fmla="val 5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8580" rIns="88900" bIns="0" numCol="1" spcCol="1270" anchor="t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000" kern="1200" dirty="0" smtClean="0"/>
            <a:t>Business class</a:t>
          </a:r>
          <a:endParaRPr lang="nl-NL" sz="2000" kern="1200" dirty="0"/>
        </a:p>
      </dsp:txBody>
      <dsp:txXfrm rot="16200000">
        <a:off x="1494919" y="731888"/>
        <a:ext cx="2790522" cy="700531"/>
      </dsp:txXfrm>
    </dsp:sp>
    <dsp:sp modelId="{D164CCB2-F3AF-41EC-A3B8-A58AB33BF81B}">
      <dsp:nvSpPr>
        <dsp:cNvPr id="0" name=""/>
        <dsp:cNvSpPr/>
      </dsp:nvSpPr>
      <dsp:spPr>
        <a:xfrm rot="5400000">
          <a:off x="1494466" y="2482108"/>
          <a:ext cx="318574" cy="270930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9C1DF3-B5C5-4099-A55F-CF5D37BB32B1}">
      <dsp:nvSpPr>
        <dsp:cNvPr id="0" name=""/>
        <dsp:cNvSpPr/>
      </dsp:nvSpPr>
      <dsp:spPr>
        <a:xfrm>
          <a:off x="3117453" y="-313107"/>
          <a:ext cx="2609478" cy="340307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4577" rIns="0" bIns="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300" kern="1200" dirty="0" smtClean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Display advertising 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(</a:t>
          </a:r>
          <a:r>
            <a:rPr lang="nl-NL" sz="1300" kern="1200" dirty="0" err="1" smtClean="0">
              <a:solidFill>
                <a:schemeClr val="tx1"/>
              </a:solidFill>
            </a:rPr>
            <a:t>Prospecting</a:t>
          </a:r>
          <a:r>
            <a:rPr lang="nl-NL" sz="1300" kern="1200" dirty="0" smtClean="0">
              <a:solidFill>
                <a:schemeClr val="tx1"/>
              </a:solidFill>
            </a:rPr>
            <a:t> &amp; </a:t>
          </a:r>
          <a:r>
            <a:rPr lang="nl-NL" sz="1300" kern="1200" dirty="0" err="1" smtClean="0">
              <a:solidFill>
                <a:schemeClr val="tx1"/>
              </a:solidFill>
            </a:rPr>
            <a:t>Retargeting</a:t>
          </a:r>
          <a:r>
            <a:rPr lang="nl-NL" sz="1300" kern="1200" dirty="0" smtClean="0">
              <a:solidFill>
                <a:schemeClr val="tx1"/>
              </a:solidFill>
            </a:rPr>
            <a:t>)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6.500 clicks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Creatie (productie </a:t>
          </a:r>
          <a:r>
            <a:rPr lang="nl-NL" sz="1300" kern="1200" dirty="0" err="1" smtClean="0">
              <a:solidFill>
                <a:schemeClr val="tx1"/>
              </a:solidFill>
            </a:rPr>
            <a:t>creatives</a:t>
          </a:r>
          <a:r>
            <a:rPr lang="nl-NL" sz="1300" kern="1200" dirty="0" smtClean="0">
              <a:solidFill>
                <a:schemeClr val="tx1"/>
              </a:solidFill>
            </a:rPr>
            <a:t> mobiel en desktop)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300" kern="1200" dirty="0" smtClean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Reporting 1 x  </a:t>
          </a:r>
          <a:r>
            <a:rPr lang="nl-NL" sz="1300" kern="1200" dirty="0" err="1" smtClean="0">
              <a:solidFill>
                <a:schemeClr val="tx1"/>
              </a:solidFill>
            </a:rPr>
            <a:t>wk</a:t>
          </a:r>
          <a:endParaRPr lang="nl-NL" sz="1300" kern="1200" dirty="0" smtClean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300" kern="1200" dirty="0" smtClean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300" kern="1200" dirty="0" smtClean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300" kern="1200" dirty="0">
            <a:solidFill>
              <a:schemeClr val="tx1"/>
            </a:solidFill>
          </a:endParaRPr>
        </a:p>
      </dsp:txBody>
      <dsp:txXfrm>
        <a:off x="3117453" y="-313107"/>
        <a:ext cx="2609478" cy="3403076"/>
      </dsp:txXfrm>
    </dsp:sp>
    <dsp:sp modelId="{F99BA2DC-C2BF-4F26-A24B-23F87836808A}">
      <dsp:nvSpPr>
        <dsp:cNvPr id="0" name=""/>
        <dsp:cNvSpPr/>
      </dsp:nvSpPr>
      <dsp:spPr>
        <a:xfrm>
          <a:off x="6099178" y="226476"/>
          <a:ext cx="2503375" cy="2167440"/>
        </a:xfrm>
        <a:prstGeom prst="roundRect">
          <a:avLst>
            <a:gd name="adj" fmla="val 5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8580" rIns="88900" bIns="0" numCol="1" spcCol="1270" anchor="t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000" kern="1200" dirty="0" err="1" smtClean="0"/>
            <a:t>Fisrt</a:t>
          </a:r>
          <a:r>
            <a:rPr lang="nl-NL" sz="2000" kern="1200" dirty="0" smtClean="0"/>
            <a:t> Class</a:t>
          </a:r>
          <a:endParaRPr lang="nl-NL" sz="2000" kern="1200" dirty="0"/>
        </a:p>
      </dsp:txBody>
      <dsp:txXfrm rot="16200000">
        <a:off x="5460865" y="864789"/>
        <a:ext cx="1777301" cy="500675"/>
      </dsp:txXfrm>
    </dsp:sp>
    <dsp:sp modelId="{F8598EF0-F38E-4857-A7B0-80D41B44807E}">
      <dsp:nvSpPr>
        <dsp:cNvPr id="0" name=""/>
        <dsp:cNvSpPr/>
      </dsp:nvSpPr>
      <dsp:spPr>
        <a:xfrm rot="5400000">
          <a:off x="994191" y="2482108"/>
          <a:ext cx="318574" cy="270930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17C811-AC47-4075-AE18-68EE5A4A2D7E}">
      <dsp:nvSpPr>
        <dsp:cNvPr id="0" name=""/>
        <dsp:cNvSpPr/>
      </dsp:nvSpPr>
      <dsp:spPr>
        <a:xfrm>
          <a:off x="6549308" y="226476"/>
          <a:ext cx="1865014" cy="216744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4577" rIns="0" bIns="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b="0" kern="1200" dirty="0" smtClean="0">
              <a:solidFill>
                <a:schemeClr val="tx1"/>
              </a:solidFill>
            </a:rPr>
            <a:t>Display advertising </a:t>
          </a:r>
          <a:r>
            <a:rPr lang="nl-NL" sz="1300" kern="1200" dirty="0" smtClean="0">
              <a:solidFill>
                <a:schemeClr val="tx1"/>
              </a:solidFill>
            </a:rPr>
            <a:t>(</a:t>
          </a:r>
          <a:r>
            <a:rPr lang="nl-NL" sz="1300" kern="1200" dirty="0" err="1" smtClean="0">
              <a:solidFill>
                <a:schemeClr val="tx1"/>
              </a:solidFill>
            </a:rPr>
            <a:t>Prospecting</a:t>
          </a:r>
          <a:r>
            <a:rPr lang="nl-NL" sz="1300" kern="1200" dirty="0" smtClean="0">
              <a:solidFill>
                <a:schemeClr val="tx1"/>
              </a:solidFill>
            </a:rPr>
            <a:t> &amp; </a:t>
          </a:r>
          <a:r>
            <a:rPr lang="nl-NL" sz="1300" kern="1200" dirty="0" err="1" smtClean="0">
              <a:solidFill>
                <a:schemeClr val="tx1"/>
              </a:solidFill>
            </a:rPr>
            <a:t>Retargeting</a:t>
          </a:r>
          <a:r>
            <a:rPr lang="nl-NL" sz="1300" kern="1200" dirty="0" smtClean="0">
              <a:solidFill>
                <a:schemeClr val="tx1"/>
              </a:solidFill>
            </a:rPr>
            <a:t>)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8.800 clicks</a:t>
          </a:r>
          <a:endParaRPr lang="nl-NL" sz="1300" kern="1200" dirty="0">
            <a:solidFill>
              <a:schemeClr val="tx1"/>
            </a:solidFill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Creatie (productie </a:t>
          </a:r>
          <a:r>
            <a:rPr lang="nl-NL" sz="1300" kern="1200" dirty="0" err="1" smtClean="0">
              <a:solidFill>
                <a:schemeClr val="tx1"/>
              </a:solidFill>
            </a:rPr>
            <a:t>creatives</a:t>
          </a:r>
          <a:r>
            <a:rPr lang="nl-NL" sz="1300" kern="1200" dirty="0" smtClean="0">
              <a:solidFill>
                <a:schemeClr val="tx1"/>
              </a:solidFill>
            </a:rPr>
            <a:t> mobiel en desktop)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Mobile </a:t>
          </a:r>
          <a:r>
            <a:rPr lang="nl-NL" sz="1300" kern="1200" dirty="0" err="1" smtClean="0">
              <a:solidFill>
                <a:schemeClr val="tx1"/>
              </a:solidFill>
            </a:rPr>
            <a:t>Local</a:t>
          </a:r>
          <a:r>
            <a:rPr lang="nl-NL" sz="1300" kern="1200" dirty="0" smtClean="0">
              <a:solidFill>
                <a:schemeClr val="tx1"/>
              </a:solidFill>
            </a:rPr>
            <a:t> (</a:t>
          </a:r>
          <a:r>
            <a:rPr lang="nl-NL" sz="1300" kern="1200" dirty="0" err="1" smtClean="0">
              <a:solidFill>
                <a:schemeClr val="tx1"/>
              </a:solidFill>
            </a:rPr>
            <a:t>LocalSensor</a:t>
          </a:r>
          <a:r>
            <a:rPr lang="nl-NL" sz="1300" kern="1200" dirty="0" smtClean="0">
              <a:solidFill>
                <a:schemeClr val="tx1"/>
              </a:solidFill>
            </a:rPr>
            <a:t>)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kern="1200" dirty="0" smtClean="0">
              <a:solidFill>
                <a:schemeClr val="tx1"/>
              </a:solidFill>
            </a:rPr>
            <a:t>Reporting 1 x </a:t>
          </a:r>
          <a:r>
            <a:rPr lang="nl-NL" sz="1300" kern="1200" dirty="0" err="1" smtClean="0">
              <a:solidFill>
                <a:schemeClr val="tx1"/>
              </a:solidFill>
            </a:rPr>
            <a:t>wk</a:t>
          </a:r>
          <a:endParaRPr lang="nl-NL" sz="1300" kern="1200" dirty="0">
            <a:solidFill>
              <a:schemeClr val="tx1"/>
            </a:solidFill>
          </a:endParaRPr>
        </a:p>
      </dsp:txBody>
      <dsp:txXfrm>
        <a:off x="6549308" y="226476"/>
        <a:ext cx="1865014" cy="21674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7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2E87B2-DA9A-49A6-8E04-7B71A33E2E4D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B66230-7E90-4301-9A19-463413428F8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74678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B66230-7E90-4301-9A19-463413428F89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872362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25" y="685800"/>
            <a:ext cx="600075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52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5227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25" y="685800"/>
            <a:ext cx="600075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53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5227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25" y="685800"/>
            <a:ext cx="600075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7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://www.businessinsider.com/future-of-mobile-slides-2012-12?op=1 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54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4669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8D164A-6AEB-2346-B8DD-F81DA77FEB93}" type="slidenum">
              <a:rPr lang="nl-NL" smtClean="0">
                <a:solidFill>
                  <a:prstClr val="black"/>
                </a:solidFill>
              </a:rPr>
              <a:pPr/>
              <a:t>29</a:t>
            </a:fld>
            <a:endParaRPr 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803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25" y="685800"/>
            <a:ext cx="600075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39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4669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dirty="0" smtClean="0">
                <a:solidFill>
                  <a:schemeClr val="bg1"/>
                </a:solidFill>
              </a:rPr>
              <a:t>So new devices/ mobile are growing fast and cannibalize other channels (even ‘Online’/ Desktop)</a:t>
            </a:r>
          </a:p>
          <a:p>
            <a:r>
              <a:rPr lang="en-GB" sz="1200" b="0" dirty="0" err="1" smtClean="0">
                <a:solidFill>
                  <a:schemeClr val="bg1"/>
                </a:solidFill>
              </a:rPr>
              <a:t>Sanoma</a:t>
            </a:r>
            <a:r>
              <a:rPr lang="en-GB" sz="1200" b="0" dirty="0" smtClean="0">
                <a:solidFill>
                  <a:schemeClr val="bg1"/>
                </a:solidFill>
              </a:rPr>
              <a:t> NL:</a:t>
            </a:r>
            <a:r>
              <a:rPr lang="en-GB" sz="1200" b="0" baseline="0" dirty="0" smtClean="0">
                <a:solidFill>
                  <a:schemeClr val="bg1"/>
                </a:solidFill>
              </a:rPr>
              <a:t> </a:t>
            </a:r>
            <a:r>
              <a:rPr lang="en-GB" sz="1200" b="0" dirty="0" smtClean="0">
                <a:solidFill>
                  <a:schemeClr val="bg1"/>
                </a:solidFill>
              </a:rPr>
              <a:t>share of mobile (smartphone and tablet) traffic increased to 59% in Q4 2013 (</a:t>
            </a:r>
            <a:r>
              <a:rPr lang="en-GB" sz="1200" b="0" dirty="0" err="1" smtClean="0">
                <a:solidFill>
                  <a:schemeClr val="bg1"/>
                </a:solidFill>
              </a:rPr>
              <a:t>vs</a:t>
            </a:r>
            <a:r>
              <a:rPr lang="en-GB" sz="1200" b="0" dirty="0" smtClean="0">
                <a:solidFill>
                  <a:schemeClr val="bg1"/>
                </a:solidFill>
              </a:rPr>
              <a:t> 9% in Q4 2010)</a:t>
            </a:r>
          </a:p>
          <a:p>
            <a:r>
              <a:rPr lang="en-GB" sz="1200" b="0" dirty="0" err="1" smtClean="0">
                <a:solidFill>
                  <a:schemeClr val="bg1"/>
                </a:solidFill>
              </a:rPr>
              <a:t>Sanoma</a:t>
            </a:r>
            <a:r>
              <a:rPr lang="en-GB" sz="1200" b="0" dirty="0" smtClean="0">
                <a:solidFill>
                  <a:schemeClr val="bg1"/>
                </a:solidFill>
              </a:rPr>
              <a:t> </a:t>
            </a:r>
            <a:r>
              <a:rPr lang="nl-NL" sz="1200" b="0" dirty="0" smtClean="0">
                <a:solidFill>
                  <a:schemeClr val="bg1"/>
                </a:solidFill>
              </a:rPr>
              <a:t>FI: mobile traffic (+72%) </a:t>
            </a:r>
            <a:r>
              <a:rPr lang="nl-NL" sz="1200" b="0" dirty="0" err="1" smtClean="0">
                <a:solidFill>
                  <a:schemeClr val="bg1"/>
                </a:solidFill>
              </a:rPr>
              <a:t>and</a:t>
            </a:r>
            <a:r>
              <a:rPr lang="nl-NL" sz="1200" b="0" dirty="0" smtClean="0">
                <a:solidFill>
                  <a:schemeClr val="bg1"/>
                </a:solidFill>
              </a:rPr>
              <a:t> </a:t>
            </a:r>
            <a:r>
              <a:rPr lang="nl-NL" sz="1200" b="0" dirty="0" err="1" smtClean="0">
                <a:solidFill>
                  <a:schemeClr val="bg1"/>
                </a:solidFill>
              </a:rPr>
              <a:t>weekly</a:t>
            </a:r>
            <a:r>
              <a:rPr lang="nl-NL" sz="1200" b="0" dirty="0" smtClean="0">
                <a:solidFill>
                  <a:schemeClr val="bg1"/>
                </a:solidFill>
              </a:rPr>
              <a:t> </a:t>
            </a:r>
            <a:r>
              <a:rPr lang="nl-NL" sz="1200" b="0" dirty="0" err="1" smtClean="0">
                <a:solidFill>
                  <a:schemeClr val="bg1"/>
                </a:solidFill>
              </a:rPr>
              <a:t>visitors</a:t>
            </a:r>
            <a:r>
              <a:rPr lang="nl-NL" sz="1200" b="0" dirty="0" smtClean="0">
                <a:solidFill>
                  <a:schemeClr val="bg1"/>
                </a:solidFill>
              </a:rPr>
              <a:t> (+107%) are </a:t>
            </a:r>
            <a:r>
              <a:rPr lang="nl-NL" sz="1200" b="0" dirty="0" err="1" smtClean="0">
                <a:solidFill>
                  <a:schemeClr val="bg1"/>
                </a:solidFill>
              </a:rPr>
              <a:t>growing</a:t>
            </a:r>
            <a:r>
              <a:rPr lang="nl-NL" sz="1200" b="0" dirty="0" smtClean="0">
                <a:solidFill>
                  <a:schemeClr val="bg1"/>
                </a:solidFill>
              </a:rPr>
              <a:t> </a:t>
            </a:r>
            <a:r>
              <a:rPr lang="nl-NL" sz="1200" b="0" dirty="0" err="1" smtClean="0">
                <a:solidFill>
                  <a:schemeClr val="bg1"/>
                </a:solidFill>
              </a:rPr>
              <a:t>heavily</a:t>
            </a:r>
            <a:r>
              <a:rPr lang="nl-NL" sz="1200" b="0" dirty="0" smtClean="0">
                <a:solidFill>
                  <a:schemeClr val="bg1"/>
                </a:solidFill>
              </a:rPr>
              <a:t>.</a:t>
            </a:r>
            <a:r>
              <a:rPr lang="nl-NL" sz="1200" b="0" baseline="0" dirty="0" smtClean="0">
                <a:solidFill>
                  <a:schemeClr val="bg1"/>
                </a:solidFill>
              </a:rPr>
              <a:t> </a:t>
            </a:r>
            <a:r>
              <a:rPr lang="nl-NL" sz="1200" b="0" dirty="0" smtClean="0">
                <a:solidFill>
                  <a:schemeClr val="bg1"/>
                </a:solidFill>
              </a:rPr>
              <a:t>The share of mobile (</a:t>
            </a:r>
            <a:r>
              <a:rPr lang="nl-NL" sz="1200" b="0" dirty="0" err="1" smtClean="0">
                <a:solidFill>
                  <a:schemeClr val="bg1"/>
                </a:solidFill>
              </a:rPr>
              <a:t>smartphone</a:t>
            </a:r>
            <a:r>
              <a:rPr lang="nl-NL" sz="1200" b="0" dirty="0" smtClean="0">
                <a:solidFill>
                  <a:schemeClr val="bg1"/>
                </a:solidFill>
              </a:rPr>
              <a:t> </a:t>
            </a:r>
            <a:r>
              <a:rPr lang="nl-NL" sz="1200" b="0" dirty="0" err="1" smtClean="0">
                <a:solidFill>
                  <a:schemeClr val="bg1"/>
                </a:solidFill>
              </a:rPr>
              <a:t>and</a:t>
            </a:r>
            <a:r>
              <a:rPr lang="nl-NL" sz="1200" b="0" dirty="0" smtClean="0">
                <a:solidFill>
                  <a:schemeClr val="bg1"/>
                </a:solidFill>
              </a:rPr>
              <a:t> tablet) traffic </a:t>
            </a:r>
            <a:r>
              <a:rPr lang="nl-NL" sz="1200" b="0" dirty="0" err="1" smtClean="0">
                <a:solidFill>
                  <a:schemeClr val="bg1"/>
                </a:solidFill>
              </a:rPr>
              <a:t>increased</a:t>
            </a:r>
            <a:r>
              <a:rPr lang="nl-NL" sz="1200" b="0" dirty="0" smtClean="0">
                <a:solidFill>
                  <a:schemeClr val="bg1"/>
                </a:solidFill>
              </a:rPr>
              <a:t> </a:t>
            </a:r>
            <a:r>
              <a:rPr lang="nl-NL" sz="1200" b="0" dirty="0" err="1" smtClean="0">
                <a:solidFill>
                  <a:schemeClr val="bg1"/>
                </a:solidFill>
              </a:rPr>
              <a:t>to</a:t>
            </a:r>
            <a:r>
              <a:rPr lang="nl-NL" sz="1200" b="0" dirty="0" smtClean="0">
                <a:solidFill>
                  <a:schemeClr val="bg1"/>
                </a:solidFill>
              </a:rPr>
              <a:t> 50% in Q4/2014 (30% Q4/2013). Desktop traffic </a:t>
            </a:r>
            <a:r>
              <a:rPr lang="nl-NL" sz="1200" b="0" dirty="0" err="1" smtClean="0">
                <a:solidFill>
                  <a:schemeClr val="bg1"/>
                </a:solidFill>
              </a:rPr>
              <a:t>declined</a:t>
            </a:r>
            <a:r>
              <a:rPr lang="nl-NL" sz="1200" b="0" dirty="0" smtClean="0">
                <a:solidFill>
                  <a:schemeClr val="bg1"/>
                </a:solidFill>
              </a:rPr>
              <a:t> 18,6%.</a:t>
            </a:r>
          </a:p>
          <a:p>
            <a:endParaRPr lang="en-GB" sz="1200" b="0" dirty="0" smtClean="0">
              <a:solidFill>
                <a:schemeClr val="bg1"/>
              </a:solidFill>
            </a:endParaRPr>
          </a:p>
          <a:p>
            <a:endParaRPr lang="nl-NL" b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40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334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I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tal</a:t>
            </a:r>
            <a:r>
              <a:rPr lang="nl-NL" baseline="0" dirty="0" smtClean="0"/>
              <a:t> we </a:t>
            </a:r>
            <a:r>
              <a:rPr lang="nl-NL" baseline="0" dirty="0" err="1" smtClean="0"/>
              <a:t>surpassed</a:t>
            </a:r>
            <a:r>
              <a:rPr lang="nl-NL" baseline="0" dirty="0" smtClean="0"/>
              <a:t> the 50/50; </a:t>
            </a:r>
            <a:r>
              <a:rPr lang="nl-NL" baseline="0" dirty="0" err="1" smtClean="0"/>
              <a:t>mainl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du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the large mobile </a:t>
            </a:r>
            <a:r>
              <a:rPr lang="nl-NL" baseline="0" dirty="0" err="1" smtClean="0"/>
              <a:t>success</a:t>
            </a:r>
            <a:r>
              <a:rPr lang="nl-NL" baseline="0" dirty="0" smtClean="0"/>
              <a:t> of </a:t>
            </a:r>
            <a:r>
              <a:rPr lang="nl-NL" baseline="0" dirty="0" err="1" smtClean="0"/>
              <a:t>NU.nl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41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7220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25" y="685800"/>
            <a:ext cx="600075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 smtClean="0"/>
              <a:t>Really</a:t>
            </a:r>
            <a:r>
              <a:rPr lang="nl-NL" dirty="0" smtClean="0"/>
              <a:t> important </a:t>
            </a:r>
            <a:r>
              <a:rPr lang="nl-NL" dirty="0" err="1" smtClean="0"/>
              <a:t>note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unique</a:t>
            </a:r>
            <a:r>
              <a:rPr lang="nl-NL" dirty="0" smtClean="0"/>
              <a:t> </a:t>
            </a:r>
            <a:r>
              <a:rPr lang="nl-NL" dirty="0" err="1" smtClean="0"/>
              <a:t>visitors</a:t>
            </a:r>
            <a:r>
              <a:rPr lang="nl-NL" dirty="0" smtClean="0"/>
              <a:t> are </a:t>
            </a:r>
            <a:r>
              <a:rPr lang="nl-NL" dirty="0" err="1" smtClean="0"/>
              <a:t>not</a:t>
            </a:r>
            <a:r>
              <a:rPr lang="nl-NL" dirty="0" smtClean="0"/>
              <a:t> in </a:t>
            </a:r>
            <a:r>
              <a:rPr lang="nl-NL" dirty="0" err="1" smtClean="0"/>
              <a:t>decline</a:t>
            </a:r>
            <a:r>
              <a:rPr lang="nl-NL" dirty="0" smtClean="0"/>
              <a:t>. As </a:t>
            </a:r>
            <a:r>
              <a:rPr lang="nl-NL" dirty="0" err="1" smtClean="0"/>
              <a:t>you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a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e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at</a:t>
            </a:r>
            <a:r>
              <a:rPr lang="nl-NL" baseline="0" dirty="0" smtClean="0"/>
              <a:t> we went (</a:t>
            </a:r>
            <a:r>
              <a:rPr lang="nl-NL" baseline="0" dirty="0" err="1" smtClean="0"/>
              <a:t>fo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example</a:t>
            </a:r>
            <a:r>
              <a:rPr lang="nl-NL" baseline="0" dirty="0" smtClean="0"/>
              <a:t>) </a:t>
            </a:r>
            <a:r>
              <a:rPr lang="nl-NL" baseline="0" dirty="0" err="1" smtClean="0"/>
              <a:t>from</a:t>
            </a:r>
            <a:r>
              <a:rPr lang="nl-NL" baseline="0" dirty="0" smtClean="0"/>
              <a:t> 3 </a:t>
            </a:r>
            <a:r>
              <a:rPr lang="nl-NL" baseline="0" dirty="0" err="1" smtClean="0"/>
              <a:t>visits</a:t>
            </a:r>
            <a:r>
              <a:rPr lang="nl-NL" baseline="0" dirty="0" smtClean="0"/>
              <a:t> on a desktop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2. But </a:t>
            </a:r>
            <a:r>
              <a:rPr lang="nl-NL" baseline="0" dirty="0" err="1" smtClean="0"/>
              <a:t>fortunatel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ull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ompensat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everal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the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visit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rom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the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devices</a:t>
            </a:r>
            <a:r>
              <a:rPr lang="nl-NL" baseline="0" dirty="0" smtClean="0"/>
              <a:t>. In the end we </a:t>
            </a:r>
            <a:r>
              <a:rPr lang="nl-NL" baseline="0" dirty="0" err="1" smtClean="0"/>
              <a:t>see</a:t>
            </a:r>
            <a:r>
              <a:rPr lang="nl-NL" baseline="0" dirty="0" smtClean="0"/>
              <a:t> a more intense </a:t>
            </a:r>
            <a:r>
              <a:rPr lang="nl-NL" baseline="0" dirty="0" err="1" smtClean="0"/>
              <a:t>connectio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u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onsumer</a:t>
            </a:r>
            <a:r>
              <a:rPr lang="nl-NL" baseline="0" dirty="0" smtClean="0"/>
              <a:t>. Take </a:t>
            </a:r>
            <a:r>
              <a:rPr lang="nl-NL" baseline="0" dirty="0" err="1" smtClean="0"/>
              <a:t>NU.nl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here</a:t>
            </a:r>
            <a:r>
              <a:rPr lang="nl-NL" baseline="0" dirty="0" smtClean="0"/>
              <a:t> the </a:t>
            </a:r>
            <a:r>
              <a:rPr lang="nl-NL" baseline="0" dirty="0" err="1" smtClean="0"/>
              <a:t>montly</a:t>
            </a:r>
            <a:r>
              <a:rPr lang="nl-NL" baseline="0" dirty="0" smtClean="0"/>
              <a:t> views per user more </a:t>
            </a:r>
            <a:r>
              <a:rPr lang="nl-NL" baseline="0" dirty="0" err="1" smtClean="0"/>
              <a:t>tha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doubled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42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127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25" y="685800"/>
            <a:ext cx="600075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Aanpassen:</a:t>
            </a:r>
            <a:r>
              <a:rPr lang="nl-NL" baseline="0" dirty="0" smtClean="0"/>
              <a:t> sterke plaat </a:t>
            </a:r>
            <a:r>
              <a:rPr lang="nl-NL" dirty="0" smtClean="0"/>
              <a:t> &gt; plaatje alles</a:t>
            </a:r>
            <a:r>
              <a:rPr lang="nl-NL" baseline="0" dirty="0" smtClean="0"/>
              <a:t> </a:t>
            </a:r>
            <a:r>
              <a:rPr lang="nl-NL" dirty="0" smtClean="0"/>
              <a:t> behalve bellen 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43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0788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25" y="685800"/>
            <a:ext cx="600075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44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466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25" y="685800"/>
            <a:ext cx="600075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0B3B4-F971-4AD3-B530-DE860EFC07D2}" type="slidenum">
              <a:rPr lang="fi-FI" smtClean="0">
                <a:solidFill>
                  <a:prstClr val="black"/>
                </a:solidFill>
              </a:rPr>
              <a:pPr/>
              <a:t>47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466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Klik om de ondertitelstijl van het model te bewerken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302478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33413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8940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Klik om de titelstijl van het model te bewerken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CCCBF-3CE0-4C0C-8F77-8DCD3B718ED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9583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Klik om de tekststijl van het model te bewerken</a:t>
            </a:r>
          </a:p>
          <a:p>
            <a:pPr lvl="1"/>
            <a:r>
              <a:rPr lang="en-US" smtClean="0"/>
              <a:t>Tweede niveau</a:t>
            </a:r>
          </a:p>
          <a:p>
            <a:pPr lvl="2"/>
            <a:r>
              <a:rPr lang="en-US" smtClean="0"/>
              <a:t>Derde niveau</a:t>
            </a:r>
          </a:p>
          <a:p>
            <a:pPr lvl="3"/>
            <a:r>
              <a:rPr lang="en-US" smtClean="0"/>
              <a:t>Vierde niveau</a:t>
            </a:r>
          </a:p>
          <a:p>
            <a:pPr lvl="4"/>
            <a:r>
              <a:rPr lang="en-US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3DB65-8BD8-498F-8761-81D87781D2C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4790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80AF1-B9CD-471B-890D-B41B879E6AB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2540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  <a:p>
            <a:pPr lvl="1"/>
            <a:r>
              <a:rPr lang="en-US" smtClean="0"/>
              <a:t>Tweede niveau</a:t>
            </a:r>
          </a:p>
          <a:p>
            <a:pPr lvl="2"/>
            <a:r>
              <a:rPr lang="en-US" smtClean="0"/>
              <a:t>Derde niveau</a:t>
            </a:r>
          </a:p>
          <a:p>
            <a:pPr lvl="3"/>
            <a:r>
              <a:rPr lang="en-US" smtClean="0"/>
              <a:t>Vierde niveau</a:t>
            </a:r>
          </a:p>
          <a:p>
            <a:pPr lvl="4"/>
            <a:r>
              <a:rPr lang="en-US" smtClean="0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  <a:p>
            <a:pPr lvl="1"/>
            <a:r>
              <a:rPr lang="en-US" smtClean="0"/>
              <a:t>Tweede niveau</a:t>
            </a:r>
          </a:p>
          <a:p>
            <a:pPr lvl="2"/>
            <a:r>
              <a:rPr lang="en-US" smtClean="0"/>
              <a:t>Derde niveau</a:t>
            </a:r>
          </a:p>
          <a:p>
            <a:pPr lvl="3"/>
            <a:r>
              <a:rPr lang="en-US" smtClean="0"/>
              <a:t>Vierde niveau</a:t>
            </a:r>
          </a:p>
          <a:p>
            <a:pPr lvl="4"/>
            <a:r>
              <a:rPr lang="en-US" smtClean="0"/>
              <a:t>Vijfde niveau</a:t>
            </a:r>
            <a:endParaRPr lang="nl-NL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828EE-0EB4-44E3-88DE-D255E2C094B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4965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  <a:p>
            <a:pPr lvl="1"/>
            <a:r>
              <a:rPr lang="en-US" smtClean="0"/>
              <a:t>Tweede niveau</a:t>
            </a:r>
          </a:p>
          <a:p>
            <a:pPr lvl="2"/>
            <a:r>
              <a:rPr lang="en-US" smtClean="0"/>
              <a:t>Derde niveau</a:t>
            </a:r>
          </a:p>
          <a:p>
            <a:pPr lvl="3"/>
            <a:r>
              <a:rPr lang="en-US" smtClean="0"/>
              <a:t>Vierde niveau</a:t>
            </a:r>
          </a:p>
          <a:p>
            <a:pPr lvl="4"/>
            <a:r>
              <a:rPr lang="en-US" smtClean="0"/>
              <a:t>Vijfde niveau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  <a:p>
            <a:pPr lvl="1"/>
            <a:r>
              <a:rPr lang="en-US" smtClean="0"/>
              <a:t>Tweede niveau</a:t>
            </a:r>
          </a:p>
          <a:p>
            <a:pPr lvl="2"/>
            <a:r>
              <a:rPr lang="en-US" smtClean="0"/>
              <a:t>Derde niveau</a:t>
            </a:r>
          </a:p>
          <a:p>
            <a:pPr lvl="3"/>
            <a:r>
              <a:rPr lang="en-US" smtClean="0"/>
              <a:t>Vierde niveau</a:t>
            </a:r>
          </a:p>
          <a:p>
            <a:pPr lvl="4"/>
            <a:r>
              <a:rPr lang="en-US" smtClean="0"/>
              <a:t>Vijfde niveau</a:t>
            </a:r>
            <a:endParaRPr lang="nl-NL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745353-3199-4CE4-9478-55EFF66827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4312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44C9D-2082-46E3-AB18-6BA67A793F0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6079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E43A77-D488-4296-8F1E-F07A5C82BEC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8019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  <a:p>
            <a:pPr lvl="1"/>
            <a:r>
              <a:rPr lang="en-US" smtClean="0"/>
              <a:t>Tweede niveau</a:t>
            </a:r>
          </a:p>
          <a:p>
            <a:pPr lvl="2"/>
            <a:r>
              <a:rPr lang="en-US" smtClean="0"/>
              <a:t>Derde niveau</a:t>
            </a:r>
          </a:p>
          <a:p>
            <a:pPr lvl="3"/>
            <a:r>
              <a:rPr lang="en-US" smtClean="0"/>
              <a:t>Vierde niveau</a:t>
            </a:r>
          </a:p>
          <a:p>
            <a:pPr lvl="4"/>
            <a:r>
              <a:rPr lang="en-US" smtClean="0"/>
              <a:t>Vijfde niveau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CB4EF-8167-4342-A820-6C8234536B7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84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70845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Klik om de tekststijl van het model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2BE3CE-2280-4097-BDBA-948F250ADA2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4037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Klik om de tekststijl van het model te bewerken</a:t>
            </a:r>
          </a:p>
          <a:p>
            <a:pPr lvl="1"/>
            <a:r>
              <a:rPr lang="en-US" smtClean="0"/>
              <a:t>Tweede niveau</a:t>
            </a:r>
          </a:p>
          <a:p>
            <a:pPr lvl="2"/>
            <a:r>
              <a:rPr lang="en-US" smtClean="0"/>
              <a:t>Derde niveau</a:t>
            </a:r>
          </a:p>
          <a:p>
            <a:pPr lvl="3"/>
            <a:r>
              <a:rPr lang="en-US" smtClean="0"/>
              <a:t>Vierde niveau</a:t>
            </a:r>
          </a:p>
          <a:p>
            <a:pPr lvl="4"/>
            <a:r>
              <a:rPr lang="en-US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3DAF-B4B6-4F61-94DC-2149B4623DC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7265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Klik om de tekststijl van het model te bewerken</a:t>
            </a:r>
          </a:p>
          <a:p>
            <a:pPr lvl="1"/>
            <a:r>
              <a:rPr lang="en-US" smtClean="0"/>
              <a:t>Tweede niveau</a:t>
            </a:r>
          </a:p>
          <a:p>
            <a:pPr lvl="2"/>
            <a:r>
              <a:rPr lang="en-US" smtClean="0"/>
              <a:t>Derde niveau</a:t>
            </a:r>
          </a:p>
          <a:p>
            <a:pPr lvl="3"/>
            <a:r>
              <a:rPr lang="en-US" smtClean="0"/>
              <a:t>Vierde niveau</a:t>
            </a:r>
          </a:p>
          <a:p>
            <a:pPr lvl="4"/>
            <a:r>
              <a:rPr lang="en-US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4A425-C8DA-434A-B396-B75475DED7A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6420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 userDrawn="1"/>
        </p:nvSpPr>
        <p:spPr bwMode="auto">
          <a:xfrm>
            <a:off x="167270" y="4919231"/>
            <a:ext cx="314653" cy="272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0499" tIns="34289" rIns="40499" bIns="34289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9pPr>
          </a:lstStyle>
          <a:p>
            <a:pPr eaLnBrk="0" hangingPunct="0"/>
            <a:fld id="{B24BF7A8-4BD2-7B40-B5B8-00B463BD4D54}" type="slidenum">
              <a:rPr lang="nl-NL" sz="527" b="0">
                <a:solidFill>
                  <a:srgbClr val="1F5158"/>
                </a:solidFill>
                <a:latin typeface="Open Sans" charset="0"/>
                <a:ea typeface="Open Sans" charset="0"/>
                <a:cs typeface="Open Sans" charset="0"/>
                <a:sym typeface="Calibri" panose="020F0502020204030204" pitchFamily="34" charset="0"/>
              </a:rPr>
              <a:pPr eaLnBrk="0" hangingPunct="0"/>
              <a:t>‹nr.›</a:t>
            </a:fld>
            <a:endParaRPr lang="nl-NL" sz="527" b="0" dirty="0">
              <a:solidFill>
                <a:srgbClr val="1F5158"/>
              </a:solidFill>
              <a:latin typeface="Open Sans" charset="0"/>
              <a:ea typeface="Open Sans" charset="0"/>
              <a:cs typeface="Open Sans" charset="0"/>
              <a:sym typeface="Calibri" panose="020F0502020204030204" pitchFamily="34" charset="0"/>
            </a:endParaRPr>
          </a:p>
        </p:txBody>
      </p:sp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89" y="711074"/>
            <a:ext cx="4224400" cy="4098727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5187" y="4660263"/>
            <a:ext cx="490703" cy="409529"/>
          </a:xfrm>
          <a:prstGeom prst="rect">
            <a:avLst/>
          </a:prstGeom>
          <a:effectLst>
            <a:outerShdw blurRad="76200" dist="12700" dir="2700000" sx="101000" sy="101000" algn="tl" rotWithShape="0">
              <a:prstClr val="black">
                <a:alpha val="1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09845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angepaste indel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89" y="711074"/>
            <a:ext cx="4224400" cy="409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645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89" y="711074"/>
            <a:ext cx="4224400" cy="409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859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angepaste indel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89" y="711074"/>
            <a:ext cx="4224400" cy="409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966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 txBox="1">
            <a:spLocks/>
          </p:cNvSpPr>
          <p:nvPr userDrawn="1"/>
        </p:nvSpPr>
        <p:spPr>
          <a:xfrm>
            <a:off x="537565" y="281014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endParaRPr lang="nl-NL" sz="2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0853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 txBox="1">
            <a:spLocks/>
          </p:cNvSpPr>
          <p:nvPr userDrawn="1"/>
        </p:nvSpPr>
        <p:spPr>
          <a:xfrm>
            <a:off x="457201" y="200647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endParaRPr lang="nl-NL" sz="24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89" y="711074"/>
            <a:ext cx="4224400" cy="4098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5785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/>
          <p:cNvSpPr/>
          <p:nvPr userDrawn="1"/>
        </p:nvSpPr>
        <p:spPr>
          <a:xfrm>
            <a:off x="1" y="1"/>
            <a:ext cx="9143999" cy="792385"/>
          </a:xfrm>
          <a:prstGeom prst="rect">
            <a:avLst/>
          </a:prstGeom>
          <a:solidFill>
            <a:srgbClr val="1F51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sz="165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nl-NL" smtClean="0"/>
              <a:t>Titelstijl van model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180036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6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3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59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46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33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19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06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93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Klik om de tekst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457201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0DE59D37-02D1-8647-A894-3144D43AA912}" type="datetime1">
              <a:rPr lang="nl-NL" sz="1160" smtClean="0">
                <a:solidFill>
                  <a:srgbClr val="000000"/>
                </a:solidFill>
                <a:latin typeface="Calibri" panose="020F0502020204030204" pitchFamily="34" charset="0"/>
                <a:ea typeface="ヒラギノ角ゴ ProN W3" charset="-128"/>
                <a:sym typeface="Calibri" panose="020F050202020403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-12-2015</a:t>
            </a:fld>
            <a:endParaRPr lang="nl-NL" sz="1160">
              <a:solidFill>
                <a:srgbClr val="000000"/>
              </a:solidFill>
              <a:latin typeface="Calibri" panose="020F0502020204030204" pitchFamily="34" charset="0"/>
              <a:ea typeface="ヒラギノ角ゴ ProN W3" charset="-128"/>
              <a:sym typeface="Calibri" panose="020F0502020204030204" pitchFamily="34" charset="0"/>
            </a:endParaRPr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457201" y="200647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endParaRPr lang="nl-NL" sz="24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8" name="Afbeelding 7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cxnSp>
        <p:nvCxnSpPr>
          <p:cNvPr id="13" name="Rechte verbindingslijn 12"/>
          <p:cNvCxnSpPr/>
          <p:nvPr userDrawn="1"/>
        </p:nvCxnSpPr>
        <p:spPr>
          <a:xfrm flipV="1">
            <a:off x="243214" y="4432425"/>
            <a:ext cx="8695544" cy="37973"/>
          </a:xfrm>
          <a:prstGeom prst="line">
            <a:avLst/>
          </a:prstGeom>
          <a:ln w="3175" cmpd="sng">
            <a:solidFill>
              <a:srgbClr val="1F51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4702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03995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 userDrawn="1"/>
        </p:nvSpPr>
        <p:spPr>
          <a:xfrm>
            <a:off x="1" y="1"/>
            <a:ext cx="9143999" cy="792385"/>
          </a:xfrm>
          <a:prstGeom prst="rect">
            <a:avLst/>
          </a:prstGeom>
          <a:solidFill>
            <a:srgbClr val="1F51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sz="165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09600" y="1200151"/>
            <a:ext cx="540385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65850" y="1200151"/>
            <a:ext cx="540385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l-NL" smtClean="0"/>
              <a:t>Klik om de tekststijl van het model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1" name="Titel 1"/>
          <p:cNvSpPr txBox="1">
            <a:spLocks/>
          </p:cNvSpPr>
          <p:nvPr userDrawn="1"/>
        </p:nvSpPr>
        <p:spPr>
          <a:xfrm>
            <a:off x="457201" y="200647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endParaRPr lang="nl-NL" sz="24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7" name="Afbeelding 6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cxnSp>
        <p:nvCxnSpPr>
          <p:cNvPr id="9" name="Rechte verbindingslijn 8"/>
          <p:cNvCxnSpPr/>
          <p:nvPr userDrawn="1"/>
        </p:nvCxnSpPr>
        <p:spPr>
          <a:xfrm flipV="1">
            <a:off x="243214" y="4432425"/>
            <a:ext cx="8695544" cy="37973"/>
          </a:xfrm>
          <a:prstGeom prst="line">
            <a:avLst/>
          </a:prstGeom>
          <a:ln w="3175" cmpd="sng">
            <a:solidFill>
              <a:srgbClr val="1F51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075" y="205941"/>
            <a:ext cx="8229851" cy="857250"/>
          </a:xfrm>
          <a:prstGeom prst="rect">
            <a:avLst/>
          </a:prstGeom>
        </p:spPr>
        <p:txBody>
          <a:bodyPr vert="horz"/>
          <a:lstStyle>
            <a:lvl1pPr algn="l">
              <a:defRPr sz="2531">
                <a:solidFill>
                  <a:srgbClr val="FFFFFF"/>
                </a:solidFill>
              </a:defRPr>
            </a:lvl1pPr>
          </a:lstStyle>
          <a:p>
            <a:r>
              <a:rPr lang="nl-NL" dirty="0" smtClean="0"/>
              <a:t>Titelstijl van model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851707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866" indent="0">
              <a:buNone/>
              <a:defRPr sz="1500" b="1"/>
            </a:lvl2pPr>
            <a:lvl3pPr marL="685733" indent="0">
              <a:buNone/>
              <a:defRPr sz="1350" b="1"/>
            </a:lvl3pPr>
            <a:lvl4pPr marL="1028599" indent="0">
              <a:buNone/>
              <a:defRPr sz="1200" b="1"/>
            </a:lvl4pPr>
            <a:lvl5pPr marL="1371465" indent="0">
              <a:buNone/>
              <a:defRPr sz="1200" b="1"/>
            </a:lvl5pPr>
            <a:lvl6pPr marL="1714331" indent="0">
              <a:buNone/>
              <a:defRPr sz="1200" b="1"/>
            </a:lvl6pPr>
            <a:lvl7pPr marL="2057197" indent="0">
              <a:buNone/>
              <a:defRPr sz="1200" b="1"/>
            </a:lvl7pPr>
            <a:lvl8pPr marL="2400063" indent="0">
              <a:buNone/>
              <a:defRPr sz="1200" b="1"/>
            </a:lvl8pPr>
            <a:lvl9pPr marL="2742930" indent="0">
              <a:buNone/>
              <a:defRPr sz="1200" b="1"/>
            </a:lvl9pPr>
          </a:lstStyle>
          <a:p>
            <a:pPr lvl="0"/>
            <a:r>
              <a:rPr lang="nl-NL" smtClean="0"/>
              <a:t>Klik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 smtClean="0"/>
              <a:t>Klik om de tekststijl van het model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866" indent="0">
              <a:buNone/>
              <a:defRPr sz="1500" b="1"/>
            </a:lvl2pPr>
            <a:lvl3pPr marL="685733" indent="0">
              <a:buNone/>
              <a:defRPr sz="1350" b="1"/>
            </a:lvl3pPr>
            <a:lvl4pPr marL="1028599" indent="0">
              <a:buNone/>
              <a:defRPr sz="1200" b="1"/>
            </a:lvl4pPr>
            <a:lvl5pPr marL="1371465" indent="0">
              <a:buNone/>
              <a:defRPr sz="1200" b="1"/>
            </a:lvl5pPr>
            <a:lvl6pPr marL="1714331" indent="0">
              <a:buNone/>
              <a:defRPr sz="1200" b="1"/>
            </a:lvl6pPr>
            <a:lvl7pPr marL="2057197" indent="0">
              <a:buNone/>
              <a:defRPr sz="1200" b="1"/>
            </a:lvl7pPr>
            <a:lvl8pPr marL="2400063" indent="0">
              <a:buNone/>
              <a:defRPr sz="1200" b="1"/>
            </a:lvl8pPr>
            <a:lvl9pPr marL="2742930" indent="0">
              <a:buNone/>
              <a:defRPr sz="1200" b="1"/>
            </a:lvl9pPr>
          </a:lstStyle>
          <a:p>
            <a:pPr lvl="0"/>
            <a:r>
              <a:rPr lang="nl-NL" smtClean="0"/>
              <a:t>Klik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 smtClean="0"/>
              <a:t>Klik om de tekststijl van het model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1" name="Titel 1"/>
          <p:cNvSpPr txBox="1">
            <a:spLocks/>
          </p:cNvSpPr>
          <p:nvPr userDrawn="1"/>
        </p:nvSpPr>
        <p:spPr>
          <a:xfrm>
            <a:off x="457201" y="273845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r>
              <a:rPr lang="nl-NL" sz="2400" dirty="0" smtClean="0">
                <a:solidFill>
                  <a:srgbClr val="FFFFFF"/>
                </a:solidFill>
                <a:sym typeface="Calibri" panose="020F0502020204030204" pitchFamily="34" charset="0"/>
              </a:rPr>
              <a:t>Klik om de stijl te bewerken</a:t>
            </a:r>
            <a:endParaRPr lang="nl-NL" sz="24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7" name="Afbeelding 6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cxnSp>
        <p:nvCxnSpPr>
          <p:cNvPr id="8" name="Rechte verbindingslijn 7"/>
          <p:cNvCxnSpPr/>
          <p:nvPr userDrawn="1"/>
        </p:nvCxnSpPr>
        <p:spPr>
          <a:xfrm flipV="1">
            <a:off x="243214" y="4432425"/>
            <a:ext cx="8695544" cy="37973"/>
          </a:xfrm>
          <a:prstGeom prst="line">
            <a:avLst/>
          </a:prstGeom>
          <a:ln w="3175" cmpd="sng">
            <a:solidFill>
              <a:srgbClr val="1F51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88258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 userDrawn="1"/>
        </p:nvSpPr>
        <p:spPr>
          <a:xfrm>
            <a:off x="457201" y="273845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r>
              <a:rPr lang="nl-NL" sz="2400" dirty="0" smtClean="0">
                <a:solidFill>
                  <a:prstClr val="black"/>
                </a:solidFill>
                <a:sym typeface="Calibri" panose="020F0502020204030204" pitchFamily="34" charset="0"/>
              </a:rPr>
              <a:t>Klik om de stijl te bewerken</a:t>
            </a:r>
            <a:endParaRPr lang="nl-NL" sz="2400" dirty="0">
              <a:solidFill>
                <a:prstClr val="black"/>
              </a:solidFill>
              <a:sym typeface="Calibri" panose="020F0502020204030204" pitchFamily="34" charset="0"/>
            </a:endParaRPr>
          </a:p>
        </p:txBody>
      </p:sp>
      <p:pic>
        <p:nvPicPr>
          <p:cNvPr id="3" name="Afbeelding 2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cxnSp>
        <p:nvCxnSpPr>
          <p:cNvPr id="4" name="Rechte verbindingslijn 3"/>
          <p:cNvCxnSpPr/>
          <p:nvPr userDrawn="1"/>
        </p:nvCxnSpPr>
        <p:spPr>
          <a:xfrm flipV="1">
            <a:off x="243214" y="4432425"/>
            <a:ext cx="8695544" cy="37973"/>
          </a:xfrm>
          <a:prstGeom prst="line">
            <a:avLst/>
          </a:prstGeom>
          <a:ln w="3175" cmpd="sng">
            <a:solidFill>
              <a:srgbClr val="1F51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08348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 txBox="1">
            <a:spLocks/>
          </p:cNvSpPr>
          <p:nvPr userDrawn="1"/>
        </p:nvSpPr>
        <p:spPr>
          <a:xfrm>
            <a:off x="457201" y="273845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r>
              <a:rPr lang="nl-NL" sz="2400" dirty="0" smtClean="0">
                <a:solidFill>
                  <a:prstClr val="black"/>
                </a:solidFill>
                <a:sym typeface="Calibri" panose="020F0502020204030204" pitchFamily="34" charset="0"/>
              </a:rPr>
              <a:t>Klik om de stijl te bewerken</a:t>
            </a:r>
            <a:endParaRPr lang="nl-NL" sz="2400" dirty="0">
              <a:solidFill>
                <a:prstClr val="black"/>
              </a:solidFill>
              <a:sym typeface="Calibri" panose="020F0502020204030204" pitchFamily="34" charset="0"/>
            </a:endParaRPr>
          </a:p>
        </p:txBody>
      </p:sp>
      <p:pic>
        <p:nvPicPr>
          <p:cNvPr id="3" name="Afbeelding 2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cxnSp>
        <p:nvCxnSpPr>
          <p:cNvPr id="4" name="Rechte verbindingslijn 3"/>
          <p:cNvCxnSpPr/>
          <p:nvPr userDrawn="1"/>
        </p:nvCxnSpPr>
        <p:spPr>
          <a:xfrm flipV="1">
            <a:off x="243214" y="4432425"/>
            <a:ext cx="8695544" cy="37973"/>
          </a:xfrm>
          <a:prstGeom prst="line">
            <a:avLst/>
          </a:prstGeom>
          <a:ln w="3175" cmpd="sng">
            <a:solidFill>
              <a:srgbClr val="1F51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82772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1" y="1219875"/>
            <a:ext cx="5111750" cy="337474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3" indent="0">
              <a:buNone/>
              <a:defRPr sz="750"/>
            </a:lvl3pPr>
            <a:lvl4pPr marL="1028599" indent="0">
              <a:buNone/>
              <a:defRPr sz="675"/>
            </a:lvl4pPr>
            <a:lvl5pPr marL="1371465" indent="0">
              <a:buNone/>
              <a:defRPr sz="675"/>
            </a:lvl5pPr>
            <a:lvl6pPr marL="1714331" indent="0">
              <a:buNone/>
              <a:defRPr sz="675"/>
            </a:lvl6pPr>
            <a:lvl7pPr marL="2057197" indent="0">
              <a:buNone/>
              <a:defRPr sz="675"/>
            </a:lvl7pPr>
            <a:lvl8pPr marL="2400063" indent="0">
              <a:buNone/>
              <a:defRPr sz="675"/>
            </a:lvl8pPr>
            <a:lvl9pPr marL="2742930" indent="0">
              <a:buNone/>
              <a:defRPr sz="675"/>
            </a:lvl9pPr>
          </a:lstStyle>
          <a:p>
            <a:pPr lvl="0"/>
            <a:r>
              <a:rPr lang="nl-NL" smtClean="0"/>
              <a:t>Klik om de tekststijl van het model te bewerken</a:t>
            </a:r>
          </a:p>
        </p:txBody>
      </p:sp>
      <p:sp>
        <p:nvSpPr>
          <p:cNvPr id="9" name="Titel 1"/>
          <p:cNvSpPr txBox="1">
            <a:spLocks/>
          </p:cNvSpPr>
          <p:nvPr userDrawn="1"/>
        </p:nvSpPr>
        <p:spPr>
          <a:xfrm>
            <a:off x="457201" y="273845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r>
              <a:rPr lang="nl-NL" sz="2400" dirty="0" smtClean="0">
                <a:solidFill>
                  <a:prstClr val="black"/>
                </a:solidFill>
                <a:sym typeface="Calibri" panose="020F0502020204030204" pitchFamily="34" charset="0"/>
              </a:rPr>
              <a:t>Klik om de stijl te bewerken</a:t>
            </a:r>
            <a:endParaRPr lang="nl-NL" sz="2400" dirty="0">
              <a:solidFill>
                <a:prstClr val="black"/>
              </a:solidFill>
              <a:sym typeface="Calibri" panose="020F0502020204030204" pitchFamily="34" charset="0"/>
            </a:endParaRPr>
          </a:p>
        </p:txBody>
      </p:sp>
      <p:pic>
        <p:nvPicPr>
          <p:cNvPr id="5" name="Afbeelding 4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cxnSp>
        <p:nvCxnSpPr>
          <p:cNvPr id="6" name="Rechte verbindingslijn 5"/>
          <p:cNvCxnSpPr/>
          <p:nvPr userDrawn="1"/>
        </p:nvCxnSpPr>
        <p:spPr>
          <a:xfrm flipV="1">
            <a:off x="243214" y="4432425"/>
            <a:ext cx="8695544" cy="37973"/>
          </a:xfrm>
          <a:prstGeom prst="line">
            <a:avLst/>
          </a:prstGeom>
          <a:ln w="3175" cmpd="sng">
            <a:solidFill>
              <a:srgbClr val="1F51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46055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3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nl-NL" smtClean="0"/>
              <a:t>Titelstijl van model bewerken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866" indent="0">
              <a:buNone/>
              <a:defRPr sz="2100"/>
            </a:lvl2pPr>
            <a:lvl3pPr marL="685733" indent="0">
              <a:buNone/>
              <a:defRPr sz="1800"/>
            </a:lvl3pPr>
            <a:lvl4pPr marL="1028599" indent="0">
              <a:buNone/>
              <a:defRPr sz="1500"/>
            </a:lvl4pPr>
            <a:lvl5pPr marL="1371465" indent="0">
              <a:buNone/>
              <a:defRPr sz="1500"/>
            </a:lvl5pPr>
            <a:lvl6pPr marL="1714331" indent="0">
              <a:buNone/>
              <a:defRPr sz="1500"/>
            </a:lvl6pPr>
            <a:lvl7pPr marL="2057197" indent="0">
              <a:buNone/>
              <a:defRPr sz="1500"/>
            </a:lvl7pPr>
            <a:lvl8pPr marL="2400063" indent="0">
              <a:buNone/>
              <a:defRPr sz="1500"/>
            </a:lvl8pPr>
            <a:lvl9pPr marL="2742930" indent="0">
              <a:buNone/>
              <a:defRPr sz="15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866" indent="0">
              <a:buNone/>
              <a:defRPr sz="900"/>
            </a:lvl2pPr>
            <a:lvl3pPr marL="685733" indent="0">
              <a:buNone/>
              <a:defRPr sz="750"/>
            </a:lvl3pPr>
            <a:lvl4pPr marL="1028599" indent="0">
              <a:buNone/>
              <a:defRPr sz="675"/>
            </a:lvl4pPr>
            <a:lvl5pPr marL="1371465" indent="0">
              <a:buNone/>
              <a:defRPr sz="675"/>
            </a:lvl5pPr>
            <a:lvl6pPr marL="1714331" indent="0">
              <a:buNone/>
              <a:defRPr sz="675"/>
            </a:lvl6pPr>
            <a:lvl7pPr marL="2057197" indent="0">
              <a:buNone/>
              <a:defRPr sz="675"/>
            </a:lvl7pPr>
            <a:lvl8pPr marL="2400063" indent="0">
              <a:buNone/>
              <a:defRPr sz="675"/>
            </a:lvl8pPr>
            <a:lvl9pPr marL="2742930" indent="0">
              <a:buNone/>
              <a:defRPr sz="675"/>
            </a:lvl9pPr>
          </a:lstStyle>
          <a:p>
            <a:pPr lvl="0"/>
            <a:r>
              <a:rPr lang="nl-NL" smtClean="0"/>
              <a:t>Klik om de tekststijl van het model te bewerken</a:t>
            </a:r>
          </a:p>
        </p:txBody>
      </p:sp>
      <p:sp>
        <p:nvSpPr>
          <p:cNvPr id="8" name="Titel 1"/>
          <p:cNvSpPr txBox="1">
            <a:spLocks/>
          </p:cNvSpPr>
          <p:nvPr userDrawn="1"/>
        </p:nvSpPr>
        <p:spPr>
          <a:xfrm>
            <a:off x="457201" y="273845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r>
              <a:rPr lang="nl-NL" sz="2400" dirty="0" smtClean="0">
                <a:solidFill>
                  <a:prstClr val="black"/>
                </a:solidFill>
                <a:sym typeface="Calibri" panose="020F0502020204030204" pitchFamily="34" charset="0"/>
              </a:rPr>
              <a:t>Klik om de stijl te bewerken</a:t>
            </a:r>
            <a:endParaRPr lang="nl-NL" sz="2400" dirty="0">
              <a:solidFill>
                <a:prstClr val="black"/>
              </a:solidFill>
              <a:sym typeface="Calibri" panose="020F0502020204030204" pitchFamily="34" charset="0"/>
            </a:endParaRPr>
          </a:p>
        </p:txBody>
      </p:sp>
      <p:pic>
        <p:nvPicPr>
          <p:cNvPr id="6" name="Afbeelding 5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cxnSp>
        <p:nvCxnSpPr>
          <p:cNvPr id="7" name="Rechte verbindingslijn 6"/>
          <p:cNvCxnSpPr/>
          <p:nvPr userDrawn="1"/>
        </p:nvCxnSpPr>
        <p:spPr>
          <a:xfrm flipV="1">
            <a:off x="243214" y="4432425"/>
            <a:ext cx="8695544" cy="37973"/>
          </a:xfrm>
          <a:prstGeom prst="line">
            <a:avLst/>
          </a:prstGeom>
          <a:ln w="3175" cmpd="sng">
            <a:solidFill>
              <a:srgbClr val="1F51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37560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8" name="Titel 1"/>
          <p:cNvSpPr txBox="1">
            <a:spLocks/>
          </p:cNvSpPr>
          <p:nvPr userDrawn="1"/>
        </p:nvSpPr>
        <p:spPr>
          <a:xfrm>
            <a:off x="457201" y="273845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r>
              <a:rPr lang="nl-NL" sz="2400" dirty="0" smtClean="0">
                <a:solidFill>
                  <a:prstClr val="black"/>
                </a:solidFill>
                <a:sym typeface="Calibri" panose="020F0502020204030204" pitchFamily="34" charset="0"/>
              </a:rPr>
              <a:t>Klik om de stijl te bewerken</a:t>
            </a:r>
            <a:endParaRPr lang="nl-NL" sz="2400" dirty="0">
              <a:solidFill>
                <a:prstClr val="black"/>
              </a:solidFill>
              <a:sym typeface="Calibri" panose="020F0502020204030204" pitchFamily="34" charset="0"/>
            </a:endParaRPr>
          </a:p>
        </p:txBody>
      </p:sp>
      <p:pic>
        <p:nvPicPr>
          <p:cNvPr id="4" name="Afbeelding 3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cxnSp>
        <p:nvCxnSpPr>
          <p:cNvPr id="5" name="Rechte verbindingslijn 4"/>
          <p:cNvCxnSpPr/>
          <p:nvPr userDrawn="1"/>
        </p:nvCxnSpPr>
        <p:spPr>
          <a:xfrm flipV="1">
            <a:off x="243214" y="4432425"/>
            <a:ext cx="8695544" cy="37973"/>
          </a:xfrm>
          <a:prstGeom prst="line">
            <a:avLst/>
          </a:prstGeom>
          <a:ln w="3175" cmpd="sng">
            <a:solidFill>
              <a:srgbClr val="1F51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14757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829676" y="205980"/>
            <a:ext cx="2740025" cy="4388644"/>
          </a:xfrm>
          <a:prstGeom prst="rect">
            <a:avLst/>
          </a:prstGeom>
        </p:spPr>
        <p:txBody>
          <a:bodyPr vert="eaVert"/>
          <a:lstStyle/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609601" y="1087395"/>
            <a:ext cx="8067675" cy="350722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8" name="Titel 1"/>
          <p:cNvSpPr txBox="1">
            <a:spLocks/>
          </p:cNvSpPr>
          <p:nvPr userDrawn="1"/>
        </p:nvSpPr>
        <p:spPr>
          <a:xfrm>
            <a:off x="457201" y="273845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r>
              <a:rPr lang="nl-NL" sz="2400" dirty="0" smtClean="0">
                <a:solidFill>
                  <a:prstClr val="black"/>
                </a:solidFill>
                <a:sym typeface="Calibri" panose="020F0502020204030204" pitchFamily="34" charset="0"/>
              </a:rPr>
              <a:t>Klik om de stijl te bewerken</a:t>
            </a:r>
            <a:endParaRPr lang="nl-NL" sz="2400" dirty="0">
              <a:solidFill>
                <a:prstClr val="black"/>
              </a:solidFill>
              <a:sym typeface="Calibri" panose="020F0502020204030204" pitchFamily="34" charset="0"/>
            </a:endParaRPr>
          </a:p>
        </p:txBody>
      </p:sp>
      <p:pic>
        <p:nvPicPr>
          <p:cNvPr id="5" name="Afbeelding 4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cxnSp>
        <p:nvCxnSpPr>
          <p:cNvPr id="6" name="Rechte verbindingslijn 5"/>
          <p:cNvCxnSpPr/>
          <p:nvPr userDrawn="1"/>
        </p:nvCxnSpPr>
        <p:spPr>
          <a:xfrm flipV="1">
            <a:off x="243214" y="4432425"/>
            <a:ext cx="8695544" cy="37973"/>
          </a:xfrm>
          <a:prstGeom prst="line">
            <a:avLst/>
          </a:prstGeom>
          <a:ln w="3175" cmpd="sng">
            <a:solidFill>
              <a:srgbClr val="1F51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0473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.2 Standaard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1038375" y="1200153"/>
            <a:ext cx="6956793" cy="3205963"/>
          </a:xfrm>
          <a:prstGeom prst="rect">
            <a:avLst/>
          </a:prstGeom>
        </p:spPr>
        <p:txBody>
          <a:bodyPr/>
          <a:lstStyle>
            <a:lvl1pPr marL="150676" indent="-150676">
              <a:buSzPct val="100000"/>
              <a:buBlip>
                <a:blip r:embed="rId2"/>
              </a:buBlip>
              <a:defRPr>
                <a:latin typeface="Helvetica Light"/>
              </a:defRPr>
            </a:lvl1pPr>
            <a:lvl2pPr marL="557365" indent="-214372">
              <a:buFont typeface="Arial"/>
              <a:buBlip>
                <a:blip r:embed="rId2"/>
              </a:buBlip>
              <a:defRPr/>
            </a:lvl2pPr>
            <a:lvl3pPr>
              <a:defRPr/>
            </a:lvl3pPr>
            <a:lvl4pPr>
              <a:defRPr/>
            </a:lvl4pPr>
          </a:lstStyle>
          <a:p>
            <a:pPr marL="285750" indent="-285750">
              <a:buSzPct val="100000"/>
              <a:buBlip>
                <a:blip r:embed="rId2"/>
              </a:buBlip>
            </a:pPr>
            <a:r>
              <a:rPr lang="nl-NL" sz="1213" dirty="0" smtClean="0">
                <a:latin typeface="Helvetica Neue Medium"/>
                <a:cs typeface="Helvetica Neue Medium"/>
              </a:rPr>
              <a:t>Microsoft Office PowerPoint is een computerprogramma van Microsoft dat deel uitmaakt van Microsoft Office 18/24</a:t>
            </a:r>
          </a:p>
          <a:p>
            <a:endParaRPr lang="nl-NL" sz="1213" dirty="0" smtClean="0">
              <a:latin typeface="Helvetica Neue Medium"/>
              <a:cs typeface="Helvetica Neue Medium"/>
            </a:endParaRPr>
          </a:p>
          <a:p>
            <a:pPr marL="285750" indent="-285750">
              <a:buSzPct val="100000"/>
              <a:buBlip>
                <a:blip r:embed="rId2"/>
              </a:buBlip>
            </a:pPr>
            <a:r>
              <a:rPr lang="nl-NL" sz="1213" dirty="0" smtClean="0">
                <a:latin typeface="Helvetica Neue Medium"/>
                <a:cs typeface="Helvetica Neue Medium"/>
              </a:rPr>
              <a:t>Het is een pakket waarmee vooral gemakkelijk presentaties gemaakt kunnen worden die bestaan uit meerdere plaatjes</a:t>
            </a:r>
          </a:p>
          <a:p>
            <a:pPr marL="557365" lvl="1" indent="-214372">
              <a:buFont typeface="Arial"/>
              <a:buChar char="•"/>
            </a:pPr>
            <a:endParaRPr lang="nl-NL" sz="1213" dirty="0" smtClean="0">
              <a:latin typeface="Helvetica Neue Medium"/>
              <a:cs typeface="Helvetica Neue Medium"/>
            </a:endParaRPr>
          </a:p>
          <a:p>
            <a:pPr marL="557365" lvl="1" indent="-214372">
              <a:buBlip>
                <a:blip r:embed="rId2"/>
              </a:buBlip>
            </a:pPr>
            <a:r>
              <a:rPr lang="nl-NL" sz="1213" dirty="0" smtClean="0">
                <a:latin typeface="Helvetica Neue Medium"/>
                <a:cs typeface="Helvetica Neue Medium"/>
              </a:rPr>
              <a:t>Toepassen van </a:t>
            </a:r>
            <a:r>
              <a:rPr lang="nl-NL" sz="1213" dirty="0" err="1" smtClean="0">
                <a:latin typeface="Helvetica Neue Medium"/>
                <a:cs typeface="Helvetica Neue Medium"/>
              </a:rPr>
              <a:t>bullits</a:t>
            </a:r>
            <a:endParaRPr lang="nl-NL" sz="1213" dirty="0" smtClean="0">
              <a:latin typeface="Helvetica Neue Medium"/>
              <a:cs typeface="Helvetica Neue Medium"/>
            </a:endParaRPr>
          </a:p>
          <a:p>
            <a:pPr marL="900359" lvl="2" indent="-214372">
              <a:buSzPct val="100000"/>
              <a:buBlip>
                <a:blip r:embed="rId2"/>
              </a:buBlip>
            </a:pPr>
            <a:r>
              <a:rPr lang="nl-NL" sz="1055" dirty="0" smtClean="0">
                <a:latin typeface="Helvetica Neue Medium"/>
                <a:cs typeface="Helvetica Neue Medium"/>
              </a:rPr>
              <a:t>Toepassen van </a:t>
            </a:r>
            <a:r>
              <a:rPr lang="nl-NL" sz="1055" dirty="0" err="1" smtClean="0">
                <a:latin typeface="Helvetica Neue Medium"/>
                <a:cs typeface="Helvetica Neue Medium"/>
              </a:rPr>
              <a:t>bullits</a:t>
            </a:r>
            <a:endParaRPr lang="nl-NL" sz="1055" dirty="0" smtClean="0">
              <a:latin typeface="Helvetica Neue Medium"/>
              <a:cs typeface="Helvetica Neue Medium"/>
            </a:endParaRPr>
          </a:p>
          <a:p>
            <a:pPr marL="1243354" lvl="3" indent="-214372">
              <a:buSzPct val="100000"/>
              <a:buBlip>
                <a:blip r:embed="rId2"/>
              </a:buBlip>
            </a:pPr>
            <a:r>
              <a:rPr lang="nl-NL" sz="896" dirty="0" smtClean="0">
                <a:latin typeface="Helvetica Neue Medium"/>
                <a:cs typeface="Helvetica Neue Medium"/>
              </a:rPr>
              <a:t>Toepassen van </a:t>
            </a:r>
            <a:r>
              <a:rPr lang="nl-NL" sz="896" dirty="0" err="1" smtClean="0">
                <a:latin typeface="Helvetica Neue Medium"/>
                <a:cs typeface="Helvetica Neue Medium"/>
              </a:rPr>
              <a:t>bullits</a:t>
            </a:r>
            <a:endParaRPr lang="nl-NL" sz="896" dirty="0" smtClean="0">
              <a:latin typeface="Helvetica Neue Medium"/>
              <a:cs typeface="Helvetica Neue Medium"/>
            </a:endParaRPr>
          </a:p>
        </p:txBody>
      </p:sp>
      <p:pic>
        <p:nvPicPr>
          <p:cNvPr id="3" name="Afbeelding 2" descr="Logo_DigitalAgencyGroup.jp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6806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angepaste indeling">
    <p:bg>
      <p:bgPr>
        <a:solidFill>
          <a:srgbClr val="1F51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52900" y="2419858"/>
            <a:ext cx="1292533" cy="308074"/>
          </a:xfrm>
          <a:prstGeom prst="rect">
            <a:avLst/>
          </a:prstGeom>
        </p:spPr>
      </p:pic>
      <p:pic>
        <p:nvPicPr>
          <p:cNvPr id="6" name="Afbeelding 5" descr="Logo_DigitalAgencyGrou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09470" y="-147879"/>
            <a:ext cx="1518919" cy="2097636"/>
          </a:xfrm>
          <a:prstGeom prst="rect">
            <a:avLst/>
          </a:prstGeom>
        </p:spPr>
      </p:pic>
      <p:pic>
        <p:nvPicPr>
          <p:cNvPr id="8" name="Afbeelding 7" descr="Digital Agency Group_amsterdam2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00247"/>
            <a:ext cx="9144000" cy="2543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4918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84663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Aangepaste indeling">
    <p:bg>
      <p:bgPr>
        <a:solidFill>
          <a:srgbClr val="1F51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4"/>
          <p:cNvSpPr>
            <a:spLocks noGrp="1"/>
          </p:cNvSpPr>
          <p:nvPr>
            <p:ph sz="quarter" idx="10"/>
          </p:nvPr>
        </p:nvSpPr>
        <p:spPr>
          <a:xfrm>
            <a:off x="1192914" y="1052831"/>
            <a:ext cx="6644662" cy="35314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9">
                <a:solidFill>
                  <a:srgbClr val="FFFFFF"/>
                </a:solidFill>
              </a:defRPr>
            </a:lvl1pPr>
            <a:lvl2pPr>
              <a:defRPr sz="1687">
                <a:solidFill>
                  <a:srgbClr val="FFFFFF"/>
                </a:solidFill>
              </a:defRPr>
            </a:lvl2pPr>
            <a:lvl3pPr>
              <a:defRPr sz="1476">
                <a:solidFill>
                  <a:srgbClr val="FFFFFF"/>
                </a:solidFill>
              </a:defRPr>
            </a:lvl3pPr>
            <a:lvl4pPr>
              <a:defRPr sz="1266">
                <a:solidFill>
                  <a:srgbClr val="FFFFFF"/>
                </a:solidFill>
              </a:defRPr>
            </a:lvl4pPr>
            <a:lvl5pPr>
              <a:defRPr sz="1266">
                <a:solidFill>
                  <a:srgbClr val="FFFFFF"/>
                </a:solidFill>
              </a:defRPr>
            </a:lvl5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57075" y="205941"/>
            <a:ext cx="8229851" cy="857250"/>
          </a:xfrm>
          <a:prstGeom prst="rect">
            <a:avLst/>
          </a:prstGeom>
        </p:spPr>
        <p:txBody>
          <a:bodyPr vert="horz"/>
          <a:lstStyle>
            <a:lvl1pPr algn="l">
              <a:defRPr sz="2531">
                <a:solidFill>
                  <a:srgbClr val="FFFFFF"/>
                </a:solidFill>
              </a:defRPr>
            </a:lvl1pPr>
          </a:lstStyle>
          <a:p>
            <a:r>
              <a:rPr lang="nl-NL" dirty="0" smtClean="0"/>
              <a:t>Titelstijl van model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23542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Aangepaste indel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/>
          <p:cNvSpPr/>
          <p:nvPr userDrawn="1"/>
        </p:nvSpPr>
        <p:spPr>
          <a:xfrm>
            <a:off x="1" y="-10412"/>
            <a:ext cx="9143999" cy="792385"/>
          </a:xfrm>
          <a:prstGeom prst="rect">
            <a:avLst/>
          </a:prstGeom>
          <a:solidFill>
            <a:srgbClr val="1F51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sz="165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4" name="Titel 1"/>
          <p:cNvSpPr txBox="1">
            <a:spLocks/>
          </p:cNvSpPr>
          <p:nvPr userDrawn="1"/>
        </p:nvSpPr>
        <p:spPr>
          <a:xfrm>
            <a:off x="457201" y="200647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endParaRPr lang="nl-NL" sz="2400" dirty="0">
              <a:solidFill>
                <a:prstClr val="black"/>
              </a:solidFill>
              <a:sym typeface="Calibri" panose="020F0502020204030204" pitchFamily="34" charset="0"/>
            </a:endParaRPr>
          </a:p>
        </p:txBody>
      </p:sp>
      <p:sp>
        <p:nvSpPr>
          <p:cNvPr id="5" name="Titel 1"/>
          <p:cNvSpPr txBox="1">
            <a:spLocks/>
          </p:cNvSpPr>
          <p:nvPr userDrawn="1"/>
        </p:nvSpPr>
        <p:spPr>
          <a:xfrm>
            <a:off x="537565" y="281014"/>
            <a:ext cx="7887773" cy="99417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endParaRPr lang="nl-NL" sz="2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6" name="Afbeelding 5" descr="Logo_DigitalAgencyGroup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7" r="21168"/>
          <a:stretch/>
        </p:blipFill>
        <p:spPr>
          <a:xfrm rot="5400000">
            <a:off x="8045859" y="4038054"/>
            <a:ext cx="643349" cy="158836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3104" y="157608"/>
            <a:ext cx="8229851" cy="857250"/>
          </a:xfrm>
          <a:prstGeom prst="rect">
            <a:avLst/>
          </a:prstGeom>
        </p:spPr>
        <p:txBody>
          <a:bodyPr vert="horz"/>
          <a:lstStyle>
            <a:lvl1pPr algn="l">
              <a:defRPr sz="2531">
                <a:solidFill>
                  <a:srgbClr val="FFFFFF"/>
                </a:solidFill>
              </a:defRPr>
            </a:lvl1pPr>
          </a:lstStyle>
          <a:p>
            <a:r>
              <a:rPr lang="nl-NL" dirty="0" smtClean="0"/>
              <a:t>Titelstijl van model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37279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Klik om de titelstijl van het model te bewerken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B8F11B45-D8B4-7043-BCD5-175F85A121AF}" type="datetime1">
              <a:rPr lang="en-US" sz="1160" smtClean="0">
                <a:solidFill>
                  <a:srgbClr val="000000"/>
                </a:solidFill>
                <a:latin typeface="Calibri" panose="020F0502020204030204" pitchFamily="34" charset="0"/>
                <a:ea typeface="ヒラギノ角ゴ ProN W3" charset="-128"/>
                <a:sym typeface="Calibri" panose="020F050202020403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2/3/2015</a:t>
            </a:fld>
            <a:endParaRPr lang="nl-NL" sz="1160">
              <a:solidFill>
                <a:srgbClr val="000000"/>
              </a:solidFill>
              <a:latin typeface="Calibri" panose="020F0502020204030204" pitchFamily="34" charset="0"/>
              <a:ea typeface="ヒラギノ角ゴ ProN W3" charset="-128"/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 sz="1160" smtClean="0">
                <a:solidFill>
                  <a:srgbClr val="000000"/>
                </a:solidFill>
                <a:latin typeface="Calibri" panose="020F0502020204030204" pitchFamily="34" charset="0"/>
                <a:ea typeface="ヒラギノ角ゴ ProN W3" charset="-128"/>
                <a:sym typeface="Calibri" panose="020F0502020204030204" pitchFamily="34" charset="0"/>
              </a:rPr>
              <a:t>Presentatietitel  |  Clickdistrict.com</a:t>
            </a:r>
            <a:endParaRPr lang="nl-NL" sz="1160">
              <a:solidFill>
                <a:srgbClr val="000000"/>
              </a:solidFill>
              <a:latin typeface="Calibri" panose="020F0502020204030204" pitchFamily="34" charset="0"/>
              <a:ea typeface="ヒラギノ角ゴ ProN W3" charset="-128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6160D8C5-29FE-3D4A-9822-4CF2CCECB6F8}" type="slidenum">
              <a:rPr lang="nl-NL" sz="1160" smtClean="0">
                <a:solidFill>
                  <a:srgbClr val="000000"/>
                </a:solidFill>
                <a:latin typeface="Calibri" panose="020F0502020204030204" pitchFamily="34" charset="0"/>
                <a:ea typeface="ヒラギノ角ゴ ProN W3" charset="-128"/>
                <a:sym typeface="Calibri" panose="020F050202020403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nl-NL" sz="1160">
              <a:solidFill>
                <a:srgbClr val="000000"/>
              </a:solidFill>
              <a:latin typeface="Calibri" panose="020F0502020204030204" pitchFamily="34" charset="0"/>
              <a:ea typeface="ヒラギノ角ゴ ProN W3" charset="-128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7997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Divi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00059A1-0099-4B10-A5CF-27E515FB5E4A}" type="datetime3">
              <a:rPr lang="en-US" smtClean="0"/>
              <a:pPr/>
              <a:t>3 December 2015</a:t>
            </a:fld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  <p:sp>
        <p:nvSpPr>
          <p:cNvPr id="13" name="Freeform 16"/>
          <p:cNvSpPr>
            <a:spLocks noChangeAspect="1" noEditPoints="1"/>
          </p:cNvSpPr>
          <p:nvPr userDrawn="1"/>
        </p:nvSpPr>
        <p:spPr bwMode="auto">
          <a:xfrm>
            <a:off x="5224116" y="3857620"/>
            <a:ext cx="1305429" cy="1285880"/>
          </a:xfrm>
          <a:custGeom>
            <a:avLst/>
            <a:gdLst>
              <a:gd name="T0" fmla="*/ 653 w 908"/>
              <a:gd name="T1" fmla="*/ 675 h 907"/>
              <a:gd name="T2" fmla="*/ 651 w 908"/>
              <a:gd name="T3" fmla="*/ 382 h 907"/>
              <a:gd name="T4" fmla="*/ 644 w 908"/>
              <a:gd name="T5" fmla="*/ 348 h 907"/>
              <a:gd name="T6" fmla="*/ 630 w 908"/>
              <a:gd name="T7" fmla="*/ 320 h 907"/>
              <a:gd name="T8" fmla="*/ 613 w 908"/>
              <a:gd name="T9" fmla="*/ 305 h 907"/>
              <a:gd name="T10" fmla="*/ 595 w 908"/>
              <a:gd name="T11" fmla="*/ 298 h 907"/>
              <a:gd name="T12" fmla="*/ 579 w 908"/>
              <a:gd name="T13" fmla="*/ 296 h 907"/>
              <a:gd name="T14" fmla="*/ 565 w 908"/>
              <a:gd name="T15" fmla="*/ 298 h 907"/>
              <a:gd name="T16" fmla="*/ 546 w 908"/>
              <a:gd name="T17" fmla="*/ 304 h 907"/>
              <a:gd name="T18" fmla="*/ 526 w 908"/>
              <a:gd name="T19" fmla="*/ 320 h 907"/>
              <a:gd name="T20" fmla="*/ 514 w 908"/>
              <a:gd name="T21" fmla="*/ 337 h 907"/>
              <a:gd name="T22" fmla="*/ 507 w 908"/>
              <a:gd name="T23" fmla="*/ 354 h 907"/>
              <a:gd name="T24" fmla="*/ 502 w 908"/>
              <a:gd name="T25" fmla="*/ 375 h 907"/>
              <a:gd name="T26" fmla="*/ 499 w 908"/>
              <a:gd name="T27" fmla="*/ 411 h 907"/>
              <a:gd name="T28" fmla="*/ 410 w 908"/>
              <a:gd name="T29" fmla="*/ 409 h 907"/>
              <a:gd name="T30" fmla="*/ 408 w 908"/>
              <a:gd name="T31" fmla="*/ 374 h 907"/>
              <a:gd name="T32" fmla="*/ 398 w 908"/>
              <a:gd name="T33" fmla="*/ 337 h 907"/>
              <a:gd name="T34" fmla="*/ 382 w 908"/>
              <a:gd name="T35" fmla="*/ 314 h 907"/>
              <a:gd name="T36" fmla="*/ 364 w 908"/>
              <a:gd name="T37" fmla="*/ 302 h 907"/>
              <a:gd name="T38" fmla="*/ 347 w 908"/>
              <a:gd name="T39" fmla="*/ 297 h 907"/>
              <a:gd name="T40" fmla="*/ 333 w 908"/>
              <a:gd name="T41" fmla="*/ 297 h 907"/>
              <a:gd name="T42" fmla="*/ 317 w 908"/>
              <a:gd name="T43" fmla="*/ 299 h 907"/>
              <a:gd name="T44" fmla="*/ 297 w 908"/>
              <a:gd name="T45" fmla="*/ 308 h 907"/>
              <a:gd name="T46" fmla="*/ 278 w 908"/>
              <a:gd name="T47" fmla="*/ 327 h 907"/>
              <a:gd name="T48" fmla="*/ 268 w 908"/>
              <a:gd name="T49" fmla="*/ 348 h 907"/>
              <a:gd name="T50" fmla="*/ 261 w 908"/>
              <a:gd name="T51" fmla="*/ 375 h 907"/>
              <a:gd name="T52" fmla="*/ 258 w 908"/>
              <a:gd name="T53" fmla="*/ 411 h 907"/>
              <a:gd name="T54" fmla="*/ 169 w 908"/>
              <a:gd name="T55" fmla="*/ 230 h 907"/>
              <a:gd name="T56" fmla="*/ 260 w 908"/>
              <a:gd name="T57" fmla="*/ 272 h 907"/>
              <a:gd name="T58" fmla="*/ 277 w 908"/>
              <a:gd name="T59" fmla="*/ 251 h 907"/>
              <a:gd name="T60" fmla="*/ 298 w 908"/>
              <a:gd name="T61" fmla="*/ 237 h 907"/>
              <a:gd name="T62" fmla="*/ 319 w 908"/>
              <a:gd name="T63" fmla="*/ 227 h 907"/>
              <a:gd name="T64" fmla="*/ 348 w 908"/>
              <a:gd name="T65" fmla="*/ 221 h 907"/>
              <a:gd name="T66" fmla="*/ 378 w 908"/>
              <a:gd name="T67" fmla="*/ 222 h 907"/>
              <a:gd name="T68" fmla="*/ 404 w 908"/>
              <a:gd name="T69" fmla="*/ 228 h 907"/>
              <a:gd name="T70" fmla="*/ 427 w 908"/>
              <a:gd name="T71" fmla="*/ 238 h 907"/>
              <a:gd name="T72" fmla="*/ 448 w 908"/>
              <a:gd name="T73" fmla="*/ 254 h 907"/>
              <a:gd name="T74" fmla="*/ 465 w 908"/>
              <a:gd name="T75" fmla="*/ 275 h 907"/>
              <a:gd name="T76" fmla="*/ 481 w 908"/>
              <a:gd name="T77" fmla="*/ 282 h 907"/>
              <a:gd name="T78" fmla="*/ 502 w 908"/>
              <a:gd name="T79" fmla="*/ 257 h 907"/>
              <a:gd name="T80" fmla="*/ 526 w 908"/>
              <a:gd name="T81" fmla="*/ 240 h 907"/>
              <a:gd name="T82" fmla="*/ 552 w 908"/>
              <a:gd name="T83" fmla="*/ 228 h 907"/>
              <a:gd name="T84" fmla="*/ 576 w 908"/>
              <a:gd name="T85" fmla="*/ 222 h 907"/>
              <a:gd name="T86" fmla="*/ 611 w 908"/>
              <a:gd name="T87" fmla="*/ 221 h 907"/>
              <a:gd name="T88" fmla="*/ 649 w 908"/>
              <a:gd name="T89" fmla="*/ 229 h 907"/>
              <a:gd name="T90" fmla="*/ 674 w 908"/>
              <a:gd name="T91" fmla="*/ 240 h 907"/>
              <a:gd name="T92" fmla="*/ 692 w 908"/>
              <a:gd name="T93" fmla="*/ 253 h 907"/>
              <a:gd name="T94" fmla="*/ 707 w 908"/>
              <a:gd name="T95" fmla="*/ 270 h 907"/>
              <a:gd name="T96" fmla="*/ 721 w 908"/>
              <a:gd name="T97" fmla="*/ 290 h 907"/>
              <a:gd name="T98" fmla="*/ 731 w 908"/>
              <a:gd name="T99" fmla="*/ 315 h 907"/>
              <a:gd name="T100" fmla="*/ 739 w 908"/>
              <a:gd name="T101" fmla="*/ 346 h 907"/>
              <a:gd name="T102" fmla="*/ 742 w 908"/>
              <a:gd name="T103" fmla="*/ 381 h 907"/>
              <a:gd name="T104" fmla="*/ 0 w 908"/>
              <a:gd name="T105" fmla="*/ 907 h 907"/>
              <a:gd name="T106" fmla="*/ 908 w 908"/>
              <a:gd name="T107" fmla="*/ 453 h 907"/>
              <a:gd name="T108" fmla="*/ 0 w 908"/>
              <a:gd name="T109" fmla="*/ 0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743" y="408"/>
                </a:moveTo>
                <a:lnTo>
                  <a:pt x="743" y="675"/>
                </a:lnTo>
                <a:lnTo>
                  <a:pt x="653" y="675"/>
                </a:lnTo>
                <a:lnTo>
                  <a:pt x="653" y="409"/>
                </a:lnTo>
                <a:lnTo>
                  <a:pt x="652" y="390"/>
                </a:lnTo>
                <a:lnTo>
                  <a:pt x="651" y="382"/>
                </a:lnTo>
                <a:lnTo>
                  <a:pt x="650" y="374"/>
                </a:lnTo>
                <a:lnTo>
                  <a:pt x="648" y="360"/>
                </a:lnTo>
                <a:lnTo>
                  <a:pt x="644" y="348"/>
                </a:lnTo>
                <a:lnTo>
                  <a:pt x="640" y="337"/>
                </a:lnTo>
                <a:lnTo>
                  <a:pt x="636" y="328"/>
                </a:lnTo>
                <a:lnTo>
                  <a:pt x="630" y="320"/>
                </a:lnTo>
                <a:lnTo>
                  <a:pt x="625" y="314"/>
                </a:lnTo>
                <a:lnTo>
                  <a:pt x="619" y="309"/>
                </a:lnTo>
                <a:lnTo>
                  <a:pt x="613" y="305"/>
                </a:lnTo>
                <a:lnTo>
                  <a:pt x="607" y="302"/>
                </a:lnTo>
                <a:lnTo>
                  <a:pt x="601" y="299"/>
                </a:lnTo>
                <a:lnTo>
                  <a:pt x="595" y="298"/>
                </a:lnTo>
                <a:lnTo>
                  <a:pt x="589" y="297"/>
                </a:lnTo>
                <a:lnTo>
                  <a:pt x="584" y="297"/>
                </a:lnTo>
                <a:lnTo>
                  <a:pt x="579" y="296"/>
                </a:lnTo>
                <a:lnTo>
                  <a:pt x="575" y="297"/>
                </a:lnTo>
                <a:lnTo>
                  <a:pt x="571" y="297"/>
                </a:lnTo>
                <a:lnTo>
                  <a:pt x="565" y="298"/>
                </a:lnTo>
                <a:lnTo>
                  <a:pt x="559" y="299"/>
                </a:lnTo>
                <a:lnTo>
                  <a:pt x="552" y="301"/>
                </a:lnTo>
                <a:lnTo>
                  <a:pt x="546" y="304"/>
                </a:lnTo>
                <a:lnTo>
                  <a:pt x="539" y="308"/>
                </a:lnTo>
                <a:lnTo>
                  <a:pt x="532" y="313"/>
                </a:lnTo>
                <a:lnTo>
                  <a:pt x="526" y="320"/>
                </a:lnTo>
                <a:lnTo>
                  <a:pt x="520" y="327"/>
                </a:lnTo>
                <a:lnTo>
                  <a:pt x="517" y="332"/>
                </a:lnTo>
                <a:lnTo>
                  <a:pt x="514" y="337"/>
                </a:lnTo>
                <a:lnTo>
                  <a:pt x="511" y="342"/>
                </a:lnTo>
                <a:lnTo>
                  <a:pt x="509" y="348"/>
                </a:lnTo>
                <a:lnTo>
                  <a:pt x="507" y="354"/>
                </a:lnTo>
                <a:lnTo>
                  <a:pt x="505" y="360"/>
                </a:lnTo>
                <a:lnTo>
                  <a:pt x="503" y="368"/>
                </a:lnTo>
                <a:lnTo>
                  <a:pt x="502" y="375"/>
                </a:lnTo>
                <a:lnTo>
                  <a:pt x="500" y="392"/>
                </a:lnTo>
                <a:lnTo>
                  <a:pt x="499" y="402"/>
                </a:lnTo>
                <a:lnTo>
                  <a:pt x="499" y="411"/>
                </a:lnTo>
                <a:lnTo>
                  <a:pt x="499" y="675"/>
                </a:lnTo>
                <a:lnTo>
                  <a:pt x="410" y="675"/>
                </a:lnTo>
                <a:lnTo>
                  <a:pt x="410" y="409"/>
                </a:lnTo>
                <a:lnTo>
                  <a:pt x="409" y="390"/>
                </a:lnTo>
                <a:lnTo>
                  <a:pt x="409" y="382"/>
                </a:lnTo>
                <a:lnTo>
                  <a:pt x="408" y="374"/>
                </a:lnTo>
                <a:lnTo>
                  <a:pt x="405" y="360"/>
                </a:lnTo>
                <a:lnTo>
                  <a:pt x="402" y="348"/>
                </a:lnTo>
                <a:lnTo>
                  <a:pt x="398" y="337"/>
                </a:lnTo>
                <a:lnTo>
                  <a:pt x="393" y="328"/>
                </a:lnTo>
                <a:lnTo>
                  <a:pt x="388" y="320"/>
                </a:lnTo>
                <a:lnTo>
                  <a:pt x="382" y="314"/>
                </a:lnTo>
                <a:lnTo>
                  <a:pt x="376" y="309"/>
                </a:lnTo>
                <a:lnTo>
                  <a:pt x="370" y="305"/>
                </a:lnTo>
                <a:lnTo>
                  <a:pt x="364" y="302"/>
                </a:lnTo>
                <a:lnTo>
                  <a:pt x="358" y="299"/>
                </a:lnTo>
                <a:lnTo>
                  <a:pt x="352" y="298"/>
                </a:lnTo>
                <a:lnTo>
                  <a:pt x="347" y="297"/>
                </a:lnTo>
                <a:lnTo>
                  <a:pt x="342" y="297"/>
                </a:lnTo>
                <a:lnTo>
                  <a:pt x="337" y="296"/>
                </a:lnTo>
                <a:lnTo>
                  <a:pt x="333" y="297"/>
                </a:lnTo>
                <a:lnTo>
                  <a:pt x="328" y="297"/>
                </a:lnTo>
                <a:lnTo>
                  <a:pt x="323" y="298"/>
                </a:lnTo>
                <a:lnTo>
                  <a:pt x="317" y="299"/>
                </a:lnTo>
                <a:lnTo>
                  <a:pt x="310" y="301"/>
                </a:lnTo>
                <a:lnTo>
                  <a:pt x="304" y="304"/>
                </a:lnTo>
                <a:lnTo>
                  <a:pt x="297" y="308"/>
                </a:lnTo>
                <a:lnTo>
                  <a:pt x="291" y="313"/>
                </a:lnTo>
                <a:lnTo>
                  <a:pt x="284" y="320"/>
                </a:lnTo>
                <a:lnTo>
                  <a:pt x="278" y="327"/>
                </a:lnTo>
                <a:lnTo>
                  <a:pt x="276" y="332"/>
                </a:lnTo>
                <a:lnTo>
                  <a:pt x="273" y="337"/>
                </a:lnTo>
                <a:lnTo>
                  <a:pt x="268" y="348"/>
                </a:lnTo>
                <a:lnTo>
                  <a:pt x="264" y="360"/>
                </a:lnTo>
                <a:lnTo>
                  <a:pt x="262" y="368"/>
                </a:lnTo>
                <a:lnTo>
                  <a:pt x="261" y="375"/>
                </a:lnTo>
                <a:lnTo>
                  <a:pt x="259" y="392"/>
                </a:lnTo>
                <a:lnTo>
                  <a:pt x="259" y="402"/>
                </a:lnTo>
                <a:lnTo>
                  <a:pt x="258" y="411"/>
                </a:lnTo>
                <a:lnTo>
                  <a:pt x="258" y="675"/>
                </a:lnTo>
                <a:lnTo>
                  <a:pt x="169" y="675"/>
                </a:lnTo>
                <a:lnTo>
                  <a:pt x="169" y="230"/>
                </a:lnTo>
                <a:lnTo>
                  <a:pt x="255" y="230"/>
                </a:lnTo>
                <a:lnTo>
                  <a:pt x="255" y="280"/>
                </a:lnTo>
                <a:lnTo>
                  <a:pt x="260" y="272"/>
                </a:lnTo>
                <a:lnTo>
                  <a:pt x="265" y="264"/>
                </a:lnTo>
                <a:lnTo>
                  <a:pt x="271" y="257"/>
                </a:lnTo>
                <a:lnTo>
                  <a:pt x="277" y="251"/>
                </a:lnTo>
                <a:lnTo>
                  <a:pt x="284" y="246"/>
                </a:lnTo>
                <a:lnTo>
                  <a:pt x="291" y="241"/>
                </a:lnTo>
                <a:lnTo>
                  <a:pt x="298" y="237"/>
                </a:lnTo>
                <a:lnTo>
                  <a:pt x="305" y="233"/>
                </a:lnTo>
                <a:lnTo>
                  <a:pt x="312" y="230"/>
                </a:lnTo>
                <a:lnTo>
                  <a:pt x="319" y="227"/>
                </a:lnTo>
                <a:lnTo>
                  <a:pt x="334" y="223"/>
                </a:lnTo>
                <a:lnTo>
                  <a:pt x="341" y="222"/>
                </a:lnTo>
                <a:lnTo>
                  <a:pt x="348" y="221"/>
                </a:lnTo>
                <a:lnTo>
                  <a:pt x="360" y="221"/>
                </a:lnTo>
                <a:lnTo>
                  <a:pt x="369" y="221"/>
                </a:lnTo>
                <a:lnTo>
                  <a:pt x="378" y="222"/>
                </a:lnTo>
                <a:lnTo>
                  <a:pt x="387" y="223"/>
                </a:lnTo>
                <a:lnTo>
                  <a:pt x="395" y="225"/>
                </a:lnTo>
                <a:lnTo>
                  <a:pt x="404" y="228"/>
                </a:lnTo>
                <a:lnTo>
                  <a:pt x="412" y="231"/>
                </a:lnTo>
                <a:lnTo>
                  <a:pt x="419" y="234"/>
                </a:lnTo>
                <a:lnTo>
                  <a:pt x="427" y="238"/>
                </a:lnTo>
                <a:lnTo>
                  <a:pt x="434" y="243"/>
                </a:lnTo>
                <a:lnTo>
                  <a:pt x="441" y="248"/>
                </a:lnTo>
                <a:lnTo>
                  <a:pt x="448" y="254"/>
                </a:lnTo>
                <a:lnTo>
                  <a:pt x="454" y="261"/>
                </a:lnTo>
                <a:lnTo>
                  <a:pt x="460" y="268"/>
                </a:lnTo>
                <a:lnTo>
                  <a:pt x="465" y="275"/>
                </a:lnTo>
                <a:lnTo>
                  <a:pt x="470" y="283"/>
                </a:lnTo>
                <a:lnTo>
                  <a:pt x="475" y="292"/>
                </a:lnTo>
                <a:lnTo>
                  <a:pt x="481" y="282"/>
                </a:lnTo>
                <a:lnTo>
                  <a:pt x="488" y="273"/>
                </a:lnTo>
                <a:lnTo>
                  <a:pt x="495" y="265"/>
                </a:lnTo>
                <a:lnTo>
                  <a:pt x="502" y="257"/>
                </a:lnTo>
                <a:lnTo>
                  <a:pt x="510" y="251"/>
                </a:lnTo>
                <a:lnTo>
                  <a:pt x="518" y="245"/>
                </a:lnTo>
                <a:lnTo>
                  <a:pt x="526" y="240"/>
                </a:lnTo>
                <a:lnTo>
                  <a:pt x="535" y="235"/>
                </a:lnTo>
                <a:lnTo>
                  <a:pt x="543" y="232"/>
                </a:lnTo>
                <a:lnTo>
                  <a:pt x="552" y="228"/>
                </a:lnTo>
                <a:lnTo>
                  <a:pt x="560" y="226"/>
                </a:lnTo>
                <a:lnTo>
                  <a:pt x="568" y="224"/>
                </a:lnTo>
                <a:lnTo>
                  <a:pt x="576" y="222"/>
                </a:lnTo>
                <a:lnTo>
                  <a:pt x="584" y="221"/>
                </a:lnTo>
                <a:lnTo>
                  <a:pt x="598" y="221"/>
                </a:lnTo>
                <a:lnTo>
                  <a:pt x="611" y="221"/>
                </a:lnTo>
                <a:lnTo>
                  <a:pt x="624" y="223"/>
                </a:lnTo>
                <a:lnTo>
                  <a:pt x="636" y="225"/>
                </a:lnTo>
                <a:lnTo>
                  <a:pt x="649" y="229"/>
                </a:lnTo>
                <a:lnTo>
                  <a:pt x="662" y="234"/>
                </a:lnTo>
                <a:lnTo>
                  <a:pt x="668" y="237"/>
                </a:lnTo>
                <a:lnTo>
                  <a:pt x="674" y="240"/>
                </a:lnTo>
                <a:lnTo>
                  <a:pt x="680" y="244"/>
                </a:lnTo>
                <a:lnTo>
                  <a:pt x="686" y="248"/>
                </a:lnTo>
                <a:lnTo>
                  <a:pt x="692" y="253"/>
                </a:lnTo>
                <a:lnTo>
                  <a:pt x="697" y="258"/>
                </a:lnTo>
                <a:lnTo>
                  <a:pt x="702" y="264"/>
                </a:lnTo>
                <a:lnTo>
                  <a:pt x="707" y="270"/>
                </a:lnTo>
                <a:lnTo>
                  <a:pt x="712" y="276"/>
                </a:lnTo>
                <a:lnTo>
                  <a:pt x="716" y="283"/>
                </a:lnTo>
                <a:lnTo>
                  <a:pt x="721" y="290"/>
                </a:lnTo>
                <a:lnTo>
                  <a:pt x="724" y="298"/>
                </a:lnTo>
                <a:lnTo>
                  <a:pt x="728" y="307"/>
                </a:lnTo>
                <a:lnTo>
                  <a:pt x="731" y="315"/>
                </a:lnTo>
                <a:lnTo>
                  <a:pt x="734" y="325"/>
                </a:lnTo>
                <a:lnTo>
                  <a:pt x="736" y="335"/>
                </a:lnTo>
                <a:lnTo>
                  <a:pt x="739" y="346"/>
                </a:lnTo>
                <a:lnTo>
                  <a:pt x="740" y="357"/>
                </a:lnTo>
                <a:lnTo>
                  <a:pt x="741" y="369"/>
                </a:lnTo>
                <a:lnTo>
                  <a:pt x="742" y="381"/>
                </a:lnTo>
                <a:lnTo>
                  <a:pt x="743" y="394"/>
                </a:lnTo>
                <a:lnTo>
                  <a:pt x="743" y="408"/>
                </a:lnTo>
                <a:close/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4" name="Freeform 17"/>
          <p:cNvSpPr>
            <a:spLocks noChangeAspect="1" noEditPoints="1"/>
          </p:cNvSpPr>
          <p:nvPr userDrawn="1"/>
        </p:nvSpPr>
        <p:spPr bwMode="auto">
          <a:xfrm>
            <a:off x="3918686" y="2572336"/>
            <a:ext cx="1306033" cy="1285880"/>
          </a:xfrm>
          <a:custGeom>
            <a:avLst/>
            <a:gdLst>
              <a:gd name="T0" fmla="*/ 587 w 907"/>
              <a:gd name="T1" fmla="*/ 676 h 908"/>
              <a:gd name="T2" fmla="*/ 587 w 907"/>
              <a:gd name="T3" fmla="*/ 444 h 908"/>
              <a:gd name="T4" fmla="*/ 586 w 907"/>
              <a:gd name="T5" fmla="*/ 428 h 908"/>
              <a:gd name="T6" fmla="*/ 583 w 907"/>
              <a:gd name="T7" fmla="*/ 412 h 908"/>
              <a:gd name="T8" fmla="*/ 580 w 907"/>
              <a:gd name="T9" fmla="*/ 397 h 908"/>
              <a:gd name="T10" fmla="*/ 575 w 907"/>
              <a:gd name="T11" fmla="*/ 383 h 908"/>
              <a:gd name="T12" fmla="*/ 566 w 907"/>
              <a:gd name="T13" fmla="*/ 364 h 908"/>
              <a:gd name="T14" fmla="*/ 555 w 907"/>
              <a:gd name="T15" fmla="*/ 347 h 908"/>
              <a:gd name="T16" fmla="*/ 546 w 907"/>
              <a:gd name="T17" fmla="*/ 337 h 908"/>
              <a:gd name="T18" fmla="*/ 532 w 907"/>
              <a:gd name="T19" fmla="*/ 325 h 908"/>
              <a:gd name="T20" fmla="*/ 516 w 907"/>
              <a:gd name="T21" fmla="*/ 314 h 908"/>
              <a:gd name="T22" fmla="*/ 504 w 907"/>
              <a:gd name="T23" fmla="*/ 309 h 908"/>
              <a:gd name="T24" fmla="*/ 492 w 907"/>
              <a:gd name="T25" fmla="*/ 305 h 908"/>
              <a:gd name="T26" fmla="*/ 479 w 907"/>
              <a:gd name="T27" fmla="*/ 303 h 908"/>
              <a:gd name="T28" fmla="*/ 460 w 907"/>
              <a:gd name="T29" fmla="*/ 301 h 908"/>
              <a:gd name="T30" fmla="*/ 439 w 907"/>
              <a:gd name="T31" fmla="*/ 302 h 908"/>
              <a:gd name="T32" fmla="*/ 419 w 907"/>
              <a:gd name="T33" fmla="*/ 307 h 908"/>
              <a:gd name="T34" fmla="*/ 407 w 907"/>
              <a:gd name="T35" fmla="*/ 312 h 908"/>
              <a:gd name="T36" fmla="*/ 395 w 907"/>
              <a:gd name="T37" fmla="*/ 317 h 908"/>
              <a:gd name="T38" fmla="*/ 383 w 907"/>
              <a:gd name="T39" fmla="*/ 325 h 908"/>
              <a:gd name="T40" fmla="*/ 373 w 907"/>
              <a:gd name="T41" fmla="*/ 333 h 908"/>
              <a:gd name="T42" fmla="*/ 363 w 907"/>
              <a:gd name="T43" fmla="*/ 343 h 908"/>
              <a:gd name="T44" fmla="*/ 354 w 907"/>
              <a:gd name="T45" fmla="*/ 354 h 908"/>
              <a:gd name="T46" fmla="*/ 345 w 907"/>
              <a:gd name="T47" fmla="*/ 366 h 908"/>
              <a:gd name="T48" fmla="*/ 335 w 907"/>
              <a:gd name="T49" fmla="*/ 387 h 908"/>
              <a:gd name="T50" fmla="*/ 327 w 907"/>
              <a:gd name="T51" fmla="*/ 410 h 908"/>
              <a:gd name="T52" fmla="*/ 324 w 907"/>
              <a:gd name="T53" fmla="*/ 427 h 908"/>
              <a:gd name="T54" fmla="*/ 321 w 907"/>
              <a:gd name="T55" fmla="*/ 446 h 908"/>
              <a:gd name="T56" fmla="*/ 321 w 907"/>
              <a:gd name="T57" fmla="*/ 676 h 908"/>
              <a:gd name="T58" fmla="*/ 231 w 907"/>
              <a:gd name="T59" fmla="*/ 230 h 908"/>
              <a:gd name="T60" fmla="*/ 318 w 907"/>
              <a:gd name="T61" fmla="*/ 305 h 908"/>
              <a:gd name="T62" fmla="*/ 329 w 907"/>
              <a:gd name="T63" fmla="*/ 286 h 908"/>
              <a:gd name="T64" fmla="*/ 344 w 907"/>
              <a:gd name="T65" fmla="*/ 270 h 908"/>
              <a:gd name="T66" fmla="*/ 352 w 907"/>
              <a:gd name="T67" fmla="*/ 262 h 908"/>
              <a:gd name="T68" fmla="*/ 371 w 907"/>
              <a:gd name="T69" fmla="*/ 249 h 908"/>
              <a:gd name="T70" fmla="*/ 392 w 907"/>
              <a:gd name="T71" fmla="*/ 238 h 908"/>
              <a:gd name="T72" fmla="*/ 414 w 907"/>
              <a:gd name="T73" fmla="*/ 230 h 908"/>
              <a:gd name="T74" fmla="*/ 438 w 907"/>
              <a:gd name="T75" fmla="*/ 224 h 908"/>
              <a:gd name="T76" fmla="*/ 461 w 907"/>
              <a:gd name="T77" fmla="*/ 221 h 908"/>
              <a:gd name="T78" fmla="*/ 492 w 907"/>
              <a:gd name="T79" fmla="*/ 221 h 908"/>
              <a:gd name="T80" fmla="*/ 520 w 907"/>
              <a:gd name="T81" fmla="*/ 225 h 908"/>
              <a:gd name="T82" fmla="*/ 538 w 907"/>
              <a:gd name="T83" fmla="*/ 230 h 908"/>
              <a:gd name="T84" fmla="*/ 556 w 907"/>
              <a:gd name="T85" fmla="*/ 236 h 908"/>
              <a:gd name="T86" fmla="*/ 573 w 907"/>
              <a:gd name="T87" fmla="*/ 244 h 908"/>
              <a:gd name="T88" fmla="*/ 590 w 907"/>
              <a:gd name="T89" fmla="*/ 253 h 908"/>
              <a:gd name="T90" fmla="*/ 605 w 907"/>
              <a:gd name="T91" fmla="*/ 265 h 908"/>
              <a:gd name="T92" fmla="*/ 619 w 907"/>
              <a:gd name="T93" fmla="*/ 278 h 908"/>
              <a:gd name="T94" fmla="*/ 632 w 907"/>
              <a:gd name="T95" fmla="*/ 293 h 908"/>
              <a:gd name="T96" fmla="*/ 644 w 907"/>
              <a:gd name="T97" fmla="*/ 310 h 908"/>
              <a:gd name="T98" fmla="*/ 654 w 907"/>
              <a:gd name="T99" fmla="*/ 328 h 908"/>
              <a:gd name="T100" fmla="*/ 663 w 907"/>
              <a:gd name="T101" fmla="*/ 349 h 908"/>
              <a:gd name="T102" fmla="*/ 669 w 907"/>
              <a:gd name="T103" fmla="*/ 372 h 908"/>
              <a:gd name="T104" fmla="*/ 674 w 907"/>
              <a:gd name="T105" fmla="*/ 397 h 908"/>
              <a:gd name="T106" fmla="*/ 676 w 907"/>
              <a:gd name="T107" fmla="*/ 424 h 908"/>
              <a:gd name="T108" fmla="*/ 676 w 907"/>
              <a:gd name="T109" fmla="*/ 676 h 908"/>
              <a:gd name="T110" fmla="*/ 453 w 907"/>
              <a:gd name="T111" fmla="*/ 908 h 908"/>
              <a:gd name="T112" fmla="*/ 907 w 907"/>
              <a:gd name="T113" fmla="*/ 453 h 908"/>
              <a:gd name="T114" fmla="*/ 453 w 907"/>
              <a:gd name="T115" fmla="*/ 0 h 908"/>
              <a:gd name="T116" fmla="*/ 0 w 907"/>
              <a:gd name="T117" fmla="*/ 453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7" h="908">
                <a:moveTo>
                  <a:pt x="676" y="676"/>
                </a:moveTo>
                <a:lnTo>
                  <a:pt x="587" y="676"/>
                </a:lnTo>
                <a:lnTo>
                  <a:pt x="587" y="453"/>
                </a:lnTo>
                <a:lnTo>
                  <a:pt x="587" y="444"/>
                </a:lnTo>
                <a:lnTo>
                  <a:pt x="586" y="436"/>
                </a:lnTo>
                <a:lnTo>
                  <a:pt x="586" y="428"/>
                </a:lnTo>
                <a:lnTo>
                  <a:pt x="585" y="420"/>
                </a:lnTo>
                <a:lnTo>
                  <a:pt x="583" y="412"/>
                </a:lnTo>
                <a:lnTo>
                  <a:pt x="581" y="404"/>
                </a:lnTo>
                <a:lnTo>
                  <a:pt x="580" y="397"/>
                </a:lnTo>
                <a:lnTo>
                  <a:pt x="577" y="390"/>
                </a:lnTo>
                <a:lnTo>
                  <a:pt x="575" y="383"/>
                </a:lnTo>
                <a:lnTo>
                  <a:pt x="572" y="376"/>
                </a:lnTo>
                <a:lnTo>
                  <a:pt x="566" y="364"/>
                </a:lnTo>
                <a:lnTo>
                  <a:pt x="559" y="352"/>
                </a:lnTo>
                <a:lnTo>
                  <a:pt x="555" y="347"/>
                </a:lnTo>
                <a:lnTo>
                  <a:pt x="550" y="342"/>
                </a:lnTo>
                <a:lnTo>
                  <a:pt x="546" y="337"/>
                </a:lnTo>
                <a:lnTo>
                  <a:pt x="541" y="333"/>
                </a:lnTo>
                <a:lnTo>
                  <a:pt x="532" y="325"/>
                </a:lnTo>
                <a:lnTo>
                  <a:pt x="521" y="317"/>
                </a:lnTo>
                <a:lnTo>
                  <a:pt x="516" y="314"/>
                </a:lnTo>
                <a:lnTo>
                  <a:pt x="510" y="312"/>
                </a:lnTo>
                <a:lnTo>
                  <a:pt x="504" y="309"/>
                </a:lnTo>
                <a:lnTo>
                  <a:pt x="498" y="307"/>
                </a:lnTo>
                <a:lnTo>
                  <a:pt x="492" y="305"/>
                </a:lnTo>
                <a:lnTo>
                  <a:pt x="486" y="304"/>
                </a:lnTo>
                <a:lnTo>
                  <a:pt x="479" y="303"/>
                </a:lnTo>
                <a:lnTo>
                  <a:pt x="473" y="302"/>
                </a:lnTo>
                <a:lnTo>
                  <a:pt x="460" y="301"/>
                </a:lnTo>
                <a:lnTo>
                  <a:pt x="446" y="302"/>
                </a:lnTo>
                <a:lnTo>
                  <a:pt x="439" y="302"/>
                </a:lnTo>
                <a:lnTo>
                  <a:pt x="432" y="304"/>
                </a:lnTo>
                <a:lnTo>
                  <a:pt x="419" y="307"/>
                </a:lnTo>
                <a:lnTo>
                  <a:pt x="413" y="309"/>
                </a:lnTo>
                <a:lnTo>
                  <a:pt x="407" y="312"/>
                </a:lnTo>
                <a:lnTo>
                  <a:pt x="401" y="314"/>
                </a:lnTo>
                <a:lnTo>
                  <a:pt x="395" y="317"/>
                </a:lnTo>
                <a:lnTo>
                  <a:pt x="389" y="321"/>
                </a:lnTo>
                <a:lnTo>
                  <a:pt x="383" y="325"/>
                </a:lnTo>
                <a:lnTo>
                  <a:pt x="378" y="329"/>
                </a:lnTo>
                <a:lnTo>
                  <a:pt x="373" y="333"/>
                </a:lnTo>
                <a:lnTo>
                  <a:pt x="367" y="338"/>
                </a:lnTo>
                <a:lnTo>
                  <a:pt x="363" y="343"/>
                </a:lnTo>
                <a:lnTo>
                  <a:pt x="358" y="348"/>
                </a:lnTo>
                <a:lnTo>
                  <a:pt x="354" y="354"/>
                </a:lnTo>
                <a:lnTo>
                  <a:pt x="349" y="360"/>
                </a:lnTo>
                <a:lnTo>
                  <a:pt x="345" y="366"/>
                </a:lnTo>
                <a:lnTo>
                  <a:pt x="338" y="380"/>
                </a:lnTo>
                <a:lnTo>
                  <a:pt x="335" y="387"/>
                </a:lnTo>
                <a:lnTo>
                  <a:pt x="332" y="394"/>
                </a:lnTo>
                <a:lnTo>
                  <a:pt x="327" y="410"/>
                </a:lnTo>
                <a:lnTo>
                  <a:pt x="325" y="419"/>
                </a:lnTo>
                <a:lnTo>
                  <a:pt x="324" y="427"/>
                </a:lnTo>
                <a:lnTo>
                  <a:pt x="322" y="436"/>
                </a:lnTo>
                <a:lnTo>
                  <a:pt x="321" y="446"/>
                </a:lnTo>
                <a:lnTo>
                  <a:pt x="321" y="466"/>
                </a:lnTo>
                <a:lnTo>
                  <a:pt x="321" y="676"/>
                </a:lnTo>
                <a:lnTo>
                  <a:pt x="231" y="676"/>
                </a:lnTo>
                <a:lnTo>
                  <a:pt x="231" y="230"/>
                </a:lnTo>
                <a:lnTo>
                  <a:pt x="318" y="230"/>
                </a:lnTo>
                <a:lnTo>
                  <a:pt x="318" y="305"/>
                </a:lnTo>
                <a:lnTo>
                  <a:pt x="323" y="296"/>
                </a:lnTo>
                <a:lnTo>
                  <a:pt x="329" y="286"/>
                </a:lnTo>
                <a:lnTo>
                  <a:pt x="336" y="278"/>
                </a:lnTo>
                <a:lnTo>
                  <a:pt x="344" y="270"/>
                </a:lnTo>
                <a:lnTo>
                  <a:pt x="348" y="266"/>
                </a:lnTo>
                <a:lnTo>
                  <a:pt x="352" y="262"/>
                </a:lnTo>
                <a:lnTo>
                  <a:pt x="361" y="255"/>
                </a:lnTo>
                <a:lnTo>
                  <a:pt x="371" y="249"/>
                </a:lnTo>
                <a:lnTo>
                  <a:pt x="381" y="243"/>
                </a:lnTo>
                <a:lnTo>
                  <a:pt x="392" y="238"/>
                </a:lnTo>
                <a:lnTo>
                  <a:pt x="403" y="233"/>
                </a:lnTo>
                <a:lnTo>
                  <a:pt x="414" y="230"/>
                </a:lnTo>
                <a:lnTo>
                  <a:pt x="426" y="226"/>
                </a:lnTo>
                <a:lnTo>
                  <a:pt x="438" y="224"/>
                </a:lnTo>
                <a:lnTo>
                  <a:pt x="449" y="222"/>
                </a:lnTo>
                <a:lnTo>
                  <a:pt x="461" y="221"/>
                </a:lnTo>
                <a:lnTo>
                  <a:pt x="473" y="221"/>
                </a:lnTo>
                <a:lnTo>
                  <a:pt x="492" y="221"/>
                </a:lnTo>
                <a:lnTo>
                  <a:pt x="511" y="224"/>
                </a:lnTo>
                <a:lnTo>
                  <a:pt x="520" y="225"/>
                </a:lnTo>
                <a:lnTo>
                  <a:pt x="529" y="227"/>
                </a:lnTo>
                <a:lnTo>
                  <a:pt x="538" y="230"/>
                </a:lnTo>
                <a:lnTo>
                  <a:pt x="547" y="233"/>
                </a:lnTo>
                <a:lnTo>
                  <a:pt x="556" y="236"/>
                </a:lnTo>
                <a:lnTo>
                  <a:pt x="565" y="240"/>
                </a:lnTo>
                <a:lnTo>
                  <a:pt x="573" y="244"/>
                </a:lnTo>
                <a:lnTo>
                  <a:pt x="582" y="248"/>
                </a:lnTo>
                <a:lnTo>
                  <a:pt x="590" y="253"/>
                </a:lnTo>
                <a:lnTo>
                  <a:pt x="597" y="259"/>
                </a:lnTo>
                <a:lnTo>
                  <a:pt x="605" y="265"/>
                </a:lnTo>
                <a:lnTo>
                  <a:pt x="612" y="271"/>
                </a:lnTo>
                <a:lnTo>
                  <a:pt x="619" y="278"/>
                </a:lnTo>
                <a:lnTo>
                  <a:pt x="626" y="285"/>
                </a:lnTo>
                <a:lnTo>
                  <a:pt x="632" y="293"/>
                </a:lnTo>
                <a:lnTo>
                  <a:pt x="638" y="301"/>
                </a:lnTo>
                <a:lnTo>
                  <a:pt x="644" y="310"/>
                </a:lnTo>
                <a:lnTo>
                  <a:pt x="649" y="319"/>
                </a:lnTo>
                <a:lnTo>
                  <a:pt x="654" y="328"/>
                </a:lnTo>
                <a:lnTo>
                  <a:pt x="659" y="338"/>
                </a:lnTo>
                <a:lnTo>
                  <a:pt x="663" y="349"/>
                </a:lnTo>
                <a:lnTo>
                  <a:pt x="666" y="360"/>
                </a:lnTo>
                <a:lnTo>
                  <a:pt x="669" y="372"/>
                </a:lnTo>
                <a:lnTo>
                  <a:pt x="672" y="384"/>
                </a:lnTo>
                <a:lnTo>
                  <a:pt x="674" y="397"/>
                </a:lnTo>
                <a:lnTo>
                  <a:pt x="675" y="410"/>
                </a:lnTo>
                <a:lnTo>
                  <a:pt x="676" y="424"/>
                </a:lnTo>
                <a:lnTo>
                  <a:pt x="676" y="438"/>
                </a:lnTo>
                <a:lnTo>
                  <a:pt x="676" y="676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3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5" name="Freeform 18"/>
          <p:cNvSpPr>
            <a:spLocks noChangeAspect="1" noEditPoints="1"/>
          </p:cNvSpPr>
          <p:nvPr userDrawn="1"/>
        </p:nvSpPr>
        <p:spPr bwMode="auto">
          <a:xfrm>
            <a:off x="7837371" y="2571741"/>
            <a:ext cx="1306033" cy="1285880"/>
          </a:xfrm>
          <a:custGeom>
            <a:avLst/>
            <a:gdLst>
              <a:gd name="T0" fmla="*/ 433 w 907"/>
              <a:gd name="T1" fmla="*/ 300 h 908"/>
              <a:gd name="T2" fmla="*/ 403 w 907"/>
              <a:gd name="T3" fmla="*/ 308 h 908"/>
              <a:gd name="T4" fmla="*/ 366 w 907"/>
              <a:gd name="T5" fmla="*/ 332 h 908"/>
              <a:gd name="T6" fmla="*/ 343 w 907"/>
              <a:gd name="T7" fmla="*/ 360 h 908"/>
              <a:gd name="T8" fmla="*/ 325 w 907"/>
              <a:gd name="T9" fmla="*/ 398 h 908"/>
              <a:gd name="T10" fmla="*/ 316 w 907"/>
              <a:gd name="T11" fmla="*/ 455 h 908"/>
              <a:gd name="T12" fmla="*/ 321 w 907"/>
              <a:gd name="T13" fmla="*/ 497 h 908"/>
              <a:gd name="T14" fmla="*/ 330 w 907"/>
              <a:gd name="T15" fmla="*/ 524 h 908"/>
              <a:gd name="T16" fmla="*/ 343 w 907"/>
              <a:gd name="T17" fmla="*/ 549 h 908"/>
              <a:gd name="T18" fmla="*/ 361 w 907"/>
              <a:gd name="T19" fmla="*/ 571 h 908"/>
              <a:gd name="T20" fmla="*/ 383 w 907"/>
              <a:gd name="T21" fmla="*/ 589 h 908"/>
              <a:gd name="T22" fmla="*/ 410 w 907"/>
              <a:gd name="T23" fmla="*/ 603 h 908"/>
              <a:gd name="T24" fmla="*/ 441 w 907"/>
              <a:gd name="T25" fmla="*/ 610 h 908"/>
              <a:gd name="T26" fmla="*/ 484 w 907"/>
              <a:gd name="T27" fmla="*/ 608 h 908"/>
              <a:gd name="T28" fmla="*/ 520 w 907"/>
              <a:gd name="T29" fmla="*/ 596 h 908"/>
              <a:gd name="T30" fmla="*/ 547 w 907"/>
              <a:gd name="T31" fmla="*/ 577 h 908"/>
              <a:gd name="T32" fmla="*/ 565 w 907"/>
              <a:gd name="T33" fmla="*/ 557 h 908"/>
              <a:gd name="T34" fmla="*/ 583 w 907"/>
              <a:gd name="T35" fmla="*/ 524 h 908"/>
              <a:gd name="T36" fmla="*/ 592 w 907"/>
              <a:gd name="T37" fmla="*/ 483 h 908"/>
              <a:gd name="T38" fmla="*/ 594 w 907"/>
              <a:gd name="T39" fmla="*/ 445 h 908"/>
              <a:gd name="T40" fmla="*/ 587 w 907"/>
              <a:gd name="T41" fmla="*/ 400 h 908"/>
              <a:gd name="T42" fmla="*/ 577 w 907"/>
              <a:gd name="T43" fmla="*/ 370 h 908"/>
              <a:gd name="T44" fmla="*/ 561 w 907"/>
              <a:gd name="T45" fmla="*/ 346 h 908"/>
              <a:gd name="T46" fmla="*/ 526 w 907"/>
              <a:gd name="T47" fmla="*/ 315 h 908"/>
              <a:gd name="T48" fmla="*/ 503 w 907"/>
              <a:gd name="T49" fmla="*/ 305 h 908"/>
              <a:gd name="T50" fmla="*/ 471 w 907"/>
              <a:gd name="T51" fmla="*/ 298 h 908"/>
              <a:gd name="T52" fmla="*/ 453 w 907"/>
              <a:gd name="T53" fmla="*/ 908 h 908"/>
              <a:gd name="T54" fmla="*/ 453 w 907"/>
              <a:gd name="T55" fmla="*/ 0 h 908"/>
              <a:gd name="T56" fmla="*/ 681 w 907"/>
              <a:gd name="T57" fmla="*/ 676 h 908"/>
              <a:gd name="T58" fmla="*/ 585 w 907"/>
              <a:gd name="T59" fmla="*/ 631 h 908"/>
              <a:gd name="T60" fmla="*/ 549 w 907"/>
              <a:gd name="T61" fmla="*/ 660 h 908"/>
              <a:gd name="T62" fmla="*/ 514 w 907"/>
              <a:gd name="T63" fmla="*/ 676 h 908"/>
              <a:gd name="T64" fmla="*/ 473 w 907"/>
              <a:gd name="T65" fmla="*/ 685 h 908"/>
              <a:gd name="T66" fmla="*/ 427 w 907"/>
              <a:gd name="T67" fmla="*/ 685 h 908"/>
              <a:gd name="T68" fmla="*/ 382 w 907"/>
              <a:gd name="T69" fmla="*/ 676 h 908"/>
              <a:gd name="T70" fmla="*/ 342 w 907"/>
              <a:gd name="T71" fmla="*/ 658 h 908"/>
              <a:gd name="T72" fmla="*/ 306 w 907"/>
              <a:gd name="T73" fmla="*/ 633 h 908"/>
              <a:gd name="T74" fmla="*/ 276 w 907"/>
              <a:gd name="T75" fmla="*/ 602 h 908"/>
              <a:gd name="T76" fmla="*/ 253 w 907"/>
              <a:gd name="T77" fmla="*/ 565 h 908"/>
              <a:gd name="T78" fmla="*/ 236 w 907"/>
              <a:gd name="T79" fmla="*/ 523 h 908"/>
              <a:gd name="T80" fmla="*/ 228 w 907"/>
              <a:gd name="T81" fmla="*/ 478 h 908"/>
              <a:gd name="T82" fmla="*/ 228 w 907"/>
              <a:gd name="T83" fmla="*/ 430 h 908"/>
              <a:gd name="T84" fmla="*/ 235 w 907"/>
              <a:gd name="T85" fmla="*/ 390 h 908"/>
              <a:gd name="T86" fmla="*/ 248 w 907"/>
              <a:gd name="T87" fmla="*/ 353 h 908"/>
              <a:gd name="T88" fmla="*/ 270 w 907"/>
              <a:gd name="T89" fmla="*/ 315 h 908"/>
              <a:gd name="T90" fmla="*/ 298 w 907"/>
              <a:gd name="T91" fmla="*/ 282 h 908"/>
              <a:gd name="T92" fmla="*/ 323 w 907"/>
              <a:gd name="T93" fmla="*/ 261 h 908"/>
              <a:gd name="T94" fmla="*/ 361 w 907"/>
              <a:gd name="T95" fmla="*/ 240 h 908"/>
              <a:gd name="T96" fmla="*/ 404 w 907"/>
              <a:gd name="T97" fmla="*/ 227 h 908"/>
              <a:gd name="T98" fmla="*/ 451 w 907"/>
              <a:gd name="T99" fmla="*/ 222 h 908"/>
              <a:gd name="T100" fmla="*/ 494 w 907"/>
              <a:gd name="T101" fmla="*/ 226 h 908"/>
              <a:gd name="T102" fmla="*/ 532 w 907"/>
              <a:gd name="T103" fmla="*/ 239 h 908"/>
              <a:gd name="T104" fmla="*/ 560 w 907"/>
              <a:gd name="T105" fmla="*/ 255 h 908"/>
              <a:gd name="T106" fmla="*/ 585 w 907"/>
              <a:gd name="T107" fmla="*/ 277 h 908"/>
              <a:gd name="T108" fmla="*/ 681 w 907"/>
              <a:gd name="T109" fmla="*/ 676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7" h="908">
                <a:moveTo>
                  <a:pt x="459" y="298"/>
                </a:moveTo>
                <a:lnTo>
                  <a:pt x="450" y="298"/>
                </a:lnTo>
                <a:lnTo>
                  <a:pt x="441" y="299"/>
                </a:lnTo>
                <a:lnTo>
                  <a:pt x="433" y="300"/>
                </a:lnTo>
                <a:lnTo>
                  <a:pt x="425" y="301"/>
                </a:lnTo>
                <a:lnTo>
                  <a:pt x="417" y="303"/>
                </a:lnTo>
                <a:lnTo>
                  <a:pt x="410" y="306"/>
                </a:lnTo>
                <a:lnTo>
                  <a:pt x="403" y="308"/>
                </a:lnTo>
                <a:lnTo>
                  <a:pt x="396" y="312"/>
                </a:lnTo>
                <a:lnTo>
                  <a:pt x="383" y="319"/>
                </a:lnTo>
                <a:lnTo>
                  <a:pt x="371" y="328"/>
                </a:lnTo>
                <a:lnTo>
                  <a:pt x="366" y="332"/>
                </a:lnTo>
                <a:lnTo>
                  <a:pt x="361" y="337"/>
                </a:lnTo>
                <a:lnTo>
                  <a:pt x="351" y="348"/>
                </a:lnTo>
                <a:lnTo>
                  <a:pt x="347" y="354"/>
                </a:lnTo>
                <a:lnTo>
                  <a:pt x="343" y="360"/>
                </a:lnTo>
                <a:lnTo>
                  <a:pt x="336" y="372"/>
                </a:lnTo>
                <a:lnTo>
                  <a:pt x="333" y="378"/>
                </a:lnTo>
                <a:lnTo>
                  <a:pt x="330" y="385"/>
                </a:lnTo>
                <a:lnTo>
                  <a:pt x="325" y="398"/>
                </a:lnTo>
                <a:lnTo>
                  <a:pt x="321" y="412"/>
                </a:lnTo>
                <a:lnTo>
                  <a:pt x="318" y="426"/>
                </a:lnTo>
                <a:lnTo>
                  <a:pt x="316" y="440"/>
                </a:lnTo>
                <a:lnTo>
                  <a:pt x="316" y="455"/>
                </a:lnTo>
                <a:lnTo>
                  <a:pt x="316" y="469"/>
                </a:lnTo>
                <a:lnTo>
                  <a:pt x="317" y="476"/>
                </a:lnTo>
                <a:lnTo>
                  <a:pt x="318" y="483"/>
                </a:lnTo>
                <a:lnTo>
                  <a:pt x="321" y="497"/>
                </a:lnTo>
                <a:lnTo>
                  <a:pt x="323" y="504"/>
                </a:lnTo>
                <a:lnTo>
                  <a:pt x="325" y="511"/>
                </a:lnTo>
                <a:lnTo>
                  <a:pt x="327" y="517"/>
                </a:lnTo>
                <a:lnTo>
                  <a:pt x="330" y="524"/>
                </a:lnTo>
                <a:lnTo>
                  <a:pt x="333" y="530"/>
                </a:lnTo>
                <a:lnTo>
                  <a:pt x="336" y="537"/>
                </a:lnTo>
                <a:lnTo>
                  <a:pt x="339" y="543"/>
                </a:lnTo>
                <a:lnTo>
                  <a:pt x="343" y="549"/>
                </a:lnTo>
                <a:lnTo>
                  <a:pt x="347" y="555"/>
                </a:lnTo>
                <a:lnTo>
                  <a:pt x="351" y="561"/>
                </a:lnTo>
                <a:lnTo>
                  <a:pt x="356" y="566"/>
                </a:lnTo>
                <a:lnTo>
                  <a:pt x="361" y="571"/>
                </a:lnTo>
                <a:lnTo>
                  <a:pt x="366" y="576"/>
                </a:lnTo>
                <a:lnTo>
                  <a:pt x="371" y="581"/>
                </a:lnTo>
                <a:lnTo>
                  <a:pt x="377" y="585"/>
                </a:lnTo>
                <a:lnTo>
                  <a:pt x="383" y="589"/>
                </a:lnTo>
                <a:lnTo>
                  <a:pt x="389" y="593"/>
                </a:lnTo>
                <a:lnTo>
                  <a:pt x="396" y="597"/>
                </a:lnTo>
                <a:lnTo>
                  <a:pt x="403" y="600"/>
                </a:lnTo>
                <a:lnTo>
                  <a:pt x="410" y="603"/>
                </a:lnTo>
                <a:lnTo>
                  <a:pt x="417" y="605"/>
                </a:lnTo>
                <a:lnTo>
                  <a:pt x="425" y="607"/>
                </a:lnTo>
                <a:lnTo>
                  <a:pt x="433" y="608"/>
                </a:lnTo>
                <a:lnTo>
                  <a:pt x="441" y="610"/>
                </a:lnTo>
                <a:lnTo>
                  <a:pt x="450" y="610"/>
                </a:lnTo>
                <a:lnTo>
                  <a:pt x="459" y="611"/>
                </a:lnTo>
                <a:lnTo>
                  <a:pt x="471" y="610"/>
                </a:lnTo>
                <a:lnTo>
                  <a:pt x="484" y="608"/>
                </a:lnTo>
                <a:lnTo>
                  <a:pt x="497" y="605"/>
                </a:lnTo>
                <a:lnTo>
                  <a:pt x="509" y="601"/>
                </a:lnTo>
                <a:lnTo>
                  <a:pt x="515" y="599"/>
                </a:lnTo>
                <a:lnTo>
                  <a:pt x="520" y="596"/>
                </a:lnTo>
                <a:lnTo>
                  <a:pt x="532" y="589"/>
                </a:lnTo>
                <a:lnTo>
                  <a:pt x="537" y="586"/>
                </a:lnTo>
                <a:lnTo>
                  <a:pt x="542" y="582"/>
                </a:lnTo>
                <a:lnTo>
                  <a:pt x="547" y="577"/>
                </a:lnTo>
                <a:lnTo>
                  <a:pt x="552" y="573"/>
                </a:lnTo>
                <a:lnTo>
                  <a:pt x="557" y="568"/>
                </a:lnTo>
                <a:lnTo>
                  <a:pt x="561" y="562"/>
                </a:lnTo>
                <a:lnTo>
                  <a:pt x="565" y="557"/>
                </a:lnTo>
                <a:lnTo>
                  <a:pt x="569" y="551"/>
                </a:lnTo>
                <a:lnTo>
                  <a:pt x="577" y="538"/>
                </a:lnTo>
                <a:lnTo>
                  <a:pt x="580" y="531"/>
                </a:lnTo>
                <a:lnTo>
                  <a:pt x="583" y="524"/>
                </a:lnTo>
                <a:lnTo>
                  <a:pt x="587" y="509"/>
                </a:lnTo>
                <a:lnTo>
                  <a:pt x="589" y="500"/>
                </a:lnTo>
                <a:lnTo>
                  <a:pt x="591" y="492"/>
                </a:lnTo>
                <a:lnTo>
                  <a:pt x="592" y="483"/>
                </a:lnTo>
                <a:lnTo>
                  <a:pt x="593" y="474"/>
                </a:lnTo>
                <a:lnTo>
                  <a:pt x="594" y="464"/>
                </a:lnTo>
                <a:lnTo>
                  <a:pt x="594" y="455"/>
                </a:lnTo>
                <a:lnTo>
                  <a:pt x="594" y="445"/>
                </a:lnTo>
                <a:lnTo>
                  <a:pt x="593" y="435"/>
                </a:lnTo>
                <a:lnTo>
                  <a:pt x="592" y="426"/>
                </a:lnTo>
                <a:lnTo>
                  <a:pt x="591" y="417"/>
                </a:lnTo>
                <a:lnTo>
                  <a:pt x="587" y="400"/>
                </a:lnTo>
                <a:lnTo>
                  <a:pt x="585" y="392"/>
                </a:lnTo>
                <a:lnTo>
                  <a:pt x="583" y="385"/>
                </a:lnTo>
                <a:lnTo>
                  <a:pt x="580" y="377"/>
                </a:lnTo>
                <a:lnTo>
                  <a:pt x="577" y="370"/>
                </a:lnTo>
                <a:lnTo>
                  <a:pt x="573" y="364"/>
                </a:lnTo>
                <a:lnTo>
                  <a:pt x="569" y="357"/>
                </a:lnTo>
                <a:lnTo>
                  <a:pt x="565" y="352"/>
                </a:lnTo>
                <a:lnTo>
                  <a:pt x="561" y="346"/>
                </a:lnTo>
                <a:lnTo>
                  <a:pt x="552" y="336"/>
                </a:lnTo>
                <a:lnTo>
                  <a:pt x="542" y="327"/>
                </a:lnTo>
                <a:lnTo>
                  <a:pt x="532" y="319"/>
                </a:lnTo>
                <a:lnTo>
                  <a:pt x="526" y="315"/>
                </a:lnTo>
                <a:lnTo>
                  <a:pt x="520" y="312"/>
                </a:lnTo>
                <a:lnTo>
                  <a:pt x="515" y="309"/>
                </a:lnTo>
                <a:lnTo>
                  <a:pt x="509" y="307"/>
                </a:lnTo>
                <a:lnTo>
                  <a:pt x="503" y="305"/>
                </a:lnTo>
                <a:lnTo>
                  <a:pt x="497" y="303"/>
                </a:lnTo>
                <a:lnTo>
                  <a:pt x="490" y="301"/>
                </a:lnTo>
                <a:lnTo>
                  <a:pt x="484" y="300"/>
                </a:lnTo>
                <a:lnTo>
                  <a:pt x="471" y="298"/>
                </a:lnTo>
                <a:lnTo>
                  <a:pt x="465" y="298"/>
                </a:lnTo>
                <a:lnTo>
                  <a:pt x="459" y="298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4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4"/>
                </a:lnTo>
                <a:lnTo>
                  <a:pt x="0" y="908"/>
                </a:lnTo>
                <a:close/>
                <a:moveTo>
                  <a:pt x="681" y="676"/>
                </a:moveTo>
                <a:lnTo>
                  <a:pt x="591" y="676"/>
                </a:lnTo>
                <a:lnTo>
                  <a:pt x="591" y="624"/>
                </a:lnTo>
                <a:lnTo>
                  <a:pt x="588" y="627"/>
                </a:lnTo>
                <a:lnTo>
                  <a:pt x="585" y="631"/>
                </a:lnTo>
                <a:lnTo>
                  <a:pt x="579" y="637"/>
                </a:lnTo>
                <a:lnTo>
                  <a:pt x="572" y="644"/>
                </a:lnTo>
                <a:lnTo>
                  <a:pt x="565" y="649"/>
                </a:lnTo>
                <a:lnTo>
                  <a:pt x="549" y="660"/>
                </a:lnTo>
                <a:lnTo>
                  <a:pt x="541" y="665"/>
                </a:lnTo>
                <a:lnTo>
                  <a:pt x="532" y="669"/>
                </a:lnTo>
                <a:lnTo>
                  <a:pt x="523" y="673"/>
                </a:lnTo>
                <a:lnTo>
                  <a:pt x="514" y="676"/>
                </a:lnTo>
                <a:lnTo>
                  <a:pt x="504" y="679"/>
                </a:lnTo>
                <a:lnTo>
                  <a:pt x="494" y="682"/>
                </a:lnTo>
                <a:lnTo>
                  <a:pt x="484" y="684"/>
                </a:lnTo>
                <a:lnTo>
                  <a:pt x="473" y="685"/>
                </a:lnTo>
                <a:lnTo>
                  <a:pt x="462" y="686"/>
                </a:lnTo>
                <a:lnTo>
                  <a:pt x="451" y="686"/>
                </a:lnTo>
                <a:lnTo>
                  <a:pt x="439" y="686"/>
                </a:lnTo>
                <a:lnTo>
                  <a:pt x="427" y="685"/>
                </a:lnTo>
                <a:lnTo>
                  <a:pt x="415" y="684"/>
                </a:lnTo>
                <a:lnTo>
                  <a:pt x="404" y="682"/>
                </a:lnTo>
                <a:lnTo>
                  <a:pt x="393" y="679"/>
                </a:lnTo>
                <a:lnTo>
                  <a:pt x="382" y="676"/>
                </a:lnTo>
                <a:lnTo>
                  <a:pt x="372" y="672"/>
                </a:lnTo>
                <a:lnTo>
                  <a:pt x="361" y="668"/>
                </a:lnTo>
                <a:lnTo>
                  <a:pt x="351" y="663"/>
                </a:lnTo>
                <a:lnTo>
                  <a:pt x="342" y="658"/>
                </a:lnTo>
                <a:lnTo>
                  <a:pt x="332" y="653"/>
                </a:lnTo>
                <a:lnTo>
                  <a:pt x="323" y="647"/>
                </a:lnTo>
                <a:lnTo>
                  <a:pt x="315" y="640"/>
                </a:lnTo>
                <a:lnTo>
                  <a:pt x="306" y="633"/>
                </a:lnTo>
                <a:lnTo>
                  <a:pt x="298" y="626"/>
                </a:lnTo>
                <a:lnTo>
                  <a:pt x="291" y="618"/>
                </a:lnTo>
                <a:lnTo>
                  <a:pt x="283" y="610"/>
                </a:lnTo>
                <a:lnTo>
                  <a:pt x="276" y="602"/>
                </a:lnTo>
                <a:lnTo>
                  <a:pt x="270" y="593"/>
                </a:lnTo>
                <a:lnTo>
                  <a:pt x="264" y="584"/>
                </a:lnTo>
                <a:lnTo>
                  <a:pt x="258" y="575"/>
                </a:lnTo>
                <a:lnTo>
                  <a:pt x="253" y="565"/>
                </a:lnTo>
                <a:lnTo>
                  <a:pt x="248" y="555"/>
                </a:lnTo>
                <a:lnTo>
                  <a:pt x="244" y="545"/>
                </a:lnTo>
                <a:lnTo>
                  <a:pt x="240" y="534"/>
                </a:lnTo>
                <a:lnTo>
                  <a:pt x="236" y="523"/>
                </a:lnTo>
                <a:lnTo>
                  <a:pt x="234" y="512"/>
                </a:lnTo>
                <a:lnTo>
                  <a:pt x="231" y="501"/>
                </a:lnTo>
                <a:lnTo>
                  <a:pt x="229" y="489"/>
                </a:lnTo>
                <a:lnTo>
                  <a:pt x="228" y="478"/>
                </a:lnTo>
                <a:lnTo>
                  <a:pt x="227" y="466"/>
                </a:lnTo>
                <a:lnTo>
                  <a:pt x="227" y="454"/>
                </a:lnTo>
                <a:lnTo>
                  <a:pt x="227" y="442"/>
                </a:lnTo>
                <a:lnTo>
                  <a:pt x="228" y="430"/>
                </a:lnTo>
                <a:lnTo>
                  <a:pt x="229" y="418"/>
                </a:lnTo>
                <a:lnTo>
                  <a:pt x="231" y="407"/>
                </a:lnTo>
                <a:lnTo>
                  <a:pt x="234" y="396"/>
                </a:lnTo>
                <a:lnTo>
                  <a:pt x="235" y="390"/>
                </a:lnTo>
                <a:lnTo>
                  <a:pt x="236" y="385"/>
                </a:lnTo>
                <a:lnTo>
                  <a:pt x="240" y="374"/>
                </a:lnTo>
                <a:lnTo>
                  <a:pt x="244" y="363"/>
                </a:lnTo>
                <a:lnTo>
                  <a:pt x="248" y="353"/>
                </a:lnTo>
                <a:lnTo>
                  <a:pt x="253" y="343"/>
                </a:lnTo>
                <a:lnTo>
                  <a:pt x="258" y="333"/>
                </a:lnTo>
                <a:lnTo>
                  <a:pt x="264" y="324"/>
                </a:lnTo>
                <a:lnTo>
                  <a:pt x="270" y="315"/>
                </a:lnTo>
                <a:lnTo>
                  <a:pt x="276" y="306"/>
                </a:lnTo>
                <a:lnTo>
                  <a:pt x="283" y="298"/>
                </a:lnTo>
                <a:lnTo>
                  <a:pt x="291" y="290"/>
                </a:lnTo>
                <a:lnTo>
                  <a:pt x="298" y="282"/>
                </a:lnTo>
                <a:lnTo>
                  <a:pt x="306" y="275"/>
                </a:lnTo>
                <a:lnTo>
                  <a:pt x="310" y="271"/>
                </a:lnTo>
                <a:lnTo>
                  <a:pt x="315" y="268"/>
                </a:lnTo>
                <a:lnTo>
                  <a:pt x="323" y="261"/>
                </a:lnTo>
                <a:lnTo>
                  <a:pt x="332" y="255"/>
                </a:lnTo>
                <a:lnTo>
                  <a:pt x="342" y="250"/>
                </a:lnTo>
                <a:lnTo>
                  <a:pt x="351" y="245"/>
                </a:lnTo>
                <a:lnTo>
                  <a:pt x="361" y="240"/>
                </a:lnTo>
                <a:lnTo>
                  <a:pt x="372" y="236"/>
                </a:lnTo>
                <a:lnTo>
                  <a:pt x="382" y="232"/>
                </a:lnTo>
                <a:lnTo>
                  <a:pt x="393" y="229"/>
                </a:lnTo>
                <a:lnTo>
                  <a:pt x="404" y="227"/>
                </a:lnTo>
                <a:lnTo>
                  <a:pt x="415" y="225"/>
                </a:lnTo>
                <a:lnTo>
                  <a:pt x="427" y="223"/>
                </a:lnTo>
                <a:lnTo>
                  <a:pt x="439" y="222"/>
                </a:lnTo>
                <a:lnTo>
                  <a:pt x="451" y="222"/>
                </a:lnTo>
                <a:lnTo>
                  <a:pt x="462" y="222"/>
                </a:lnTo>
                <a:lnTo>
                  <a:pt x="473" y="223"/>
                </a:lnTo>
                <a:lnTo>
                  <a:pt x="484" y="224"/>
                </a:lnTo>
                <a:lnTo>
                  <a:pt x="494" y="226"/>
                </a:lnTo>
                <a:lnTo>
                  <a:pt x="504" y="229"/>
                </a:lnTo>
                <a:lnTo>
                  <a:pt x="513" y="231"/>
                </a:lnTo>
                <a:lnTo>
                  <a:pt x="523" y="235"/>
                </a:lnTo>
                <a:lnTo>
                  <a:pt x="532" y="239"/>
                </a:lnTo>
                <a:lnTo>
                  <a:pt x="540" y="243"/>
                </a:lnTo>
                <a:lnTo>
                  <a:pt x="549" y="247"/>
                </a:lnTo>
                <a:lnTo>
                  <a:pt x="557" y="253"/>
                </a:lnTo>
                <a:lnTo>
                  <a:pt x="560" y="255"/>
                </a:lnTo>
                <a:lnTo>
                  <a:pt x="564" y="258"/>
                </a:lnTo>
                <a:lnTo>
                  <a:pt x="571" y="264"/>
                </a:lnTo>
                <a:lnTo>
                  <a:pt x="578" y="270"/>
                </a:lnTo>
                <a:lnTo>
                  <a:pt x="585" y="277"/>
                </a:lnTo>
                <a:lnTo>
                  <a:pt x="591" y="283"/>
                </a:lnTo>
                <a:lnTo>
                  <a:pt x="591" y="231"/>
                </a:lnTo>
                <a:lnTo>
                  <a:pt x="681" y="231"/>
                </a:lnTo>
                <a:lnTo>
                  <a:pt x="681" y="67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2" name="Freeform 19"/>
          <p:cNvSpPr>
            <a:spLocks noChangeAspect="1" noEditPoints="1"/>
          </p:cNvSpPr>
          <p:nvPr userDrawn="1"/>
        </p:nvSpPr>
        <p:spPr bwMode="auto">
          <a:xfrm>
            <a:off x="-1237" y="2571154"/>
            <a:ext cx="1306667" cy="1286466"/>
          </a:xfrm>
          <a:custGeom>
            <a:avLst/>
            <a:gdLst>
              <a:gd name="T0" fmla="*/ 424 w 908"/>
              <a:gd name="T1" fmla="*/ 683 h 908"/>
              <a:gd name="T2" fmla="*/ 365 w 908"/>
              <a:gd name="T3" fmla="*/ 671 h 908"/>
              <a:gd name="T4" fmla="*/ 304 w 908"/>
              <a:gd name="T5" fmla="*/ 647 h 908"/>
              <a:gd name="T6" fmla="*/ 247 w 908"/>
              <a:gd name="T7" fmla="*/ 610 h 908"/>
              <a:gd name="T8" fmla="*/ 286 w 908"/>
              <a:gd name="T9" fmla="*/ 536 h 908"/>
              <a:gd name="T10" fmla="*/ 321 w 908"/>
              <a:gd name="T11" fmla="*/ 562 h 908"/>
              <a:gd name="T12" fmla="*/ 365 w 908"/>
              <a:gd name="T13" fmla="*/ 585 h 908"/>
              <a:gd name="T14" fmla="*/ 405 w 908"/>
              <a:gd name="T15" fmla="*/ 598 h 908"/>
              <a:gd name="T16" fmla="*/ 441 w 908"/>
              <a:gd name="T17" fmla="*/ 604 h 908"/>
              <a:gd name="T18" fmla="*/ 508 w 908"/>
              <a:gd name="T19" fmla="*/ 602 h 908"/>
              <a:gd name="T20" fmla="*/ 551 w 908"/>
              <a:gd name="T21" fmla="*/ 589 h 908"/>
              <a:gd name="T22" fmla="*/ 571 w 908"/>
              <a:gd name="T23" fmla="*/ 575 h 908"/>
              <a:gd name="T24" fmla="*/ 582 w 908"/>
              <a:gd name="T25" fmla="*/ 556 h 908"/>
              <a:gd name="T26" fmla="*/ 583 w 908"/>
              <a:gd name="T27" fmla="*/ 539 h 908"/>
              <a:gd name="T28" fmla="*/ 575 w 908"/>
              <a:gd name="T29" fmla="*/ 524 h 908"/>
              <a:gd name="T30" fmla="*/ 559 w 908"/>
              <a:gd name="T31" fmla="*/ 512 h 908"/>
              <a:gd name="T32" fmla="*/ 521 w 908"/>
              <a:gd name="T33" fmla="*/ 501 h 908"/>
              <a:gd name="T34" fmla="*/ 394 w 908"/>
              <a:gd name="T35" fmla="*/ 483 h 908"/>
              <a:gd name="T36" fmla="*/ 324 w 908"/>
              <a:gd name="T37" fmla="*/ 465 h 908"/>
              <a:gd name="T38" fmla="*/ 280 w 908"/>
              <a:gd name="T39" fmla="*/ 442 h 908"/>
              <a:gd name="T40" fmla="*/ 257 w 908"/>
              <a:gd name="T41" fmla="*/ 420 h 908"/>
              <a:gd name="T42" fmla="*/ 243 w 908"/>
              <a:gd name="T43" fmla="*/ 392 h 908"/>
              <a:gd name="T44" fmla="*/ 237 w 908"/>
              <a:gd name="T45" fmla="*/ 356 h 908"/>
              <a:gd name="T46" fmla="*/ 242 w 908"/>
              <a:gd name="T47" fmla="*/ 328 h 908"/>
              <a:gd name="T48" fmla="*/ 254 w 908"/>
              <a:gd name="T49" fmla="*/ 302 h 908"/>
              <a:gd name="T50" fmla="*/ 274 w 908"/>
              <a:gd name="T51" fmla="*/ 279 h 908"/>
              <a:gd name="T52" fmla="*/ 299 w 908"/>
              <a:gd name="T53" fmla="*/ 260 h 908"/>
              <a:gd name="T54" fmla="*/ 347 w 908"/>
              <a:gd name="T55" fmla="*/ 237 h 908"/>
              <a:gd name="T56" fmla="*/ 422 w 908"/>
              <a:gd name="T57" fmla="*/ 222 h 908"/>
              <a:gd name="T58" fmla="*/ 489 w 908"/>
              <a:gd name="T59" fmla="*/ 224 h 908"/>
              <a:gd name="T60" fmla="*/ 545 w 908"/>
              <a:gd name="T61" fmla="*/ 235 h 908"/>
              <a:gd name="T62" fmla="*/ 596 w 908"/>
              <a:gd name="T63" fmla="*/ 255 h 908"/>
              <a:gd name="T64" fmla="*/ 641 w 908"/>
              <a:gd name="T65" fmla="*/ 283 h 908"/>
              <a:gd name="T66" fmla="*/ 591 w 908"/>
              <a:gd name="T67" fmla="*/ 351 h 908"/>
              <a:gd name="T68" fmla="*/ 550 w 908"/>
              <a:gd name="T69" fmla="*/ 325 h 908"/>
              <a:gd name="T70" fmla="*/ 503 w 908"/>
              <a:gd name="T71" fmla="*/ 308 h 908"/>
              <a:gd name="T72" fmla="*/ 462 w 908"/>
              <a:gd name="T73" fmla="*/ 302 h 908"/>
              <a:gd name="T74" fmla="*/ 416 w 908"/>
              <a:gd name="T75" fmla="*/ 303 h 908"/>
              <a:gd name="T76" fmla="*/ 372 w 908"/>
              <a:gd name="T77" fmla="*/ 313 h 908"/>
              <a:gd name="T78" fmla="*/ 343 w 908"/>
              <a:gd name="T79" fmla="*/ 329 h 908"/>
              <a:gd name="T80" fmla="*/ 328 w 908"/>
              <a:gd name="T81" fmla="*/ 347 h 908"/>
              <a:gd name="T82" fmla="*/ 328 w 908"/>
              <a:gd name="T83" fmla="*/ 366 h 908"/>
              <a:gd name="T84" fmla="*/ 338 w 908"/>
              <a:gd name="T85" fmla="*/ 380 h 908"/>
              <a:gd name="T86" fmla="*/ 369 w 908"/>
              <a:gd name="T87" fmla="*/ 395 h 908"/>
              <a:gd name="T88" fmla="*/ 443 w 908"/>
              <a:gd name="T89" fmla="*/ 407 h 908"/>
              <a:gd name="T90" fmla="*/ 550 w 908"/>
              <a:gd name="T91" fmla="*/ 424 h 908"/>
              <a:gd name="T92" fmla="*/ 607 w 908"/>
              <a:gd name="T93" fmla="*/ 442 h 908"/>
              <a:gd name="T94" fmla="*/ 639 w 908"/>
              <a:gd name="T95" fmla="*/ 462 h 908"/>
              <a:gd name="T96" fmla="*/ 658 w 908"/>
              <a:gd name="T97" fmla="*/ 483 h 908"/>
              <a:gd name="T98" fmla="*/ 670 w 908"/>
              <a:gd name="T99" fmla="*/ 511 h 908"/>
              <a:gd name="T100" fmla="*/ 674 w 908"/>
              <a:gd name="T101" fmla="*/ 545 h 908"/>
              <a:gd name="T102" fmla="*/ 670 w 908"/>
              <a:gd name="T103" fmla="*/ 573 h 908"/>
              <a:gd name="T104" fmla="*/ 659 w 908"/>
              <a:gd name="T105" fmla="*/ 600 h 908"/>
              <a:gd name="T106" fmla="*/ 641 w 908"/>
              <a:gd name="T107" fmla="*/ 624 h 908"/>
              <a:gd name="T108" fmla="*/ 616 w 908"/>
              <a:gd name="T109" fmla="*/ 644 h 908"/>
              <a:gd name="T110" fmla="*/ 569 w 908"/>
              <a:gd name="T111" fmla="*/ 668 h 908"/>
              <a:gd name="T112" fmla="*/ 510 w 908"/>
              <a:gd name="T113" fmla="*/ 683 h 908"/>
              <a:gd name="T114" fmla="*/ 0 w 908"/>
              <a:gd name="T115" fmla="*/ 908 h 908"/>
              <a:gd name="T116" fmla="*/ 908 w 908"/>
              <a:gd name="T117" fmla="*/ 0 h 908"/>
              <a:gd name="T118" fmla="*/ 0 w 908"/>
              <a:gd name="T119" fmla="*/ 908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466" y="685"/>
                </a:moveTo>
                <a:lnTo>
                  <a:pt x="452" y="685"/>
                </a:lnTo>
                <a:lnTo>
                  <a:pt x="438" y="684"/>
                </a:lnTo>
                <a:lnTo>
                  <a:pt x="424" y="683"/>
                </a:lnTo>
                <a:lnTo>
                  <a:pt x="410" y="681"/>
                </a:lnTo>
                <a:lnTo>
                  <a:pt x="395" y="678"/>
                </a:lnTo>
                <a:lnTo>
                  <a:pt x="380" y="675"/>
                </a:lnTo>
                <a:lnTo>
                  <a:pt x="365" y="671"/>
                </a:lnTo>
                <a:lnTo>
                  <a:pt x="350" y="666"/>
                </a:lnTo>
                <a:lnTo>
                  <a:pt x="335" y="661"/>
                </a:lnTo>
                <a:lnTo>
                  <a:pt x="319" y="654"/>
                </a:lnTo>
                <a:lnTo>
                  <a:pt x="304" y="647"/>
                </a:lnTo>
                <a:lnTo>
                  <a:pt x="290" y="639"/>
                </a:lnTo>
                <a:lnTo>
                  <a:pt x="275" y="631"/>
                </a:lnTo>
                <a:lnTo>
                  <a:pt x="261" y="621"/>
                </a:lnTo>
                <a:lnTo>
                  <a:pt x="247" y="610"/>
                </a:lnTo>
                <a:lnTo>
                  <a:pt x="240" y="605"/>
                </a:lnTo>
                <a:lnTo>
                  <a:pt x="233" y="599"/>
                </a:lnTo>
                <a:lnTo>
                  <a:pt x="283" y="533"/>
                </a:lnTo>
                <a:lnTo>
                  <a:pt x="286" y="536"/>
                </a:lnTo>
                <a:lnTo>
                  <a:pt x="296" y="544"/>
                </a:lnTo>
                <a:lnTo>
                  <a:pt x="303" y="550"/>
                </a:lnTo>
                <a:lnTo>
                  <a:pt x="311" y="556"/>
                </a:lnTo>
                <a:lnTo>
                  <a:pt x="321" y="562"/>
                </a:lnTo>
                <a:lnTo>
                  <a:pt x="332" y="569"/>
                </a:lnTo>
                <a:lnTo>
                  <a:pt x="345" y="576"/>
                </a:lnTo>
                <a:lnTo>
                  <a:pt x="358" y="582"/>
                </a:lnTo>
                <a:lnTo>
                  <a:pt x="365" y="585"/>
                </a:lnTo>
                <a:lnTo>
                  <a:pt x="373" y="588"/>
                </a:lnTo>
                <a:lnTo>
                  <a:pt x="388" y="594"/>
                </a:lnTo>
                <a:lnTo>
                  <a:pt x="396" y="596"/>
                </a:lnTo>
                <a:lnTo>
                  <a:pt x="405" y="598"/>
                </a:lnTo>
                <a:lnTo>
                  <a:pt x="414" y="600"/>
                </a:lnTo>
                <a:lnTo>
                  <a:pt x="423" y="602"/>
                </a:lnTo>
                <a:lnTo>
                  <a:pt x="432" y="603"/>
                </a:lnTo>
                <a:lnTo>
                  <a:pt x="441" y="604"/>
                </a:lnTo>
                <a:lnTo>
                  <a:pt x="460" y="605"/>
                </a:lnTo>
                <a:lnTo>
                  <a:pt x="478" y="605"/>
                </a:lnTo>
                <a:lnTo>
                  <a:pt x="494" y="604"/>
                </a:lnTo>
                <a:lnTo>
                  <a:pt x="508" y="602"/>
                </a:lnTo>
                <a:lnTo>
                  <a:pt x="521" y="599"/>
                </a:lnTo>
                <a:lnTo>
                  <a:pt x="533" y="596"/>
                </a:lnTo>
                <a:lnTo>
                  <a:pt x="543" y="593"/>
                </a:lnTo>
                <a:lnTo>
                  <a:pt x="551" y="589"/>
                </a:lnTo>
                <a:lnTo>
                  <a:pt x="559" y="585"/>
                </a:lnTo>
                <a:lnTo>
                  <a:pt x="565" y="580"/>
                </a:lnTo>
                <a:lnTo>
                  <a:pt x="568" y="578"/>
                </a:lnTo>
                <a:lnTo>
                  <a:pt x="571" y="575"/>
                </a:lnTo>
                <a:lnTo>
                  <a:pt x="575" y="571"/>
                </a:lnTo>
                <a:lnTo>
                  <a:pt x="578" y="566"/>
                </a:lnTo>
                <a:lnTo>
                  <a:pt x="580" y="561"/>
                </a:lnTo>
                <a:lnTo>
                  <a:pt x="582" y="556"/>
                </a:lnTo>
                <a:lnTo>
                  <a:pt x="583" y="552"/>
                </a:lnTo>
                <a:lnTo>
                  <a:pt x="583" y="547"/>
                </a:lnTo>
                <a:lnTo>
                  <a:pt x="583" y="543"/>
                </a:lnTo>
                <a:lnTo>
                  <a:pt x="583" y="539"/>
                </a:lnTo>
                <a:lnTo>
                  <a:pt x="582" y="536"/>
                </a:lnTo>
                <a:lnTo>
                  <a:pt x="580" y="533"/>
                </a:lnTo>
                <a:lnTo>
                  <a:pt x="577" y="526"/>
                </a:lnTo>
                <a:lnTo>
                  <a:pt x="575" y="524"/>
                </a:lnTo>
                <a:lnTo>
                  <a:pt x="572" y="521"/>
                </a:lnTo>
                <a:lnTo>
                  <a:pt x="569" y="519"/>
                </a:lnTo>
                <a:lnTo>
                  <a:pt x="566" y="516"/>
                </a:lnTo>
                <a:lnTo>
                  <a:pt x="559" y="512"/>
                </a:lnTo>
                <a:lnTo>
                  <a:pt x="551" y="509"/>
                </a:lnTo>
                <a:lnTo>
                  <a:pt x="542" y="506"/>
                </a:lnTo>
                <a:lnTo>
                  <a:pt x="532" y="503"/>
                </a:lnTo>
                <a:lnTo>
                  <a:pt x="521" y="501"/>
                </a:lnTo>
                <a:lnTo>
                  <a:pt x="498" y="497"/>
                </a:lnTo>
                <a:lnTo>
                  <a:pt x="447" y="490"/>
                </a:lnTo>
                <a:lnTo>
                  <a:pt x="412" y="485"/>
                </a:lnTo>
                <a:lnTo>
                  <a:pt x="394" y="483"/>
                </a:lnTo>
                <a:lnTo>
                  <a:pt x="376" y="479"/>
                </a:lnTo>
                <a:lnTo>
                  <a:pt x="358" y="475"/>
                </a:lnTo>
                <a:lnTo>
                  <a:pt x="341" y="471"/>
                </a:lnTo>
                <a:lnTo>
                  <a:pt x="324" y="465"/>
                </a:lnTo>
                <a:lnTo>
                  <a:pt x="308" y="459"/>
                </a:lnTo>
                <a:lnTo>
                  <a:pt x="301" y="455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8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1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2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2"/>
                </a:lnTo>
                <a:lnTo>
                  <a:pt x="327" y="356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4"/>
                </a:lnTo>
                <a:lnTo>
                  <a:pt x="443" y="407"/>
                </a:lnTo>
                <a:lnTo>
                  <a:pt x="473" y="411"/>
                </a:lnTo>
                <a:lnTo>
                  <a:pt x="513" y="417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2"/>
                </a:lnTo>
                <a:lnTo>
                  <a:pt x="645" y="467"/>
                </a:lnTo>
                <a:lnTo>
                  <a:pt x="649" y="472"/>
                </a:lnTo>
                <a:lnTo>
                  <a:pt x="654" y="478"/>
                </a:lnTo>
                <a:lnTo>
                  <a:pt x="658" y="483"/>
                </a:lnTo>
                <a:lnTo>
                  <a:pt x="662" y="490"/>
                </a:lnTo>
                <a:lnTo>
                  <a:pt x="665" y="496"/>
                </a:lnTo>
                <a:lnTo>
                  <a:pt x="668" y="503"/>
                </a:lnTo>
                <a:lnTo>
                  <a:pt x="670" y="511"/>
                </a:lnTo>
                <a:lnTo>
                  <a:pt x="672" y="518"/>
                </a:lnTo>
                <a:lnTo>
                  <a:pt x="673" y="527"/>
                </a:lnTo>
                <a:lnTo>
                  <a:pt x="674" y="535"/>
                </a:lnTo>
                <a:lnTo>
                  <a:pt x="674" y="545"/>
                </a:lnTo>
                <a:lnTo>
                  <a:pt x="674" y="552"/>
                </a:lnTo>
                <a:lnTo>
                  <a:pt x="673" y="559"/>
                </a:lnTo>
                <a:lnTo>
                  <a:pt x="672" y="566"/>
                </a:lnTo>
                <a:lnTo>
                  <a:pt x="670" y="573"/>
                </a:lnTo>
                <a:lnTo>
                  <a:pt x="668" y="580"/>
                </a:lnTo>
                <a:lnTo>
                  <a:pt x="666" y="587"/>
                </a:lnTo>
                <a:lnTo>
                  <a:pt x="663" y="593"/>
                </a:lnTo>
                <a:lnTo>
                  <a:pt x="659" y="600"/>
                </a:lnTo>
                <a:lnTo>
                  <a:pt x="655" y="606"/>
                </a:lnTo>
                <a:lnTo>
                  <a:pt x="651" y="612"/>
                </a:lnTo>
                <a:lnTo>
                  <a:pt x="646" y="618"/>
                </a:lnTo>
                <a:lnTo>
                  <a:pt x="641" y="624"/>
                </a:lnTo>
                <a:lnTo>
                  <a:pt x="635" y="629"/>
                </a:lnTo>
                <a:lnTo>
                  <a:pt x="629" y="634"/>
                </a:lnTo>
                <a:lnTo>
                  <a:pt x="623" y="639"/>
                </a:lnTo>
                <a:lnTo>
                  <a:pt x="616" y="644"/>
                </a:lnTo>
                <a:lnTo>
                  <a:pt x="609" y="649"/>
                </a:lnTo>
                <a:lnTo>
                  <a:pt x="602" y="653"/>
                </a:lnTo>
                <a:lnTo>
                  <a:pt x="586" y="661"/>
                </a:lnTo>
                <a:lnTo>
                  <a:pt x="569" y="668"/>
                </a:lnTo>
                <a:lnTo>
                  <a:pt x="560" y="672"/>
                </a:lnTo>
                <a:lnTo>
                  <a:pt x="550" y="674"/>
                </a:lnTo>
                <a:lnTo>
                  <a:pt x="531" y="679"/>
                </a:lnTo>
                <a:lnTo>
                  <a:pt x="510" y="683"/>
                </a:lnTo>
                <a:lnTo>
                  <a:pt x="499" y="684"/>
                </a:lnTo>
                <a:lnTo>
                  <a:pt x="488" y="685"/>
                </a:lnTo>
                <a:lnTo>
                  <a:pt x="466" y="685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3" name="Freeform 20"/>
          <p:cNvSpPr>
            <a:spLocks noChangeAspect="1" noEditPoints="1"/>
          </p:cNvSpPr>
          <p:nvPr userDrawn="1"/>
        </p:nvSpPr>
        <p:spPr bwMode="auto">
          <a:xfrm>
            <a:off x="3917733" y="3857620"/>
            <a:ext cx="1306382" cy="1285880"/>
          </a:xfrm>
          <a:custGeom>
            <a:avLst/>
            <a:gdLst>
              <a:gd name="T0" fmla="*/ 908 w 908"/>
              <a:gd name="T1" fmla="*/ 453 h 908"/>
              <a:gd name="T2" fmla="*/ 0 w 908"/>
              <a:gd name="T3" fmla="*/ 453 h 908"/>
              <a:gd name="T4" fmla="*/ 431 w 908"/>
              <a:gd name="T5" fmla="*/ 684 h 908"/>
              <a:gd name="T6" fmla="*/ 386 w 908"/>
              <a:gd name="T7" fmla="*/ 675 h 908"/>
              <a:gd name="T8" fmla="*/ 344 w 908"/>
              <a:gd name="T9" fmla="*/ 657 h 908"/>
              <a:gd name="T10" fmla="*/ 307 w 908"/>
              <a:gd name="T11" fmla="*/ 632 h 908"/>
              <a:gd name="T12" fmla="*/ 276 w 908"/>
              <a:gd name="T13" fmla="*/ 601 h 908"/>
              <a:gd name="T14" fmla="*/ 251 w 908"/>
              <a:gd name="T15" fmla="*/ 564 h 908"/>
              <a:gd name="T16" fmla="*/ 233 w 908"/>
              <a:gd name="T17" fmla="*/ 523 h 908"/>
              <a:gd name="T18" fmla="*/ 223 w 908"/>
              <a:gd name="T19" fmla="*/ 477 h 908"/>
              <a:gd name="T20" fmla="*/ 223 w 908"/>
              <a:gd name="T21" fmla="*/ 429 h 908"/>
              <a:gd name="T22" fmla="*/ 233 w 908"/>
              <a:gd name="T23" fmla="*/ 383 h 908"/>
              <a:gd name="T24" fmla="*/ 251 w 908"/>
              <a:gd name="T25" fmla="*/ 342 h 908"/>
              <a:gd name="T26" fmla="*/ 276 w 908"/>
              <a:gd name="T27" fmla="*/ 305 h 908"/>
              <a:gd name="T28" fmla="*/ 307 w 908"/>
              <a:gd name="T29" fmla="*/ 274 h 908"/>
              <a:gd name="T30" fmla="*/ 344 w 908"/>
              <a:gd name="T31" fmla="*/ 249 h 908"/>
              <a:gd name="T32" fmla="*/ 386 w 908"/>
              <a:gd name="T33" fmla="*/ 231 h 908"/>
              <a:gd name="T34" fmla="*/ 431 w 908"/>
              <a:gd name="T35" fmla="*/ 222 h 908"/>
              <a:gd name="T36" fmla="*/ 479 w 908"/>
              <a:gd name="T37" fmla="*/ 222 h 908"/>
              <a:gd name="T38" fmla="*/ 524 w 908"/>
              <a:gd name="T39" fmla="*/ 231 h 908"/>
              <a:gd name="T40" fmla="*/ 565 w 908"/>
              <a:gd name="T41" fmla="*/ 249 h 908"/>
              <a:gd name="T42" fmla="*/ 602 w 908"/>
              <a:gd name="T43" fmla="*/ 274 h 908"/>
              <a:gd name="T44" fmla="*/ 634 w 908"/>
              <a:gd name="T45" fmla="*/ 305 h 908"/>
              <a:gd name="T46" fmla="*/ 659 w 908"/>
              <a:gd name="T47" fmla="*/ 342 h 908"/>
              <a:gd name="T48" fmla="*/ 676 w 908"/>
              <a:gd name="T49" fmla="*/ 383 h 908"/>
              <a:gd name="T50" fmla="*/ 685 w 908"/>
              <a:gd name="T51" fmla="*/ 429 h 908"/>
              <a:gd name="T52" fmla="*/ 685 w 908"/>
              <a:gd name="T53" fmla="*/ 477 h 908"/>
              <a:gd name="T54" fmla="*/ 676 w 908"/>
              <a:gd name="T55" fmla="*/ 523 h 908"/>
              <a:gd name="T56" fmla="*/ 659 w 908"/>
              <a:gd name="T57" fmla="*/ 564 h 908"/>
              <a:gd name="T58" fmla="*/ 634 w 908"/>
              <a:gd name="T59" fmla="*/ 601 h 908"/>
              <a:gd name="T60" fmla="*/ 602 w 908"/>
              <a:gd name="T61" fmla="*/ 632 h 908"/>
              <a:gd name="T62" fmla="*/ 565 w 908"/>
              <a:gd name="T63" fmla="*/ 657 h 908"/>
              <a:gd name="T64" fmla="*/ 524 w 908"/>
              <a:gd name="T65" fmla="*/ 675 h 908"/>
              <a:gd name="T66" fmla="*/ 479 w 908"/>
              <a:gd name="T67" fmla="*/ 684 h 908"/>
              <a:gd name="T68" fmla="*/ 440 w 908"/>
              <a:gd name="T69" fmla="*/ 302 h 908"/>
              <a:gd name="T70" fmla="*/ 406 w 908"/>
              <a:gd name="T71" fmla="*/ 309 h 908"/>
              <a:gd name="T72" fmla="*/ 381 w 908"/>
              <a:gd name="T73" fmla="*/ 321 h 908"/>
              <a:gd name="T74" fmla="*/ 359 w 908"/>
              <a:gd name="T75" fmla="*/ 338 h 908"/>
              <a:gd name="T76" fmla="*/ 341 w 908"/>
              <a:gd name="T77" fmla="*/ 359 h 908"/>
              <a:gd name="T78" fmla="*/ 323 w 908"/>
              <a:gd name="T79" fmla="*/ 391 h 908"/>
              <a:gd name="T80" fmla="*/ 315 w 908"/>
              <a:gd name="T81" fmla="*/ 420 h 908"/>
              <a:gd name="T82" fmla="*/ 313 w 908"/>
              <a:gd name="T83" fmla="*/ 470 h 908"/>
              <a:gd name="T84" fmla="*/ 323 w 908"/>
              <a:gd name="T85" fmla="*/ 515 h 908"/>
              <a:gd name="T86" fmla="*/ 341 w 908"/>
              <a:gd name="T87" fmla="*/ 547 h 908"/>
              <a:gd name="T88" fmla="*/ 359 w 908"/>
              <a:gd name="T89" fmla="*/ 568 h 908"/>
              <a:gd name="T90" fmla="*/ 387 w 908"/>
              <a:gd name="T91" fmla="*/ 588 h 908"/>
              <a:gd name="T92" fmla="*/ 426 w 908"/>
              <a:gd name="T93" fmla="*/ 602 h 908"/>
              <a:gd name="T94" fmla="*/ 469 w 908"/>
              <a:gd name="T95" fmla="*/ 604 h 908"/>
              <a:gd name="T96" fmla="*/ 504 w 908"/>
              <a:gd name="T97" fmla="*/ 597 h 908"/>
              <a:gd name="T98" fmla="*/ 529 w 908"/>
              <a:gd name="T99" fmla="*/ 585 h 908"/>
              <a:gd name="T100" fmla="*/ 551 w 908"/>
              <a:gd name="T101" fmla="*/ 568 h 908"/>
              <a:gd name="T102" fmla="*/ 569 w 908"/>
              <a:gd name="T103" fmla="*/ 547 h 908"/>
              <a:gd name="T104" fmla="*/ 586 w 908"/>
              <a:gd name="T105" fmla="*/ 515 h 908"/>
              <a:gd name="T106" fmla="*/ 595 w 908"/>
              <a:gd name="T107" fmla="*/ 486 h 908"/>
              <a:gd name="T108" fmla="*/ 597 w 908"/>
              <a:gd name="T109" fmla="*/ 436 h 908"/>
              <a:gd name="T110" fmla="*/ 586 w 908"/>
              <a:gd name="T111" fmla="*/ 391 h 908"/>
              <a:gd name="T112" fmla="*/ 569 w 908"/>
              <a:gd name="T113" fmla="*/ 359 h 908"/>
              <a:gd name="T114" fmla="*/ 551 w 908"/>
              <a:gd name="T115" fmla="*/ 338 h 908"/>
              <a:gd name="T116" fmla="*/ 523 w 908"/>
              <a:gd name="T117" fmla="*/ 318 h 908"/>
              <a:gd name="T118" fmla="*/ 484 w 908"/>
              <a:gd name="T119" fmla="*/ 304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0" y="908"/>
                </a:moveTo>
                <a:lnTo>
                  <a:pt x="454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4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  <a:moveTo>
                  <a:pt x="455" y="685"/>
                </a:moveTo>
                <a:lnTo>
                  <a:pt x="443" y="685"/>
                </a:lnTo>
                <a:lnTo>
                  <a:pt x="431" y="684"/>
                </a:lnTo>
                <a:lnTo>
                  <a:pt x="419" y="683"/>
                </a:lnTo>
                <a:lnTo>
                  <a:pt x="408" y="681"/>
                </a:lnTo>
                <a:lnTo>
                  <a:pt x="397" y="678"/>
                </a:lnTo>
                <a:lnTo>
                  <a:pt x="386" y="675"/>
                </a:lnTo>
                <a:lnTo>
                  <a:pt x="375" y="671"/>
                </a:lnTo>
                <a:lnTo>
                  <a:pt x="364" y="667"/>
                </a:lnTo>
                <a:lnTo>
                  <a:pt x="354" y="663"/>
                </a:lnTo>
                <a:lnTo>
                  <a:pt x="344" y="657"/>
                </a:lnTo>
                <a:lnTo>
                  <a:pt x="334" y="652"/>
                </a:lnTo>
                <a:lnTo>
                  <a:pt x="325" y="646"/>
                </a:lnTo>
                <a:lnTo>
                  <a:pt x="316" y="639"/>
                </a:lnTo>
                <a:lnTo>
                  <a:pt x="307" y="632"/>
                </a:lnTo>
                <a:lnTo>
                  <a:pt x="299" y="625"/>
                </a:lnTo>
                <a:lnTo>
                  <a:pt x="291" y="618"/>
                </a:lnTo>
                <a:lnTo>
                  <a:pt x="283" y="610"/>
                </a:lnTo>
                <a:lnTo>
                  <a:pt x="276" y="601"/>
                </a:lnTo>
                <a:lnTo>
                  <a:pt x="269" y="592"/>
                </a:lnTo>
                <a:lnTo>
                  <a:pt x="263" y="583"/>
                </a:lnTo>
                <a:lnTo>
                  <a:pt x="257" y="574"/>
                </a:lnTo>
                <a:lnTo>
                  <a:pt x="251" y="564"/>
                </a:lnTo>
                <a:lnTo>
                  <a:pt x="246" y="554"/>
                </a:lnTo>
                <a:lnTo>
                  <a:pt x="241" y="544"/>
                </a:lnTo>
                <a:lnTo>
                  <a:pt x="237" y="533"/>
                </a:lnTo>
                <a:lnTo>
                  <a:pt x="233" y="523"/>
                </a:lnTo>
                <a:lnTo>
                  <a:pt x="229" y="512"/>
                </a:lnTo>
                <a:lnTo>
                  <a:pt x="227" y="500"/>
                </a:lnTo>
                <a:lnTo>
                  <a:pt x="225" y="489"/>
                </a:lnTo>
                <a:lnTo>
                  <a:pt x="223" y="477"/>
                </a:lnTo>
                <a:lnTo>
                  <a:pt x="222" y="465"/>
                </a:lnTo>
                <a:lnTo>
                  <a:pt x="222" y="453"/>
                </a:lnTo>
                <a:lnTo>
                  <a:pt x="222" y="441"/>
                </a:lnTo>
                <a:lnTo>
                  <a:pt x="223" y="429"/>
                </a:lnTo>
                <a:lnTo>
                  <a:pt x="225" y="417"/>
                </a:lnTo>
                <a:lnTo>
                  <a:pt x="227" y="406"/>
                </a:lnTo>
                <a:lnTo>
                  <a:pt x="229" y="394"/>
                </a:lnTo>
                <a:lnTo>
                  <a:pt x="233" y="383"/>
                </a:lnTo>
                <a:lnTo>
                  <a:pt x="237" y="373"/>
                </a:lnTo>
                <a:lnTo>
                  <a:pt x="241" y="362"/>
                </a:lnTo>
                <a:lnTo>
                  <a:pt x="246" y="352"/>
                </a:lnTo>
                <a:lnTo>
                  <a:pt x="251" y="342"/>
                </a:lnTo>
                <a:lnTo>
                  <a:pt x="257" y="332"/>
                </a:lnTo>
                <a:lnTo>
                  <a:pt x="263" y="323"/>
                </a:lnTo>
                <a:lnTo>
                  <a:pt x="269" y="314"/>
                </a:lnTo>
                <a:lnTo>
                  <a:pt x="276" y="305"/>
                </a:lnTo>
                <a:lnTo>
                  <a:pt x="283" y="297"/>
                </a:lnTo>
                <a:lnTo>
                  <a:pt x="291" y="288"/>
                </a:lnTo>
                <a:lnTo>
                  <a:pt x="299" y="281"/>
                </a:lnTo>
                <a:lnTo>
                  <a:pt x="307" y="274"/>
                </a:lnTo>
                <a:lnTo>
                  <a:pt x="316" y="267"/>
                </a:lnTo>
                <a:lnTo>
                  <a:pt x="325" y="260"/>
                </a:lnTo>
                <a:lnTo>
                  <a:pt x="334" y="254"/>
                </a:lnTo>
                <a:lnTo>
                  <a:pt x="344" y="249"/>
                </a:lnTo>
                <a:lnTo>
                  <a:pt x="354" y="244"/>
                </a:lnTo>
                <a:lnTo>
                  <a:pt x="364" y="239"/>
                </a:lnTo>
                <a:lnTo>
                  <a:pt x="375" y="235"/>
                </a:lnTo>
                <a:lnTo>
                  <a:pt x="386" y="231"/>
                </a:lnTo>
                <a:lnTo>
                  <a:pt x="397" y="228"/>
                </a:lnTo>
                <a:lnTo>
                  <a:pt x="408" y="225"/>
                </a:lnTo>
                <a:lnTo>
                  <a:pt x="419" y="223"/>
                </a:lnTo>
                <a:lnTo>
                  <a:pt x="431" y="222"/>
                </a:lnTo>
                <a:lnTo>
                  <a:pt x="443" y="221"/>
                </a:lnTo>
                <a:lnTo>
                  <a:pt x="455" y="221"/>
                </a:lnTo>
                <a:lnTo>
                  <a:pt x="467" y="221"/>
                </a:lnTo>
                <a:lnTo>
                  <a:pt x="479" y="222"/>
                </a:lnTo>
                <a:lnTo>
                  <a:pt x="490" y="223"/>
                </a:lnTo>
                <a:lnTo>
                  <a:pt x="502" y="225"/>
                </a:lnTo>
                <a:lnTo>
                  <a:pt x="513" y="228"/>
                </a:lnTo>
                <a:lnTo>
                  <a:pt x="524" y="231"/>
                </a:lnTo>
                <a:lnTo>
                  <a:pt x="535" y="235"/>
                </a:lnTo>
                <a:lnTo>
                  <a:pt x="545" y="239"/>
                </a:lnTo>
                <a:lnTo>
                  <a:pt x="555" y="244"/>
                </a:lnTo>
                <a:lnTo>
                  <a:pt x="565" y="249"/>
                </a:lnTo>
                <a:lnTo>
                  <a:pt x="575" y="254"/>
                </a:lnTo>
                <a:lnTo>
                  <a:pt x="585" y="260"/>
                </a:lnTo>
                <a:lnTo>
                  <a:pt x="594" y="267"/>
                </a:lnTo>
                <a:lnTo>
                  <a:pt x="602" y="274"/>
                </a:lnTo>
                <a:lnTo>
                  <a:pt x="611" y="281"/>
                </a:lnTo>
                <a:lnTo>
                  <a:pt x="619" y="288"/>
                </a:lnTo>
                <a:lnTo>
                  <a:pt x="627" y="297"/>
                </a:lnTo>
                <a:lnTo>
                  <a:pt x="634" y="305"/>
                </a:lnTo>
                <a:lnTo>
                  <a:pt x="641" y="314"/>
                </a:lnTo>
                <a:lnTo>
                  <a:pt x="647" y="323"/>
                </a:lnTo>
                <a:lnTo>
                  <a:pt x="653" y="332"/>
                </a:lnTo>
                <a:lnTo>
                  <a:pt x="659" y="342"/>
                </a:lnTo>
                <a:lnTo>
                  <a:pt x="664" y="352"/>
                </a:lnTo>
                <a:lnTo>
                  <a:pt x="668" y="362"/>
                </a:lnTo>
                <a:lnTo>
                  <a:pt x="673" y="373"/>
                </a:lnTo>
                <a:lnTo>
                  <a:pt x="676" y="383"/>
                </a:lnTo>
                <a:lnTo>
                  <a:pt x="679" y="394"/>
                </a:lnTo>
                <a:lnTo>
                  <a:pt x="682" y="406"/>
                </a:lnTo>
                <a:lnTo>
                  <a:pt x="684" y="417"/>
                </a:lnTo>
                <a:lnTo>
                  <a:pt x="685" y="429"/>
                </a:lnTo>
                <a:lnTo>
                  <a:pt x="686" y="441"/>
                </a:lnTo>
                <a:lnTo>
                  <a:pt x="687" y="453"/>
                </a:lnTo>
                <a:lnTo>
                  <a:pt x="686" y="465"/>
                </a:lnTo>
                <a:lnTo>
                  <a:pt x="685" y="477"/>
                </a:lnTo>
                <a:lnTo>
                  <a:pt x="684" y="489"/>
                </a:lnTo>
                <a:lnTo>
                  <a:pt x="682" y="500"/>
                </a:lnTo>
                <a:lnTo>
                  <a:pt x="679" y="512"/>
                </a:lnTo>
                <a:lnTo>
                  <a:pt x="676" y="523"/>
                </a:lnTo>
                <a:lnTo>
                  <a:pt x="673" y="533"/>
                </a:lnTo>
                <a:lnTo>
                  <a:pt x="668" y="544"/>
                </a:lnTo>
                <a:lnTo>
                  <a:pt x="664" y="554"/>
                </a:lnTo>
                <a:lnTo>
                  <a:pt x="659" y="564"/>
                </a:lnTo>
                <a:lnTo>
                  <a:pt x="653" y="574"/>
                </a:lnTo>
                <a:lnTo>
                  <a:pt x="647" y="583"/>
                </a:lnTo>
                <a:lnTo>
                  <a:pt x="641" y="592"/>
                </a:lnTo>
                <a:lnTo>
                  <a:pt x="634" y="601"/>
                </a:lnTo>
                <a:lnTo>
                  <a:pt x="627" y="610"/>
                </a:lnTo>
                <a:lnTo>
                  <a:pt x="619" y="618"/>
                </a:lnTo>
                <a:lnTo>
                  <a:pt x="611" y="625"/>
                </a:lnTo>
                <a:lnTo>
                  <a:pt x="602" y="632"/>
                </a:lnTo>
                <a:lnTo>
                  <a:pt x="594" y="639"/>
                </a:lnTo>
                <a:lnTo>
                  <a:pt x="585" y="646"/>
                </a:lnTo>
                <a:lnTo>
                  <a:pt x="575" y="652"/>
                </a:lnTo>
                <a:lnTo>
                  <a:pt x="565" y="657"/>
                </a:lnTo>
                <a:lnTo>
                  <a:pt x="555" y="663"/>
                </a:lnTo>
                <a:lnTo>
                  <a:pt x="545" y="667"/>
                </a:lnTo>
                <a:lnTo>
                  <a:pt x="535" y="671"/>
                </a:lnTo>
                <a:lnTo>
                  <a:pt x="524" y="675"/>
                </a:lnTo>
                <a:lnTo>
                  <a:pt x="513" y="678"/>
                </a:lnTo>
                <a:lnTo>
                  <a:pt x="502" y="681"/>
                </a:lnTo>
                <a:lnTo>
                  <a:pt x="490" y="683"/>
                </a:lnTo>
                <a:lnTo>
                  <a:pt x="479" y="684"/>
                </a:lnTo>
                <a:lnTo>
                  <a:pt x="467" y="685"/>
                </a:lnTo>
                <a:lnTo>
                  <a:pt x="455" y="685"/>
                </a:lnTo>
                <a:close/>
                <a:moveTo>
                  <a:pt x="455" y="301"/>
                </a:moveTo>
                <a:lnTo>
                  <a:pt x="440" y="302"/>
                </a:lnTo>
                <a:lnTo>
                  <a:pt x="426" y="304"/>
                </a:lnTo>
                <a:lnTo>
                  <a:pt x="419" y="305"/>
                </a:lnTo>
                <a:lnTo>
                  <a:pt x="412" y="307"/>
                </a:lnTo>
                <a:lnTo>
                  <a:pt x="406" y="309"/>
                </a:lnTo>
                <a:lnTo>
                  <a:pt x="399" y="312"/>
                </a:lnTo>
                <a:lnTo>
                  <a:pt x="393" y="315"/>
                </a:lnTo>
                <a:lnTo>
                  <a:pt x="387" y="318"/>
                </a:lnTo>
                <a:lnTo>
                  <a:pt x="381" y="321"/>
                </a:lnTo>
                <a:lnTo>
                  <a:pt x="375" y="325"/>
                </a:lnTo>
                <a:lnTo>
                  <a:pt x="369" y="329"/>
                </a:lnTo>
                <a:lnTo>
                  <a:pt x="364" y="333"/>
                </a:lnTo>
                <a:lnTo>
                  <a:pt x="359" y="338"/>
                </a:lnTo>
                <a:lnTo>
                  <a:pt x="354" y="343"/>
                </a:lnTo>
                <a:lnTo>
                  <a:pt x="349" y="348"/>
                </a:lnTo>
                <a:lnTo>
                  <a:pt x="345" y="353"/>
                </a:lnTo>
                <a:lnTo>
                  <a:pt x="341" y="359"/>
                </a:lnTo>
                <a:lnTo>
                  <a:pt x="337" y="365"/>
                </a:lnTo>
                <a:lnTo>
                  <a:pt x="329" y="377"/>
                </a:lnTo>
                <a:lnTo>
                  <a:pt x="326" y="384"/>
                </a:lnTo>
                <a:lnTo>
                  <a:pt x="323" y="391"/>
                </a:lnTo>
                <a:lnTo>
                  <a:pt x="321" y="398"/>
                </a:lnTo>
                <a:lnTo>
                  <a:pt x="319" y="405"/>
                </a:lnTo>
                <a:lnTo>
                  <a:pt x="317" y="412"/>
                </a:lnTo>
                <a:lnTo>
                  <a:pt x="315" y="420"/>
                </a:lnTo>
                <a:lnTo>
                  <a:pt x="313" y="436"/>
                </a:lnTo>
                <a:lnTo>
                  <a:pt x="312" y="453"/>
                </a:lnTo>
                <a:lnTo>
                  <a:pt x="312" y="462"/>
                </a:lnTo>
                <a:lnTo>
                  <a:pt x="313" y="470"/>
                </a:lnTo>
                <a:lnTo>
                  <a:pt x="314" y="478"/>
                </a:lnTo>
                <a:lnTo>
                  <a:pt x="315" y="486"/>
                </a:lnTo>
                <a:lnTo>
                  <a:pt x="319" y="501"/>
                </a:lnTo>
                <a:lnTo>
                  <a:pt x="323" y="515"/>
                </a:lnTo>
                <a:lnTo>
                  <a:pt x="329" y="529"/>
                </a:lnTo>
                <a:lnTo>
                  <a:pt x="333" y="535"/>
                </a:lnTo>
                <a:lnTo>
                  <a:pt x="337" y="541"/>
                </a:lnTo>
                <a:lnTo>
                  <a:pt x="341" y="547"/>
                </a:lnTo>
                <a:lnTo>
                  <a:pt x="345" y="553"/>
                </a:lnTo>
                <a:lnTo>
                  <a:pt x="349" y="558"/>
                </a:lnTo>
                <a:lnTo>
                  <a:pt x="354" y="563"/>
                </a:lnTo>
                <a:lnTo>
                  <a:pt x="359" y="568"/>
                </a:lnTo>
                <a:lnTo>
                  <a:pt x="364" y="573"/>
                </a:lnTo>
                <a:lnTo>
                  <a:pt x="369" y="577"/>
                </a:lnTo>
                <a:lnTo>
                  <a:pt x="375" y="581"/>
                </a:lnTo>
                <a:lnTo>
                  <a:pt x="387" y="588"/>
                </a:lnTo>
                <a:lnTo>
                  <a:pt x="393" y="591"/>
                </a:lnTo>
                <a:lnTo>
                  <a:pt x="399" y="594"/>
                </a:lnTo>
                <a:lnTo>
                  <a:pt x="412" y="599"/>
                </a:lnTo>
                <a:lnTo>
                  <a:pt x="426" y="602"/>
                </a:lnTo>
                <a:lnTo>
                  <a:pt x="433" y="604"/>
                </a:lnTo>
                <a:lnTo>
                  <a:pt x="440" y="604"/>
                </a:lnTo>
                <a:lnTo>
                  <a:pt x="455" y="605"/>
                </a:lnTo>
                <a:lnTo>
                  <a:pt x="469" y="604"/>
                </a:lnTo>
                <a:lnTo>
                  <a:pt x="484" y="602"/>
                </a:lnTo>
                <a:lnTo>
                  <a:pt x="490" y="601"/>
                </a:lnTo>
                <a:lnTo>
                  <a:pt x="497" y="599"/>
                </a:lnTo>
                <a:lnTo>
                  <a:pt x="504" y="597"/>
                </a:lnTo>
                <a:lnTo>
                  <a:pt x="510" y="594"/>
                </a:lnTo>
                <a:lnTo>
                  <a:pt x="517" y="591"/>
                </a:lnTo>
                <a:lnTo>
                  <a:pt x="523" y="588"/>
                </a:lnTo>
                <a:lnTo>
                  <a:pt x="529" y="585"/>
                </a:lnTo>
                <a:lnTo>
                  <a:pt x="535" y="581"/>
                </a:lnTo>
                <a:lnTo>
                  <a:pt x="540" y="577"/>
                </a:lnTo>
                <a:lnTo>
                  <a:pt x="546" y="573"/>
                </a:lnTo>
                <a:lnTo>
                  <a:pt x="551" y="568"/>
                </a:lnTo>
                <a:lnTo>
                  <a:pt x="556" y="563"/>
                </a:lnTo>
                <a:lnTo>
                  <a:pt x="560" y="558"/>
                </a:lnTo>
                <a:lnTo>
                  <a:pt x="565" y="553"/>
                </a:lnTo>
                <a:lnTo>
                  <a:pt x="569" y="547"/>
                </a:lnTo>
                <a:lnTo>
                  <a:pt x="573" y="541"/>
                </a:lnTo>
                <a:lnTo>
                  <a:pt x="580" y="529"/>
                </a:lnTo>
                <a:lnTo>
                  <a:pt x="583" y="522"/>
                </a:lnTo>
                <a:lnTo>
                  <a:pt x="586" y="515"/>
                </a:lnTo>
                <a:lnTo>
                  <a:pt x="589" y="508"/>
                </a:lnTo>
                <a:lnTo>
                  <a:pt x="591" y="501"/>
                </a:lnTo>
                <a:lnTo>
                  <a:pt x="593" y="494"/>
                </a:lnTo>
                <a:lnTo>
                  <a:pt x="595" y="486"/>
                </a:lnTo>
                <a:lnTo>
                  <a:pt x="597" y="470"/>
                </a:lnTo>
                <a:lnTo>
                  <a:pt x="597" y="453"/>
                </a:lnTo>
                <a:lnTo>
                  <a:pt x="597" y="444"/>
                </a:lnTo>
                <a:lnTo>
                  <a:pt x="597" y="436"/>
                </a:lnTo>
                <a:lnTo>
                  <a:pt x="596" y="428"/>
                </a:lnTo>
                <a:lnTo>
                  <a:pt x="595" y="420"/>
                </a:lnTo>
                <a:lnTo>
                  <a:pt x="591" y="405"/>
                </a:lnTo>
                <a:lnTo>
                  <a:pt x="586" y="391"/>
                </a:lnTo>
                <a:lnTo>
                  <a:pt x="580" y="377"/>
                </a:lnTo>
                <a:lnTo>
                  <a:pt x="577" y="371"/>
                </a:lnTo>
                <a:lnTo>
                  <a:pt x="573" y="365"/>
                </a:lnTo>
                <a:lnTo>
                  <a:pt x="569" y="359"/>
                </a:lnTo>
                <a:lnTo>
                  <a:pt x="565" y="353"/>
                </a:lnTo>
                <a:lnTo>
                  <a:pt x="560" y="348"/>
                </a:lnTo>
                <a:lnTo>
                  <a:pt x="556" y="343"/>
                </a:lnTo>
                <a:lnTo>
                  <a:pt x="551" y="338"/>
                </a:lnTo>
                <a:lnTo>
                  <a:pt x="546" y="333"/>
                </a:lnTo>
                <a:lnTo>
                  <a:pt x="540" y="329"/>
                </a:lnTo>
                <a:lnTo>
                  <a:pt x="535" y="325"/>
                </a:lnTo>
                <a:lnTo>
                  <a:pt x="523" y="318"/>
                </a:lnTo>
                <a:lnTo>
                  <a:pt x="517" y="315"/>
                </a:lnTo>
                <a:lnTo>
                  <a:pt x="510" y="312"/>
                </a:lnTo>
                <a:lnTo>
                  <a:pt x="497" y="307"/>
                </a:lnTo>
                <a:lnTo>
                  <a:pt x="484" y="304"/>
                </a:lnTo>
                <a:lnTo>
                  <a:pt x="477" y="303"/>
                </a:lnTo>
                <a:lnTo>
                  <a:pt x="469" y="302"/>
                </a:lnTo>
                <a:lnTo>
                  <a:pt x="455" y="30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4" name="Freeform 21"/>
          <p:cNvSpPr>
            <a:spLocks noEditPoints="1"/>
          </p:cNvSpPr>
          <p:nvPr userDrawn="1"/>
        </p:nvSpPr>
        <p:spPr bwMode="auto">
          <a:xfrm>
            <a:off x="1305429" y="2572336"/>
            <a:ext cx="1306629" cy="1285880"/>
          </a:xfrm>
          <a:custGeom>
            <a:avLst/>
            <a:gdLst>
              <a:gd name="T0" fmla="*/ 908 w 908"/>
              <a:gd name="T1" fmla="*/ 453 h 907"/>
              <a:gd name="T2" fmla="*/ 0 w 908"/>
              <a:gd name="T3" fmla="*/ 453 h 907"/>
              <a:gd name="T4" fmla="*/ 591 w 908"/>
              <a:gd name="T5" fmla="*/ 623 h 907"/>
              <a:gd name="T6" fmla="*/ 572 w 908"/>
              <a:gd name="T7" fmla="*/ 643 h 907"/>
              <a:gd name="T8" fmla="*/ 532 w 908"/>
              <a:gd name="T9" fmla="*/ 668 h 907"/>
              <a:gd name="T10" fmla="*/ 494 w 908"/>
              <a:gd name="T11" fmla="*/ 681 h 907"/>
              <a:gd name="T12" fmla="*/ 450 w 908"/>
              <a:gd name="T13" fmla="*/ 685 h 907"/>
              <a:gd name="T14" fmla="*/ 404 w 908"/>
              <a:gd name="T15" fmla="*/ 681 h 907"/>
              <a:gd name="T16" fmla="*/ 361 w 908"/>
              <a:gd name="T17" fmla="*/ 667 h 907"/>
              <a:gd name="T18" fmla="*/ 323 w 908"/>
              <a:gd name="T19" fmla="*/ 646 h 907"/>
              <a:gd name="T20" fmla="*/ 290 w 908"/>
              <a:gd name="T21" fmla="*/ 618 h 907"/>
              <a:gd name="T22" fmla="*/ 264 w 908"/>
              <a:gd name="T23" fmla="*/ 583 h 907"/>
              <a:gd name="T24" fmla="*/ 244 w 908"/>
              <a:gd name="T25" fmla="*/ 544 h 907"/>
              <a:gd name="T26" fmla="*/ 231 w 908"/>
              <a:gd name="T27" fmla="*/ 500 h 907"/>
              <a:gd name="T28" fmla="*/ 227 w 908"/>
              <a:gd name="T29" fmla="*/ 453 h 907"/>
              <a:gd name="T30" fmla="*/ 231 w 908"/>
              <a:gd name="T31" fmla="*/ 406 h 907"/>
              <a:gd name="T32" fmla="*/ 240 w 908"/>
              <a:gd name="T33" fmla="*/ 373 h 907"/>
              <a:gd name="T34" fmla="*/ 258 w 908"/>
              <a:gd name="T35" fmla="*/ 332 h 907"/>
              <a:gd name="T36" fmla="*/ 283 w 908"/>
              <a:gd name="T37" fmla="*/ 297 h 907"/>
              <a:gd name="T38" fmla="*/ 310 w 908"/>
              <a:gd name="T39" fmla="*/ 270 h 907"/>
              <a:gd name="T40" fmla="*/ 342 w 908"/>
              <a:gd name="T41" fmla="*/ 249 h 907"/>
              <a:gd name="T42" fmla="*/ 382 w 908"/>
              <a:gd name="T43" fmla="*/ 231 h 907"/>
              <a:gd name="T44" fmla="*/ 427 w 908"/>
              <a:gd name="T45" fmla="*/ 222 h 907"/>
              <a:gd name="T46" fmla="*/ 473 w 908"/>
              <a:gd name="T47" fmla="*/ 222 h 907"/>
              <a:gd name="T48" fmla="*/ 513 w 908"/>
              <a:gd name="T49" fmla="*/ 231 h 907"/>
              <a:gd name="T50" fmla="*/ 548 w 908"/>
              <a:gd name="T51" fmla="*/ 247 h 907"/>
              <a:gd name="T52" fmla="*/ 571 w 908"/>
              <a:gd name="T53" fmla="*/ 263 h 907"/>
              <a:gd name="T54" fmla="*/ 591 w 908"/>
              <a:gd name="T55" fmla="*/ 230 h 907"/>
              <a:gd name="T56" fmla="*/ 450 w 908"/>
              <a:gd name="T57" fmla="*/ 306 h 907"/>
              <a:gd name="T58" fmla="*/ 417 w 908"/>
              <a:gd name="T59" fmla="*/ 311 h 907"/>
              <a:gd name="T60" fmla="*/ 383 w 908"/>
              <a:gd name="T61" fmla="*/ 327 h 907"/>
              <a:gd name="T62" fmla="*/ 351 w 908"/>
              <a:gd name="T63" fmla="*/ 356 h 907"/>
              <a:gd name="T64" fmla="*/ 332 w 908"/>
              <a:gd name="T65" fmla="*/ 386 h 907"/>
              <a:gd name="T66" fmla="*/ 318 w 908"/>
              <a:gd name="T67" fmla="*/ 434 h 907"/>
              <a:gd name="T68" fmla="*/ 317 w 908"/>
              <a:gd name="T69" fmla="*/ 484 h 907"/>
              <a:gd name="T70" fmla="*/ 325 w 908"/>
              <a:gd name="T71" fmla="*/ 518 h 907"/>
              <a:gd name="T72" fmla="*/ 336 w 908"/>
              <a:gd name="T73" fmla="*/ 545 h 907"/>
              <a:gd name="T74" fmla="*/ 351 w 908"/>
              <a:gd name="T75" fmla="*/ 568 h 907"/>
              <a:gd name="T76" fmla="*/ 371 w 908"/>
              <a:gd name="T77" fmla="*/ 589 h 907"/>
              <a:gd name="T78" fmla="*/ 396 w 908"/>
              <a:gd name="T79" fmla="*/ 605 h 907"/>
              <a:gd name="T80" fmla="*/ 425 w 908"/>
              <a:gd name="T81" fmla="*/ 615 h 907"/>
              <a:gd name="T82" fmla="*/ 458 w 908"/>
              <a:gd name="T83" fmla="*/ 618 h 907"/>
              <a:gd name="T84" fmla="*/ 509 w 908"/>
              <a:gd name="T85" fmla="*/ 609 h 907"/>
              <a:gd name="T86" fmla="*/ 537 w 908"/>
              <a:gd name="T87" fmla="*/ 593 h 907"/>
              <a:gd name="T88" fmla="*/ 557 w 908"/>
              <a:gd name="T89" fmla="*/ 576 h 907"/>
              <a:gd name="T90" fmla="*/ 576 w 908"/>
              <a:gd name="T91" fmla="*/ 546 h 907"/>
              <a:gd name="T92" fmla="*/ 589 w 908"/>
              <a:gd name="T93" fmla="*/ 508 h 907"/>
              <a:gd name="T94" fmla="*/ 594 w 908"/>
              <a:gd name="T95" fmla="*/ 472 h 907"/>
              <a:gd name="T96" fmla="*/ 592 w 908"/>
              <a:gd name="T97" fmla="*/ 434 h 907"/>
              <a:gd name="T98" fmla="*/ 582 w 908"/>
              <a:gd name="T99" fmla="*/ 392 h 907"/>
              <a:gd name="T100" fmla="*/ 569 w 908"/>
              <a:gd name="T101" fmla="*/ 365 h 907"/>
              <a:gd name="T102" fmla="*/ 542 w 908"/>
              <a:gd name="T103" fmla="*/ 334 h 907"/>
              <a:gd name="T104" fmla="*/ 515 w 908"/>
              <a:gd name="T105" fmla="*/ 317 h 907"/>
              <a:gd name="T106" fmla="*/ 490 w 908"/>
              <a:gd name="T107" fmla="*/ 309 h 907"/>
              <a:gd name="T108" fmla="*/ 458 w 908"/>
              <a:gd name="T109" fmla="*/ 305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  <a:moveTo>
                  <a:pt x="680" y="676"/>
                </a:moveTo>
                <a:lnTo>
                  <a:pt x="591" y="676"/>
                </a:lnTo>
                <a:lnTo>
                  <a:pt x="591" y="623"/>
                </a:lnTo>
                <a:lnTo>
                  <a:pt x="588" y="627"/>
                </a:lnTo>
                <a:lnTo>
                  <a:pt x="585" y="630"/>
                </a:lnTo>
                <a:lnTo>
                  <a:pt x="579" y="636"/>
                </a:lnTo>
                <a:lnTo>
                  <a:pt x="572" y="643"/>
                </a:lnTo>
                <a:lnTo>
                  <a:pt x="564" y="649"/>
                </a:lnTo>
                <a:lnTo>
                  <a:pt x="549" y="659"/>
                </a:lnTo>
                <a:lnTo>
                  <a:pt x="541" y="664"/>
                </a:lnTo>
                <a:lnTo>
                  <a:pt x="532" y="668"/>
                </a:lnTo>
                <a:lnTo>
                  <a:pt x="523" y="672"/>
                </a:lnTo>
                <a:lnTo>
                  <a:pt x="514" y="676"/>
                </a:lnTo>
                <a:lnTo>
                  <a:pt x="504" y="678"/>
                </a:lnTo>
                <a:lnTo>
                  <a:pt x="494" y="681"/>
                </a:lnTo>
                <a:lnTo>
                  <a:pt x="484" y="683"/>
                </a:lnTo>
                <a:lnTo>
                  <a:pt x="473" y="684"/>
                </a:lnTo>
                <a:lnTo>
                  <a:pt x="462" y="685"/>
                </a:lnTo>
                <a:lnTo>
                  <a:pt x="450" y="685"/>
                </a:lnTo>
                <a:lnTo>
                  <a:pt x="439" y="685"/>
                </a:lnTo>
                <a:lnTo>
                  <a:pt x="427" y="684"/>
                </a:lnTo>
                <a:lnTo>
                  <a:pt x="415" y="683"/>
                </a:lnTo>
                <a:lnTo>
                  <a:pt x="404" y="681"/>
                </a:lnTo>
                <a:lnTo>
                  <a:pt x="393" y="678"/>
                </a:lnTo>
                <a:lnTo>
                  <a:pt x="382" y="675"/>
                </a:lnTo>
                <a:lnTo>
                  <a:pt x="372" y="671"/>
                </a:lnTo>
                <a:lnTo>
                  <a:pt x="361" y="667"/>
                </a:lnTo>
                <a:lnTo>
                  <a:pt x="351" y="663"/>
                </a:lnTo>
                <a:lnTo>
                  <a:pt x="342" y="657"/>
                </a:lnTo>
                <a:lnTo>
                  <a:pt x="332" y="652"/>
                </a:lnTo>
                <a:lnTo>
                  <a:pt x="323" y="646"/>
                </a:lnTo>
                <a:lnTo>
                  <a:pt x="315" y="639"/>
                </a:lnTo>
                <a:lnTo>
                  <a:pt x="306" y="633"/>
                </a:lnTo>
                <a:lnTo>
                  <a:pt x="298" y="625"/>
                </a:lnTo>
                <a:lnTo>
                  <a:pt x="290" y="618"/>
                </a:lnTo>
                <a:lnTo>
                  <a:pt x="283" y="609"/>
                </a:lnTo>
                <a:lnTo>
                  <a:pt x="276" y="601"/>
                </a:lnTo>
                <a:lnTo>
                  <a:pt x="270" y="592"/>
                </a:lnTo>
                <a:lnTo>
                  <a:pt x="264" y="583"/>
                </a:lnTo>
                <a:lnTo>
                  <a:pt x="258" y="574"/>
                </a:lnTo>
                <a:lnTo>
                  <a:pt x="253" y="564"/>
                </a:lnTo>
                <a:lnTo>
                  <a:pt x="248" y="554"/>
                </a:lnTo>
                <a:lnTo>
                  <a:pt x="244" y="544"/>
                </a:lnTo>
                <a:lnTo>
                  <a:pt x="240" y="533"/>
                </a:lnTo>
                <a:lnTo>
                  <a:pt x="236" y="522"/>
                </a:lnTo>
                <a:lnTo>
                  <a:pt x="233" y="511"/>
                </a:lnTo>
                <a:lnTo>
                  <a:pt x="231" y="500"/>
                </a:lnTo>
                <a:lnTo>
                  <a:pt x="229" y="488"/>
                </a:lnTo>
                <a:lnTo>
                  <a:pt x="228" y="477"/>
                </a:lnTo>
                <a:lnTo>
                  <a:pt x="227" y="465"/>
                </a:lnTo>
                <a:lnTo>
                  <a:pt x="227" y="453"/>
                </a:lnTo>
                <a:lnTo>
                  <a:pt x="227" y="441"/>
                </a:lnTo>
                <a:lnTo>
                  <a:pt x="228" y="429"/>
                </a:lnTo>
                <a:lnTo>
                  <a:pt x="229" y="417"/>
                </a:lnTo>
                <a:lnTo>
                  <a:pt x="231" y="406"/>
                </a:lnTo>
                <a:lnTo>
                  <a:pt x="233" y="395"/>
                </a:lnTo>
                <a:lnTo>
                  <a:pt x="235" y="389"/>
                </a:lnTo>
                <a:lnTo>
                  <a:pt x="236" y="384"/>
                </a:lnTo>
                <a:lnTo>
                  <a:pt x="240" y="373"/>
                </a:lnTo>
                <a:lnTo>
                  <a:pt x="244" y="362"/>
                </a:lnTo>
                <a:lnTo>
                  <a:pt x="248" y="352"/>
                </a:lnTo>
                <a:lnTo>
                  <a:pt x="253" y="342"/>
                </a:lnTo>
                <a:lnTo>
                  <a:pt x="258" y="332"/>
                </a:lnTo>
                <a:lnTo>
                  <a:pt x="264" y="323"/>
                </a:lnTo>
                <a:lnTo>
                  <a:pt x="270" y="314"/>
                </a:lnTo>
                <a:lnTo>
                  <a:pt x="276" y="305"/>
                </a:lnTo>
                <a:lnTo>
                  <a:pt x="283" y="297"/>
                </a:lnTo>
                <a:lnTo>
                  <a:pt x="290" y="289"/>
                </a:lnTo>
                <a:lnTo>
                  <a:pt x="298" y="281"/>
                </a:lnTo>
                <a:lnTo>
                  <a:pt x="306" y="274"/>
                </a:lnTo>
                <a:lnTo>
                  <a:pt x="310" y="270"/>
                </a:lnTo>
                <a:lnTo>
                  <a:pt x="315" y="267"/>
                </a:lnTo>
                <a:lnTo>
                  <a:pt x="323" y="260"/>
                </a:lnTo>
                <a:lnTo>
                  <a:pt x="332" y="254"/>
                </a:lnTo>
                <a:lnTo>
                  <a:pt x="342" y="249"/>
                </a:lnTo>
                <a:lnTo>
                  <a:pt x="351" y="244"/>
                </a:lnTo>
                <a:lnTo>
                  <a:pt x="361" y="239"/>
                </a:lnTo>
                <a:lnTo>
                  <a:pt x="372" y="235"/>
                </a:lnTo>
                <a:lnTo>
                  <a:pt x="382" y="231"/>
                </a:lnTo>
                <a:lnTo>
                  <a:pt x="393" y="228"/>
                </a:lnTo>
                <a:lnTo>
                  <a:pt x="404" y="226"/>
                </a:lnTo>
                <a:lnTo>
                  <a:pt x="415" y="224"/>
                </a:lnTo>
                <a:lnTo>
                  <a:pt x="427" y="222"/>
                </a:lnTo>
                <a:lnTo>
                  <a:pt x="439" y="221"/>
                </a:lnTo>
                <a:lnTo>
                  <a:pt x="450" y="221"/>
                </a:lnTo>
                <a:lnTo>
                  <a:pt x="462" y="221"/>
                </a:lnTo>
                <a:lnTo>
                  <a:pt x="473" y="222"/>
                </a:lnTo>
                <a:lnTo>
                  <a:pt x="483" y="223"/>
                </a:lnTo>
                <a:lnTo>
                  <a:pt x="494" y="225"/>
                </a:lnTo>
                <a:lnTo>
                  <a:pt x="504" y="228"/>
                </a:lnTo>
                <a:lnTo>
                  <a:pt x="513" y="231"/>
                </a:lnTo>
                <a:lnTo>
                  <a:pt x="523" y="234"/>
                </a:lnTo>
                <a:lnTo>
                  <a:pt x="532" y="238"/>
                </a:lnTo>
                <a:lnTo>
                  <a:pt x="540" y="242"/>
                </a:lnTo>
                <a:lnTo>
                  <a:pt x="548" y="247"/>
                </a:lnTo>
                <a:lnTo>
                  <a:pt x="556" y="252"/>
                </a:lnTo>
                <a:lnTo>
                  <a:pt x="560" y="254"/>
                </a:lnTo>
                <a:lnTo>
                  <a:pt x="564" y="257"/>
                </a:lnTo>
                <a:lnTo>
                  <a:pt x="571" y="263"/>
                </a:lnTo>
                <a:lnTo>
                  <a:pt x="578" y="269"/>
                </a:lnTo>
                <a:lnTo>
                  <a:pt x="585" y="276"/>
                </a:lnTo>
                <a:lnTo>
                  <a:pt x="591" y="282"/>
                </a:lnTo>
                <a:lnTo>
                  <a:pt x="591" y="230"/>
                </a:lnTo>
                <a:lnTo>
                  <a:pt x="680" y="230"/>
                </a:lnTo>
                <a:lnTo>
                  <a:pt x="680" y="676"/>
                </a:lnTo>
                <a:close/>
                <a:moveTo>
                  <a:pt x="458" y="305"/>
                </a:moveTo>
                <a:lnTo>
                  <a:pt x="450" y="306"/>
                </a:lnTo>
                <a:lnTo>
                  <a:pt x="441" y="306"/>
                </a:lnTo>
                <a:lnTo>
                  <a:pt x="433" y="308"/>
                </a:lnTo>
                <a:lnTo>
                  <a:pt x="425" y="309"/>
                </a:lnTo>
                <a:lnTo>
                  <a:pt x="417" y="311"/>
                </a:lnTo>
                <a:lnTo>
                  <a:pt x="410" y="314"/>
                </a:lnTo>
                <a:lnTo>
                  <a:pt x="402" y="316"/>
                </a:lnTo>
                <a:lnTo>
                  <a:pt x="396" y="319"/>
                </a:lnTo>
                <a:lnTo>
                  <a:pt x="383" y="327"/>
                </a:lnTo>
                <a:lnTo>
                  <a:pt x="371" y="335"/>
                </a:lnTo>
                <a:lnTo>
                  <a:pt x="366" y="340"/>
                </a:lnTo>
                <a:lnTo>
                  <a:pt x="361" y="345"/>
                </a:lnTo>
                <a:lnTo>
                  <a:pt x="351" y="356"/>
                </a:lnTo>
                <a:lnTo>
                  <a:pt x="347" y="362"/>
                </a:lnTo>
                <a:lnTo>
                  <a:pt x="343" y="367"/>
                </a:lnTo>
                <a:lnTo>
                  <a:pt x="336" y="380"/>
                </a:lnTo>
                <a:lnTo>
                  <a:pt x="332" y="386"/>
                </a:lnTo>
                <a:lnTo>
                  <a:pt x="330" y="393"/>
                </a:lnTo>
                <a:lnTo>
                  <a:pt x="325" y="406"/>
                </a:lnTo>
                <a:lnTo>
                  <a:pt x="321" y="420"/>
                </a:lnTo>
                <a:lnTo>
                  <a:pt x="318" y="434"/>
                </a:lnTo>
                <a:lnTo>
                  <a:pt x="316" y="448"/>
                </a:lnTo>
                <a:lnTo>
                  <a:pt x="316" y="462"/>
                </a:lnTo>
                <a:lnTo>
                  <a:pt x="316" y="476"/>
                </a:lnTo>
                <a:lnTo>
                  <a:pt x="317" y="484"/>
                </a:lnTo>
                <a:lnTo>
                  <a:pt x="318" y="491"/>
                </a:lnTo>
                <a:lnTo>
                  <a:pt x="321" y="505"/>
                </a:lnTo>
                <a:lnTo>
                  <a:pt x="323" y="511"/>
                </a:lnTo>
                <a:lnTo>
                  <a:pt x="325" y="518"/>
                </a:lnTo>
                <a:lnTo>
                  <a:pt x="327" y="525"/>
                </a:lnTo>
                <a:lnTo>
                  <a:pt x="330" y="532"/>
                </a:lnTo>
                <a:lnTo>
                  <a:pt x="332" y="538"/>
                </a:lnTo>
                <a:lnTo>
                  <a:pt x="336" y="545"/>
                </a:lnTo>
                <a:lnTo>
                  <a:pt x="339" y="551"/>
                </a:lnTo>
                <a:lnTo>
                  <a:pt x="343" y="557"/>
                </a:lnTo>
                <a:lnTo>
                  <a:pt x="347" y="563"/>
                </a:lnTo>
                <a:lnTo>
                  <a:pt x="351" y="568"/>
                </a:lnTo>
                <a:lnTo>
                  <a:pt x="356" y="574"/>
                </a:lnTo>
                <a:lnTo>
                  <a:pt x="361" y="579"/>
                </a:lnTo>
                <a:lnTo>
                  <a:pt x="366" y="584"/>
                </a:lnTo>
                <a:lnTo>
                  <a:pt x="371" y="589"/>
                </a:lnTo>
                <a:lnTo>
                  <a:pt x="377" y="593"/>
                </a:lnTo>
                <a:lnTo>
                  <a:pt x="383" y="597"/>
                </a:lnTo>
                <a:lnTo>
                  <a:pt x="389" y="601"/>
                </a:lnTo>
                <a:lnTo>
                  <a:pt x="396" y="605"/>
                </a:lnTo>
                <a:lnTo>
                  <a:pt x="402" y="608"/>
                </a:lnTo>
                <a:lnTo>
                  <a:pt x="410" y="610"/>
                </a:lnTo>
                <a:lnTo>
                  <a:pt x="417" y="613"/>
                </a:lnTo>
                <a:lnTo>
                  <a:pt x="425" y="615"/>
                </a:lnTo>
                <a:lnTo>
                  <a:pt x="433" y="616"/>
                </a:lnTo>
                <a:lnTo>
                  <a:pt x="441" y="617"/>
                </a:lnTo>
                <a:lnTo>
                  <a:pt x="450" y="618"/>
                </a:lnTo>
                <a:lnTo>
                  <a:pt x="458" y="618"/>
                </a:lnTo>
                <a:lnTo>
                  <a:pt x="471" y="618"/>
                </a:lnTo>
                <a:lnTo>
                  <a:pt x="484" y="616"/>
                </a:lnTo>
                <a:lnTo>
                  <a:pt x="496" y="613"/>
                </a:lnTo>
                <a:lnTo>
                  <a:pt x="509" y="609"/>
                </a:lnTo>
                <a:lnTo>
                  <a:pt x="515" y="607"/>
                </a:lnTo>
                <a:lnTo>
                  <a:pt x="520" y="604"/>
                </a:lnTo>
                <a:lnTo>
                  <a:pt x="532" y="597"/>
                </a:lnTo>
                <a:lnTo>
                  <a:pt x="537" y="593"/>
                </a:lnTo>
                <a:lnTo>
                  <a:pt x="542" y="589"/>
                </a:lnTo>
                <a:lnTo>
                  <a:pt x="547" y="585"/>
                </a:lnTo>
                <a:lnTo>
                  <a:pt x="552" y="580"/>
                </a:lnTo>
                <a:lnTo>
                  <a:pt x="557" y="576"/>
                </a:lnTo>
                <a:lnTo>
                  <a:pt x="561" y="570"/>
                </a:lnTo>
                <a:lnTo>
                  <a:pt x="565" y="565"/>
                </a:lnTo>
                <a:lnTo>
                  <a:pt x="569" y="559"/>
                </a:lnTo>
                <a:lnTo>
                  <a:pt x="576" y="546"/>
                </a:lnTo>
                <a:lnTo>
                  <a:pt x="580" y="539"/>
                </a:lnTo>
                <a:lnTo>
                  <a:pt x="582" y="532"/>
                </a:lnTo>
                <a:lnTo>
                  <a:pt x="587" y="516"/>
                </a:lnTo>
                <a:lnTo>
                  <a:pt x="589" y="508"/>
                </a:lnTo>
                <a:lnTo>
                  <a:pt x="591" y="500"/>
                </a:lnTo>
                <a:lnTo>
                  <a:pt x="592" y="491"/>
                </a:lnTo>
                <a:lnTo>
                  <a:pt x="593" y="482"/>
                </a:lnTo>
                <a:lnTo>
                  <a:pt x="594" y="472"/>
                </a:lnTo>
                <a:lnTo>
                  <a:pt x="594" y="462"/>
                </a:lnTo>
                <a:lnTo>
                  <a:pt x="594" y="452"/>
                </a:lnTo>
                <a:lnTo>
                  <a:pt x="593" y="443"/>
                </a:lnTo>
                <a:lnTo>
                  <a:pt x="592" y="434"/>
                </a:lnTo>
                <a:lnTo>
                  <a:pt x="591" y="425"/>
                </a:lnTo>
                <a:lnTo>
                  <a:pt x="587" y="408"/>
                </a:lnTo>
                <a:lnTo>
                  <a:pt x="585" y="400"/>
                </a:lnTo>
                <a:lnTo>
                  <a:pt x="582" y="392"/>
                </a:lnTo>
                <a:lnTo>
                  <a:pt x="580" y="385"/>
                </a:lnTo>
                <a:lnTo>
                  <a:pt x="576" y="378"/>
                </a:lnTo>
                <a:lnTo>
                  <a:pt x="573" y="372"/>
                </a:lnTo>
                <a:lnTo>
                  <a:pt x="569" y="365"/>
                </a:lnTo>
                <a:lnTo>
                  <a:pt x="565" y="359"/>
                </a:lnTo>
                <a:lnTo>
                  <a:pt x="561" y="354"/>
                </a:lnTo>
                <a:lnTo>
                  <a:pt x="552" y="343"/>
                </a:lnTo>
                <a:lnTo>
                  <a:pt x="542" y="334"/>
                </a:lnTo>
                <a:lnTo>
                  <a:pt x="532" y="327"/>
                </a:lnTo>
                <a:lnTo>
                  <a:pt x="526" y="323"/>
                </a:lnTo>
                <a:lnTo>
                  <a:pt x="520" y="320"/>
                </a:lnTo>
                <a:lnTo>
                  <a:pt x="515" y="317"/>
                </a:lnTo>
                <a:lnTo>
                  <a:pt x="509" y="315"/>
                </a:lnTo>
                <a:lnTo>
                  <a:pt x="503" y="313"/>
                </a:lnTo>
                <a:lnTo>
                  <a:pt x="496" y="311"/>
                </a:lnTo>
                <a:lnTo>
                  <a:pt x="490" y="309"/>
                </a:lnTo>
                <a:lnTo>
                  <a:pt x="484" y="308"/>
                </a:lnTo>
                <a:lnTo>
                  <a:pt x="471" y="306"/>
                </a:lnTo>
                <a:lnTo>
                  <a:pt x="465" y="306"/>
                </a:lnTo>
                <a:lnTo>
                  <a:pt x="458" y="3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>
          <a:xfrm>
            <a:off x="326924" y="640885"/>
            <a:ext cx="5551109" cy="1286465"/>
          </a:xfrm>
        </p:spPr>
        <p:txBody>
          <a:bodyPr/>
          <a:lstStyle>
            <a:lvl1pPr>
              <a:defRPr sz="2300" b="1">
                <a:solidFill>
                  <a:schemeClr val="tx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53" name="Footer Placeholder 6"/>
          <p:cNvSpPr txBox="1">
            <a:spLocks/>
          </p:cNvSpPr>
          <p:nvPr userDrawn="1"/>
        </p:nvSpPr>
        <p:spPr>
          <a:xfrm>
            <a:off x="326921" y="4768705"/>
            <a:ext cx="6856536" cy="106633"/>
          </a:xfrm>
          <a:prstGeom prst="rect">
            <a:avLst/>
          </a:prstGeom>
        </p:spPr>
        <p:txBody>
          <a:bodyPr vert="horz" lIns="27040" tIns="27040" rIns="27040" bIns="2704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mtClean="0">
                <a:noFill/>
              </a:rPr>
              <a:t>Presentation name</a:t>
            </a:r>
            <a:endParaRPr lang="fi-FI" dirty="0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3548257938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26924" y="640885"/>
            <a:ext cx="5551109" cy="1286465"/>
          </a:xfrm>
        </p:spPr>
        <p:txBody>
          <a:bodyPr/>
          <a:lstStyle>
            <a:lvl1pPr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27" name="Freeform 16"/>
          <p:cNvSpPr>
            <a:spLocks noChangeAspect="1" noEditPoints="1"/>
          </p:cNvSpPr>
          <p:nvPr userDrawn="1"/>
        </p:nvSpPr>
        <p:spPr bwMode="auto">
          <a:xfrm>
            <a:off x="5225314" y="2571453"/>
            <a:ext cx="1305429" cy="1285880"/>
          </a:xfrm>
          <a:custGeom>
            <a:avLst/>
            <a:gdLst>
              <a:gd name="T0" fmla="*/ 653 w 908"/>
              <a:gd name="T1" fmla="*/ 675 h 907"/>
              <a:gd name="T2" fmla="*/ 651 w 908"/>
              <a:gd name="T3" fmla="*/ 382 h 907"/>
              <a:gd name="T4" fmla="*/ 644 w 908"/>
              <a:gd name="T5" fmla="*/ 348 h 907"/>
              <a:gd name="T6" fmla="*/ 630 w 908"/>
              <a:gd name="T7" fmla="*/ 320 h 907"/>
              <a:gd name="T8" fmla="*/ 613 w 908"/>
              <a:gd name="T9" fmla="*/ 305 h 907"/>
              <a:gd name="T10" fmla="*/ 595 w 908"/>
              <a:gd name="T11" fmla="*/ 298 h 907"/>
              <a:gd name="T12" fmla="*/ 579 w 908"/>
              <a:gd name="T13" fmla="*/ 296 h 907"/>
              <a:gd name="T14" fmla="*/ 565 w 908"/>
              <a:gd name="T15" fmla="*/ 298 h 907"/>
              <a:gd name="T16" fmla="*/ 546 w 908"/>
              <a:gd name="T17" fmla="*/ 304 h 907"/>
              <a:gd name="T18" fmla="*/ 526 w 908"/>
              <a:gd name="T19" fmla="*/ 320 h 907"/>
              <a:gd name="T20" fmla="*/ 514 w 908"/>
              <a:gd name="T21" fmla="*/ 337 h 907"/>
              <a:gd name="T22" fmla="*/ 507 w 908"/>
              <a:gd name="T23" fmla="*/ 354 h 907"/>
              <a:gd name="T24" fmla="*/ 502 w 908"/>
              <a:gd name="T25" fmla="*/ 375 h 907"/>
              <a:gd name="T26" fmla="*/ 499 w 908"/>
              <a:gd name="T27" fmla="*/ 411 h 907"/>
              <a:gd name="T28" fmla="*/ 410 w 908"/>
              <a:gd name="T29" fmla="*/ 409 h 907"/>
              <a:gd name="T30" fmla="*/ 408 w 908"/>
              <a:gd name="T31" fmla="*/ 374 h 907"/>
              <a:gd name="T32" fmla="*/ 398 w 908"/>
              <a:gd name="T33" fmla="*/ 337 h 907"/>
              <a:gd name="T34" fmla="*/ 382 w 908"/>
              <a:gd name="T35" fmla="*/ 314 h 907"/>
              <a:gd name="T36" fmla="*/ 364 w 908"/>
              <a:gd name="T37" fmla="*/ 302 h 907"/>
              <a:gd name="T38" fmla="*/ 347 w 908"/>
              <a:gd name="T39" fmla="*/ 297 h 907"/>
              <a:gd name="T40" fmla="*/ 333 w 908"/>
              <a:gd name="T41" fmla="*/ 297 h 907"/>
              <a:gd name="T42" fmla="*/ 317 w 908"/>
              <a:gd name="T43" fmla="*/ 299 h 907"/>
              <a:gd name="T44" fmla="*/ 297 w 908"/>
              <a:gd name="T45" fmla="*/ 308 h 907"/>
              <a:gd name="T46" fmla="*/ 278 w 908"/>
              <a:gd name="T47" fmla="*/ 327 h 907"/>
              <a:gd name="T48" fmla="*/ 268 w 908"/>
              <a:gd name="T49" fmla="*/ 348 h 907"/>
              <a:gd name="T50" fmla="*/ 261 w 908"/>
              <a:gd name="T51" fmla="*/ 375 h 907"/>
              <a:gd name="T52" fmla="*/ 258 w 908"/>
              <a:gd name="T53" fmla="*/ 411 h 907"/>
              <a:gd name="T54" fmla="*/ 169 w 908"/>
              <a:gd name="T55" fmla="*/ 230 h 907"/>
              <a:gd name="T56" fmla="*/ 260 w 908"/>
              <a:gd name="T57" fmla="*/ 272 h 907"/>
              <a:gd name="T58" fmla="*/ 277 w 908"/>
              <a:gd name="T59" fmla="*/ 251 h 907"/>
              <a:gd name="T60" fmla="*/ 298 w 908"/>
              <a:gd name="T61" fmla="*/ 237 h 907"/>
              <a:gd name="T62" fmla="*/ 319 w 908"/>
              <a:gd name="T63" fmla="*/ 227 h 907"/>
              <a:gd name="T64" fmla="*/ 348 w 908"/>
              <a:gd name="T65" fmla="*/ 221 h 907"/>
              <a:gd name="T66" fmla="*/ 378 w 908"/>
              <a:gd name="T67" fmla="*/ 222 h 907"/>
              <a:gd name="T68" fmla="*/ 404 w 908"/>
              <a:gd name="T69" fmla="*/ 228 h 907"/>
              <a:gd name="T70" fmla="*/ 427 w 908"/>
              <a:gd name="T71" fmla="*/ 238 h 907"/>
              <a:gd name="T72" fmla="*/ 448 w 908"/>
              <a:gd name="T73" fmla="*/ 254 h 907"/>
              <a:gd name="T74" fmla="*/ 465 w 908"/>
              <a:gd name="T75" fmla="*/ 275 h 907"/>
              <a:gd name="T76" fmla="*/ 481 w 908"/>
              <a:gd name="T77" fmla="*/ 282 h 907"/>
              <a:gd name="T78" fmla="*/ 502 w 908"/>
              <a:gd name="T79" fmla="*/ 257 h 907"/>
              <a:gd name="T80" fmla="*/ 526 w 908"/>
              <a:gd name="T81" fmla="*/ 240 h 907"/>
              <a:gd name="T82" fmla="*/ 552 w 908"/>
              <a:gd name="T83" fmla="*/ 228 h 907"/>
              <a:gd name="T84" fmla="*/ 576 w 908"/>
              <a:gd name="T85" fmla="*/ 222 h 907"/>
              <a:gd name="T86" fmla="*/ 611 w 908"/>
              <a:gd name="T87" fmla="*/ 221 h 907"/>
              <a:gd name="T88" fmla="*/ 649 w 908"/>
              <a:gd name="T89" fmla="*/ 229 h 907"/>
              <a:gd name="T90" fmla="*/ 674 w 908"/>
              <a:gd name="T91" fmla="*/ 240 h 907"/>
              <a:gd name="T92" fmla="*/ 692 w 908"/>
              <a:gd name="T93" fmla="*/ 253 h 907"/>
              <a:gd name="T94" fmla="*/ 707 w 908"/>
              <a:gd name="T95" fmla="*/ 270 h 907"/>
              <a:gd name="T96" fmla="*/ 721 w 908"/>
              <a:gd name="T97" fmla="*/ 290 h 907"/>
              <a:gd name="T98" fmla="*/ 731 w 908"/>
              <a:gd name="T99" fmla="*/ 315 h 907"/>
              <a:gd name="T100" fmla="*/ 739 w 908"/>
              <a:gd name="T101" fmla="*/ 346 h 907"/>
              <a:gd name="T102" fmla="*/ 742 w 908"/>
              <a:gd name="T103" fmla="*/ 381 h 907"/>
              <a:gd name="T104" fmla="*/ 0 w 908"/>
              <a:gd name="T105" fmla="*/ 907 h 907"/>
              <a:gd name="T106" fmla="*/ 908 w 908"/>
              <a:gd name="T107" fmla="*/ 453 h 907"/>
              <a:gd name="T108" fmla="*/ 0 w 908"/>
              <a:gd name="T109" fmla="*/ 0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743" y="408"/>
                </a:moveTo>
                <a:lnTo>
                  <a:pt x="743" y="675"/>
                </a:lnTo>
                <a:lnTo>
                  <a:pt x="653" y="675"/>
                </a:lnTo>
                <a:lnTo>
                  <a:pt x="653" y="409"/>
                </a:lnTo>
                <a:lnTo>
                  <a:pt x="652" y="390"/>
                </a:lnTo>
                <a:lnTo>
                  <a:pt x="651" y="382"/>
                </a:lnTo>
                <a:lnTo>
                  <a:pt x="650" y="374"/>
                </a:lnTo>
                <a:lnTo>
                  <a:pt x="648" y="360"/>
                </a:lnTo>
                <a:lnTo>
                  <a:pt x="644" y="348"/>
                </a:lnTo>
                <a:lnTo>
                  <a:pt x="640" y="337"/>
                </a:lnTo>
                <a:lnTo>
                  <a:pt x="636" y="328"/>
                </a:lnTo>
                <a:lnTo>
                  <a:pt x="630" y="320"/>
                </a:lnTo>
                <a:lnTo>
                  <a:pt x="625" y="314"/>
                </a:lnTo>
                <a:lnTo>
                  <a:pt x="619" y="309"/>
                </a:lnTo>
                <a:lnTo>
                  <a:pt x="613" y="305"/>
                </a:lnTo>
                <a:lnTo>
                  <a:pt x="607" y="302"/>
                </a:lnTo>
                <a:lnTo>
                  <a:pt x="601" y="299"/>
                </a:lnTo>
                <a:lnTo>
                  <a:pt x="595" y="298"/>
                </a:lnTo>
                <a:lnTo>
                  <a:pt x="589" y="297"/>
                </a:lnTo>
                <a:lnTo>
                  <a:pt x="584" y="297"/>
                </a:lnTo>
                <a:lnTo>
                  <a:pt x="579" y="296"/>
                </a:lnTo>
                <a:lnTo>
                  <a:pt x="575" y="297"/>
                </a:lnTo>
                <a:lnTo>
                  <a:pt x="571" y="297"/>
                </a:lnTo>
                <a:lnTo>
                  <a:pt x="565" y="298"/>
                </a:lnTo>
                <a:lnTo>
                  <a:pt x="559" y="299"/>
                </a:lnTo>
                <a:lnTo>
                  <a:pt x="552" y="301"/>
                </a:lnTo>
                <a:lnTo>
                  <a:pt x="546" y="304"/>
                </a:lnTo>
                <a:lnTo>
                  <a:pt x="539" y="308"/>
                </a:lnTo>
                <a:lnTo>
                  <a:pt x="532" y="313"/>
                </a:lnTo>
                <a:lnTo>
                  <a:pt x="526" y="320"/>
                </a:lnTo>
                <a:lnTo>
                  <a:pt x="520" y="327"/>
                </a:lnTo>
                <a:lnTo>
                  <a:pt x="517" y="332"/>
                </a:lnTo>
                <a:lnTo>
                  <a:pt x="514" y="337"/>
                </a:lnTo>
                <a:lnTo>
                  <a:pt x="511" y="342"/>
                </a:lnTo>
                <a:lnTo>
                  <a:pt x="509" y="348"/>
                </a:lnTo>
                <a:lnTo>
                  <a:pt x="507" y="354"/>
                </a:lnTo>
                <a:lnTo>
                  <a:pt x="505" y="360"/>
                </a:lnTo>
                <a:lnTo>
                  <a:pt x="503" y="368"/>
                </a:lnTo>
                <a:lnTo>
                  <a:pt x="502" y="375"/>
                </a:lnTo>
                <a:lnTo>
                  <a:pt x="500" y="392"/>
                </a:lnTo>
                <a:lnTo>
                  <a:pt x="499" y="402"/>
                </a:lnTo>
                <a:lnTo>
                  <a:pt x="499" y="411"/>
                </a:lnTo>
                <a:lnTo>
                  <a:pt x="499" y="675"/>
                </a:lnTo>
                <a:lnTo>
                  <a:pt x="410" y="675"/>
                </a:lnTo>
                <a:lnTo>
                  <a:pt x="410" y="409"/>
                </a:lnTo>
                <a:lnTo>
                  <a:pt x="409" y="390"/>
                </a:lnTo>
                <a:lnTo>
                  <a:pt x="409" y="382"/>
                </a:lnTo>
                <a:lnTo>
                  <a:pt x="408" y="374"/>
                </a:lnTo>
                <a:lnTo>
                  <a:pt x="405" y="360"/>
                </a:lnTo>
                <a:lnTo>
                  <a:pt x="402" y="348"/>
                </a:lnTo>
                <a:lnTo>
                  <a:pt x="398" y="337"/>
                </a:lnTo>
                <a:lnTo>
                  <a:pt x="393" y="328"/>
                </a:lnTo>
                <a:lnTo>
                  <a:pt x="388" y="320"/>
                </a:lnTo>
                <a:lnTo>
                  <a:pt x="382" y="314"/>
                </a:lnTo>
                <a:lnTo>
                  <a:pt x="376" y="309"/>
                </a:lnTo>
                <a:lnTo>
                  <a:pt x="370" y="305"/>
                </a:lnTo>
                <a:lnTo>
                  <a:pt x="364" y="302"/>
                </a:lnTo>
                <a:lnTo>
                  <a:pt x="358" y="299"/>
                </a:lnTo>
                <a:lnTo>
                  <a:pt x="352" y="298"/>
                </a:lnTo>
                <a:lnTo>
                  <a:pt x="347" y="297"/>
                </a:lnTo>
                <a:lnTo>
                  <a:pt x="342" y="297"/>
                </a:lnTo>
                <a:lnTo>
                  <a:pt x="337" y="296"/>
                </a:lnTo>
                <a:lnTo>
                  <a:pt x="333" y="297"/>
                </a:lnTo>
                <a:lnTo>
                  <a:pt x="328" y="297"/>
                </a:lnTo>
                <a:lnTo>
                  <a:pt x="323" y="298"/>
                </a:lnTo>
                <a:lnTo>
                  <a:pt x="317" y="299"/>
                </a:lnTo>
                <a:lnTo>
                  <a:pt x="310" y="301"/>
                </a:lnTo>
                <a:lnTo>
                  <a:pt x="304" y="304"/>
                </a:lnTo>
                <a:lnTo>
                  <a:pt x="297" y="308"/>
                </a:lnTo>
                <a:lnTo>
                  <a:pt x="291" y="313"/>
                </a:lnTo>
                <a:lnTo>
                  <a:pt x="284" y="320"/>
                </a:lnTo>
                <a:lnTo>
                  <a:pt x="278" y="327"/>
                </a:lnTo>
                <a:lnTo>
                  <a:pt x="276" y="332"/>
                </a:lnTo>
                <a:lnTo>
                  <a:pt x="273" y="337"/>
                </a:lnTo>
                <a:lnTo>
                  <a:pt x="268" y="348"/>
                </a:lnTo>
                <a:lnTo>
                  <a:pt x="264" y="360"/>
                </a:lnTo>
                <a:lnTo>
                  <a:pt x="262" y="368"/>
                </a:lnTo>
                <a:lnTo>
                  <a:pt x="261" y="375"/>
                </a:lnTo>
                <a:lnTo>
                  <a:pt x="259" y="392"/>
                </a:lnTo>
                <a:lnTo>
                  <a:pt x="259" y="402"/>
                </a:lnTo>
                <a:lnTo>
                  <a:pt x="258" y="411"/>
                </a:lnTo>
                <a:lnTo>
                  <a:pt x="258" y="675"/>
                </a:lnTo>
                <a:lnTo>
                  <a:pt x="169" y="675"/>
                </a:lnTo>
                <a:lnTo>
                  <a:pt x="169" y="230"/>
                </a:lnTo>
                <a:lnTo>
                  <a:pt x="255" y="230"/>
                </a:lnTo>
                <a:lnTo>
                  <a:pt x="255" y="280"/>
                </a:lnTo>
                <a:lnTo>
                  <a:pt x="260" y="272"/>
                </a:lnTo>
                <a:lnTo>
                  <a:pt x="265" y="264"/>
                </a:lnTo>
                <a:lnTo>
                  <a:pt x="271" y="257"/>
                </a:lnTo>
                <a:lnTo>
                  <a:pt x="277" y="251"/>
                </a:lnTo>
                <a:lnTo>
                  <a:pt x="284" y="246"/>
                </a:lnTo>
                <a:lnTo>
                  <a:pt x="291" y="241"/>
                </a:lnTo>
                <a:lnTo>
                  <a:pt x="298" y="237"/>
                </a:lnTo>
                <a:lnTo>
                  <a:pt x="305" y="233"/>
                </a:lnTo>
                <a:lnTo>
                  <a:pt x="312" y="230"/>
                </a:lnTo>
                <a:lnTo>
                  <a:pt x="319" y="227"/>
                </a:lnTo>
                <a:lnTo>
                  <a:pt x="334" y="223"/>
                </a:lnTo>
                <a:lnTo>
                  <a:pt x="341" y="222"/>
                </a:lnTo>
                <a:lnTo>
                  <a:pt x="348" y="221"/>
                </a:lnTo>
                <a:lnTo>
                  <a:pt x="360" y="221"/>
                </a:lnTo>
                <a:lnTo>
                  <a:pt x="369" y="221"/>
                </a:lnTo>
                <a:lnTo>
                  <a:pt x="378" y="222"/>
                </a:lnTo>
                <a:lnTo>
                  <a:pt x="387" y="223"/>
                </a:lnTo>
                <a:lnTo>
                  <a:pt x="395" y="225"/>
                </a:lnTo>
                <a:lnTo>
                  <a:pt x="404" y="228"/>
                </a:lnTo>
                <a:lnTo>
                  <a:pt x="412" y="231"/>
                </a:lnTo>
                <a:lnTo>
                  <a:pt x="419" y="234"/>
                </a:lnTo>
                <a:lnTo>
                  <a:pt x="427" y="238"/>
                </a:lnTo>
                <a:lnTo>
                  <a:pt x="434" y="243"/>
                </a:lnTo>
                <a:lnTo>
                  <a:pt x="441" y="248"/>
                </a:lnTo>
                <a:lnTo>
                  <a:pt x="448" y="254"/>
                </a:lnTo>
                <a:lnTo>
                  <a:pt x="454" y="261"/>
                </a:lnTo>
                <a:lnTo>
                  <a:pt x="460" y="268"/>
                </a:lnTo>
                <a:lnTo>
                  <a:pt x="465" y="275"/>
                </a:lnTo>
                <a:lnTo>
                  <a:pt x="470" y="283"/>
                </a:lnTo>
                <a:lnTo>
                  <a:pt x="475" y="292"/>
                </a:lnTo>
                <a:lnTo>
                  <a:pt x="481" y="282"/>
                </a:lnTo>
                <a:lnTo>
                  <a:pt x="488" y="273"/>
                </a:lnTo>
                <a:lnTo>
                  <a:pt x="495" y="265"/>
                </a:lnTo>
                <a:lnTo>
                  <a:pt x="502" y="257"/>
                </a:lnTo>
                <a:lnTo>
                  <a:pt x="510" y="251"/>
                </a:lnTo>
                <a:lnTo>
                  <a:pt x="518" y="245"/>
                </a:lnTo>
                <a:lnTo>
                  <a:pt x="526" y="240"/>
                </a:lnTo>
                <a:lnTo>
                  <a:pt x="535" y="235"/>
                </a:lnTo>
                <a:lnTo>
                  <a:pt x="543" y="232"/>
                </a:lnTo>
                <a:lnTo>
                  <a:pt x="552" y="228"/>
                </a:lnTo>
                <a:lnTo>
                  <a:pt x="560" y="226"/>
                </a:lnTo>
                <a:lnTo>
                  <a:pt x="568" y="224"/>
                </a:lnTo>
                <a:lnTo>
                  <a:pt x="576" y="222"/>
                </a:lnTo>
                <a:lnTo>
                  <a:pt x="584" y="221"/>
                </a:lnTo>
                <a:lnTo>
                  <a:pt x="598" y="221"/>
                </a:lnTo>
                <a:lnTo>
                  <a:pt x="611" y="221"/>
                </a:lnTo>
                <a:lnTo>
                  <a:pt x="624" y="223"/>
                </a:lnTo>
                <a:lnTo>
                  <a:pt x="636" y="225"/>
                </a:lnTo>
                <a:lnTo>
                  <a:pt x="649" y="229"/>
                </a:lnTo>
                <a:lnTo>
                  <a:pt x="662" y="234"/>
                </a:lnTo>
                <a:lnTo>
                  <a:pt x="668" y="237"/>
                </a:lnTo>
                <a:lnTo>
                  <a:pt x="674" y="240"/>
                </a:lnTo>
                <a:lnTo>
                  <a:pt x="680" y="244"/>
                </a:lnTo>
                <a:lnTo>
                  <a:pt x="686" y="248"/>
                </a:lnTo>
                <a:lnTo>
                  <a:pt x="692" y="253"/>
                </a:lnTo>
                <a:lnTo>
                  <a:pt x="697" y="258"/>
                </a:lnTo>
                <a:lnTo>
                  <a:pt x="702" y="264"/>
                </a:lnTo>
                <a:lnTo>
                  <a:pt x="707" y="270"/>
                </a:lnTo>
                <a:lnTo>
                  <a:pt x="712" y="276"/>
                </a:lnTo>
                <a:lnTo>
                  <a:pt x="716" y="283"/>
                </a:lnTo>
                <a:lnTo>
                  <a:pt x="721" y="290"/>
                </a:lnTo>
                <a:lnTo>
                  <a:pt x="724" y="298"/>
                </a:lnTo>
                <a:lnTo>
                  <a:pt x="728" y="307"/>
                </a:lnTo>
                <a:lnTo>
                  <a:pt x="731" y="315"/>
                </a:lnTo>
                <a:lnTo>
                  <a:pt x="734" y="325"/>
                </a:lnTo>
                <a:lnTo>
                  <a:pt x="736" y="335"/>
                </a:lnTo>
                <a:lnTo>
                  <a:pt x="739" y="346"/>
                </a:lnTo>
                <a:lnTo>
                  <a:pt x="740" y="357"/>
                </a:lnTo>
                <a:lnTo>
                  <a:pt x="741" y="369"/>
                </a:lnTo>
                <a:lnTo>
                  <a:pt x="742" y="381"/>
                </a:lnTo>
                <a:lnTo>
                  <a:pt x="743" y="394"/>
                </a:lnTo>
                <a:lnTo>
                  <a:pt x="743" y="408"/>
                </a:lnTo>
                <a:close/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8" name="Freeform 17"/>
          <p:cNvSpPr>
            <a:spLocks noChangeAspect="1" noEditPoints="1"/>
          </p:cNvSpPr>
          <p:nvPr userDrawn="1"/>
        </p:nvSpPr>
        <p:spPr bwMode="auto">
          <a:xfrm>
            <a:off x="2611755" y="3858215"/>
            <a:ext cx="1306033" cy="1285880"/>
          </a:xfrm>
          <a:custGeom>
            <a:avLst/>
            <a:gdLst>
              <a:gd name="T0" fmla="*/ 587 w 907"/>
              <a:gd name="T1" fmla="*/ 676 h 908"/>
              <a:gd name="T2" fmla="*/ 587 w 907"/>
              <a:gd name="T3" fmla="*/ 444 h 908"/>
              <a:gd name="T4" fmla="*/ 586 w 907"/>
              <a:gd name="T5" fmla="*/ 428 h 908"/>
              <a:gd name="T6" fmla="*/ 583 w 907"/>
              <a:gd name="T7" fmla="*/ 412 h 908"/>
              <a:gd name="T8" fmla="*/ 580 w 907"/>
              <a:gd name="T9" fmla="*/ 397 h 908"/>
              <a:gd name="T10" fmla="*/ 575 w 907"/>
              <a:gd name="T11" fmla="*/ 383 h 908"/>
              <a:gd name="T12" fmla="*/ 566 w 907"/>
              <a:gd name="T13" fmla="*/ 364 h 908"/>
              <a:gd name="T14" fmla="*/ 555 w 907"/>
              <a:gd name="T15" fmla="*/ 347 h 908"/>
              <a:gd name="T16" fmla="*/ 546 w 907"/>
              <a:gd name="T17" fmla="*/ 337 h 908"/>
              <a:gd name="T18" fmla="*/ 532 w 907"/>
              <a:gd name="T19" fmla="*/ 325 h 908"/>
              <a:gd name="T20" fmla="*/ 516 w 907"/>
              <a:gd name="T21" fmla="*/ 314 h 908"/>
              <a:gd name="T22" fmla="*/ 504 w 907"/>
              <a:gd name="T23" fmla="*/ 309 h 908"/>
              <a:gd name="T24" fmla="*/ 492 w 907"/>
              <a:gd name="T25" fmla="*/ 305 h 908"/>
              <a:gd name="T26" fmla="*/ 479 w 907"/>
              <a:gd name="T27" fmla="*/ 303 h 908"/>
              <a:gd name="T28" fmla="*/ 460 w 907"/>
              <a:gd name="T29" fmla="*/ 301 h 908"/>
              <a:gd name="T30" fmla="*/ 439 w 907"/>
              <a:gd name="T31" fmla="*/ 302 h 908"/>
              <a:gd name="T32" fmla="*/ 419 w 907"/>
              <a:gd name="T33" fmla="*/ 307 h 908"/>
              <a:gd name="T34" fmla="*/ 407 w 907"/>
              <a:gd name="T35" fmla="*/ 312 h 908"/>
              <a:gd name="T36" fmla="*/ 395 w 907"/>
              <a:gd name="T37" fmla="*/ 317 h 908"/>
              <a:gd name="T38" fmla="*/ 383 w 907"/>
              <a:gd name="T39" fmla="*/ 325 h 908"/>
              <a:gd name="T40" fmla="*/ 373 w 907"/>
              <a:gd name="T41" fmla="*/ 333 h 908"/>
              <a:gd name="T42" fmla="*/ 363 w 907"/>
              <a:gd name="T43" fmla="*/ 343 h 908"/>
              <a:gd name="T44" fmla="*/ 354 w 907"/>
              <a:gd name="T45" fmla="*/ 354 h 908"/>
              <a:gd name="T46" fmla="*/ 345 w 907"/>
              <a:gd name="T47" fmla="*/ 366 h 908"/>
              <a:gd name="T48" fmla="*/ 335 w 907"/>
              <a:gd name="T49" fmla="*/ 387 h 908"/>
              <a:gd name="T50" fmla="*/ 327 w 907"/>
              <a:gd name="T51" fmla="*/ 410 h 908"/>
              <a:gd name="T52" fmla="*/ 324 w 907"/>
              <a:gd name="T53" fmla="*/ 427 h 908"/>
              <a:gd name="T54" fmla="*/ 321 w 907"/>
              <a:gd name="T55" fmla="*/ 446 h 908"/>
              <a:gd name="T56" fmla="*/ 321 w 907"/>
              <a:gd name="T57" fmla="*/ 676 h 908"/>
              <a:gd name="T58" fmla="*/ 231 w 907"/>
              <a:gd name="T59" fmla="*/ 230 h 908"/>
              <a:gd name="T60" fmla="*/ 318 w 907"/>
              <a:gd name="T61" fmla="*/ 305 h 908"/>
              <a:gd name="T62" fmla="*/ 329 w 907"/>
              <a:gd name="T63" fmla="*/ 286 h 908"/>
              <a:gd name="T64" fmla="*/ 344 w 907"/>
              <a:gd name="T65" fmla="*/ 270 h 908"/>
              <a:gd name="T66" fmla="*/ 352 w 907"/>
              <a:gd name="T67" fmla="*/ 262 h 908"/>
              <a:gd name="T68" fmla="*/ 371 w 907"/>
              <a:gd name="T69" fmla="*/ 249 h 908"/>
              <a:gd name="T70" fmla="*/ 392 w 907"/>
              <a:gd name="T71" fmla="*/ 238 h 908"/>
              <a:gd name="T72" fmla="*/ 414 w 907"/>
              <a:gd name="T73" fmla="*/ 230 h 908"/>
              <a:gd name="T74" fmla="*/ 438 w 907"/>
              <a:gd name="T75" fmla="*/ 224 h 908"/>
              <a:gd name="T76" fmla="*/ 461 w 907"/>
              <a:gd name="T77" fmla="*/ 221 h 908"/>
              <a:gd name="T78" fmla="*/ 492 w 907"/>
              <a:gd name="T79" fmla="*/ 221 h 908"/>
              <a:gd name="T80" fmla="*/ 520 w 907"/>
              <a:gd name="T81" fmla="*/ 225 h 908"/>
              <a:gd name="T82" fmla="*/ 538 w 907"/>
              <a:gd name="T83" fmla="*/ 230 h 908"/>
              <a:gd name="T84" fmla="*/ 556 w 907"/>
              <a:gd name="T85" fmla="*/ 236 h 908"/>
              <a:gd name="T86" fmla="*/ 573 w 907"/>
              <a:gd name="T87" fmla="*/ 244 h 908"/>
              <a:gd name="T88" fmla="*/ 590 w 907"/>
              <a:gd name="T89" fmla="*/ 253 h 908"/>
              <a:gd name="T90" fmla="*/ 605 w 907"/>
              <a:gd name="T91" fmla="*/ 265 h 908"/>
              <a:gd name="T92" fmla="*/ 619 w 907"/>
              <a:gd name="T93" fmla="*/ 278 h 908"/>
              <a:gd name="T94" fmla="*/ 632 w 907"/>
              <a:gd name="T95" fmla="*/ 293 h 908"/>
              <a:gd name="T96" fmla="*/ 644 w 907"/>
              <a:gd name="T97" fmla="*/ 310 h 908"/>
              <a:gd name="T98" fmla="*/ 654 w 907"/>
              <a:gd name="T99" fmla="*/ 328 h 908"/>
              <a:gd name="T100" fmla="*/ 663 w 907"/>
              <a:gd name="T101" fmla="*/ 349 h 908"/>
              <a:gd name="T102" fmla="*/ 669 w 907"/>
              <a:gd name="T103" fmla="*/ 372 h 908"/>
              <a:gd name="T104" fmla="*/ 674 w 907"/>
              <a:gd name="T105" fmla="*/ 397 h 908"/>
              <a:gd name="T106" fmla="*/ 676 w 907"/>
              <a:gd name="T107" fmla="*/ 424 h 908"/>
              <a:gd name="T108" fmla="*/ 676 w 907"/>
              <a:gd name="T109" fmla="*/ 676 h 908"/>
              <a:gd name="T110" fmla="*/ 453 w 907"/>
              <a:gd name="T111" fmla="*/ 908 h 908"/>
              <a:gd name="T112" fmla="*/ 907 w 907"/>
              <a:gd name="T113" fmla="*/ 453 h 908"/>
              <a:gd name="T114" fmla="*/ 453 w 907"/>
              <a:gd name="T115" fmla="*/ 0 h 908"/>
              <a:gd name="T116" fmla="*/ 0 w 907"/>
              <a:gd name="T117" fmla="*/ 453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7" h="908">
                <a:moveTo>
                  <a:pt x="676" y="676"/>
                </a:moveTo>
                <a:lnTo>
                  <a:pt x="587" y="676"/>
                </a:lnTo>
                <a:lnTo>
                  <a:pt x="587" y="453"/>
                </a:lnTo>
                <a:lnTo>
                  <a:pt x="587" y="444"/>
                </a:lnTo>
                <a:lnTo>
                  <a:pt x="586" y="436"/>
                </a:lnTo>
                <a:lnTo>
                  <a:pt x="586" y="428"/>
                </a:lnTo>
                <a:lnTo>
                  <a:pt x="585" y="420"/>
                </a:lnTo>
                <a:lnTo>
                  <a:pt x="583" y="412"/>
                </a:lnTo>
                <a:lnTo>
                  <a:pt x="581" y="404"/>
                </a:lnTo>
                <a:lnTo>
                  <a:pt x="580" y="397"/>
                </a:lnTo>
                <a:lnTo>
                  <a:pt x="577" y="390"/>
                </a:lnTo>
                <a:lnTo>
                  <a:pt x="575" y="383"/>
                </a:lnTo>
                <a:lnTo>
                  <a:pt x="572" y="376"/>
                </a:lnTo>
                <a:lnTo>
                  <a:pt x="566" y="364"/>
                </a:lnTo>
                <a:lnTo>
                  <a:pt x="559" y="352"/>
                </a:lnTo>
                <a:lnTo>
                  <a:pt x="555" y="347"/>
                </a:lnTo>
                <a:lnTo>
                  <a:pt x="550" y="342"/>
                </a:lnTo>
                <a:lnTo>
                  <a:pt x="546" y="337"/>
                </a:lnTo>
                <a:lnTo>
                  <a:pt x="541" y="333"/>
                </a:lnTo>
                <a:lnTo>
                  <a:pt x="532" y="325"/>
                </a:lnTo>
                <a:lnTo>
                  <a:pt x="521" y="317"/>
                </a:lnTo>
                <a:lnTo>
                  <a:pt x="516" y="314"/>
                </a:lnTo>
                <a:lnTo>
                  <a:pt x="510" y="312"/>
                </a:lnTo>
                <a:lnTo>
                  <a:pt x="504" y="309"/>
                </a:lnTo>
                <a:lnTo>
                  <a:pt x="498" y="307"/>
                </a:lnTo>
                <a:lnTo>
                  <a:pt x="492" y="305"/>
                </a:lnTo>
                <a:lnTo>
                  <a:pt x="486" y="304"/>
                </a:lnTo>
                <a:lnTo>
                  <a:pt x="479" y="303"/>
                </a:lnTo>
                <a:lnTo>
                  <a:pt x="473" y="302"/>
                </a:lnTo>
                <a:lnTo>
                  <a:pt x="460" y="301"/>
                </a:lnTo>
                <a:lnTo>
                  <a:pt x="446" y="302"/>
                </a:lnTo>
                <a:lnTo>
                  <a:pt x="439" y="302"/>
                </a:lnTo>
                <a:lnTo>
                  <a:pt x="432" y="304"/>
                </a:lnTo>
                <a:lnTo>
                  <a:pt x="419" y="307"/>
                </a:lnTo>
                <a:lnTo>
                  <a:pt x="413" y="309"/>
                </a:lnTo>
                <a:lnTo>
                  <a:pt x="407" y="312"/>
                </a:lnTo>
                <a:lnTo>
                  <a:pt x="401" y="314"/>
                </a:lnTo>
                <a:lnTo>
                  <a:pt x="395" y="317"/>
                </a:lnTo>
                <a:lnTo>
                  <a:pt x="389" y="321"/>
                </a:lnTo>
                <a:lnTo>
                  <a:pt x="383" y="325"/>
                </a:lnTo>
                <a:lnTo>
                  <a:pt x="378" y="329"/>
                </a:lnTo>
                <a:lnTo>
                  <a:pt x="373" y="333"/>
                </a:lnTo>
                <a:lnTo>
                  <a:pt x="367" y="338"/>
                </a:lnTo>
                <a:lnTo>
                  <a:pt x="363" y="343"/>
                </a:lnTo>
                <a:lnTo>
                  <a:pt x="358" y="348"/>
                </a:lnTo>
                <a:lnTo>
                  <a:pt x="354" y="354"/>
                </a:lnTo>
                <a:lnTo>
                  <a:pt x="349" y="360"/>
                </a:lnTo>
                <a:lnTo>
                  <a:pt x="345" y="366"/>
                </a:lnTo>
                <a:lnTo>
                  <a:pt x="338" y="380"/>
                </a:lnTo>
                <a:lnTo>
                  <a:pt x="335" y="387"/>
                </a:lnTo>
                <a:lnTo>
                  <a:pt x="332" y="394"/>
                </a:lnTo>
                <a:lnTo>
                  <a:pt x="327" y="410"/>
                </a:lnTo>
                <a:lnTo>
                  <a:pt x="325" y="419"/>
                </a:lnTo>
                <a:lnTo>
                  <a:pt x="324" y="427"/>
                </a:lnTo>
                <a:lnTo>
                  <a:pt x="322" y="436"/>
                </a:lnTo>
                <a:lnTo>
                  <a:pt x="321" y="446"/>
                </a:lnTo>
                <a:lnTo>
                  <a:pt x="321" y="466"/>
                </a:lnTo>
                <a:lnTo>
                  <a:pt x="321" y="676"/>
                </a:lnTo>
                <a:lnTo>
                  <a:pt x="231" y="676"/>
                </a:lnTo>
                <a:lnTo>
                  <a:pt x="231" y="230"/>
                </a:lnTo>
                <a:lnTo>
                  <a:pt x="318" y="230"/>
                </a:lnTo>
                <a:lnTo>
                  <a:pt x="318" y="305"/>
                </a:lnTo>
                <a:lnTo>
                  <a:pt x="323" y="296"/>
                </a:lnTo>
                <a:lnTo>
                  <a:pt x="329" y="286"/>
                </a:lnTo>
                <a:lnTo>
                  <a:pt x="336" y="278"/>
                </a:lnTo>
                <a:lnTo>
                  <a:pt x="344" y="270"/>
                </a:lnTo>
                <a:lnTo>
                  <a:pt x="348" y="266"/>
                </a:lnTo>
                <a:lnTo>
                  <a:pt x="352" y="262"/>
                </a:lnTo>
                <a:lnTo>
                  <a:pt x="361" y="255"/>
                </a:lnTo>
                <a:lnTo>
                  <a:pt x="371" y="249"/>
                </a:lnTo>
                <a:lnTo>
                  <a:pt x="381" y="243"/>
                </a:lnTo>
                <a:lnTo>
                  <a:pt x="392" y="238"/>
                </a:lnTo>
                <a:lnTo>
                  <a:pt x="403" y="233"/>
                </a:lnTo>
                <a:lnTo>
                  <a:pt x="414" y="230"/>
                </a:lnTo>
                <a:lnTo>
                  <a:pt x="426" y="226"/>
                </a:lnTo>
                <a:lnTo>
                  <a:pt x="438" y="224"/>
                </a:lnTo>
                <a:lnTo>
                  <a:pt x="449" y="222"/>
                </a:lnTo>
                <a:lnTo>
                  <a:pt x="461" y="221"/>
                </a:lnTo>
                <a:lnTo>
                  <a:pt x="473" y="221"/>
                </a:lnTo>
                <a:lnTo>
                  <a:pt x="492" y="221"/>
                </a:lnTo>
                <a:lnTo>
                  <a:pt x="511" y="224"/>
                </a:lnTo>
                <a:lnTo>
                  <a:pt x="520" y="225"/>
                </a:lnTo>
                <a:lnTo>
                  <a:pt x="529" y="227"/>
                </a:lnTo>
                <a:lnTo>
                  <a:pt x="538" y="230"/>
                </a:lnTo>
                <a:lnTo>
                  <a:pt x="547" y="233"/>
                </a:lnTo>
                <a:lnTo>
                  <a:pt x="556" y="236"/>
                </a:lnTo>
                <a:lnTo>
                  <a:pt x="565" y="240"/>
                </a:lnTo>
                <a:lnTo>
                  <a:pt x="573" y="244"/>
                </a:lnTo>
                <a:lnTo>
                  <a:pt x="582" y="248"/>
                </a:lnTo>
                <a:lnTo>
                  <a:pt x="590" y="253"/>
                </a:lnTo>
                <a:lnTo>
                  <a:pt x="597" y="259"/>
                </a:lnTo>
                <a:lnTo>
                  <a:pt x="605" y="265"/>
                </a:lnTo>
                <a:lnTo>
                  <a:pt x="612" y="271"/>
                </a:lnTo>
                <a:lnTo>
                  <a:pt x="619" y="278"/>
                </a:lnTo>
                <a:lnTo>
                  <a:pt x="626" y="285"/>
                </a:lnTo>
                <a:lnTo>
                  <a:pt x="632" y="293"/>
                </a:lnTo>
                <a:lnTo>
                  <a:pt x="638" y="301"/>
                </a:lnTo>
                <a:lnTo>
                  <a:pt x="644" y="310"/>
                </a:lnTo>
                <a:lnTo>
                  <a:pt x="649" y="319"/>
                </a:lnTo>
                <a:lnTo>
                  <a:pt x="654" y="328"/>
                </a:lnTo>
                <a:lnTo>
                  <a:pt x="659" y="338"/>
                </a:lnTo>
                <a:lnTo>
                  <a:pt x="663" y="349"/>
                </a:lnTo>
                <a:lnTo>
                  <a:pt x="666" y="360"/>
                </a:lnTo>
                <a:lnTo>
                  <a:pt x="669" y="372"/>
                </a:lnTo>
                <a:lnTo>
                  <a:pt x="672" y="384"/>
                </a:lnTo>
                <a:lnTo>
                  <a:pt x="674" y="397"/>
                </a:lnTo>
                <a:lnTo>
                  <a:pt x="675" y="410"/>
                </a:lnTo>
                <a:lnTo>
                  <a:pt x="676" y="424"/>
                </a:lnTo>
                <a:lnTo>
                  <a:pt x="676" y="438"/>
                </a:lnTo>
                <a:lnTo>
                  <a:pt x="676" y="676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3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9" name="Freeform 18"/>
          <p:cNvSpPr>
            <a:spLocks noChangeAspect="1" noEditPoints="1"/>
          </p:cNvSpPr>
          <p:nvPr userDrawn="1"/>
        </p:nvSpPr>
        <p:spPr bwMode="auto">
          <a:xfrm>
            <a:off x="6530442" y="1285284"/>
            <a:ext cx="1306033" cy="1285880"/>
          </a:xfrm>
          <a:custGeom>
            <a:avLst/>
            <a:gdLst>
              <a:gd name="T0" fmla="*/ 433 w 907"/>
              <a:gd name="T1" fmla="*/ 300 h 908"/>
              <a:gd name="T2" fmla="*/ 403 w 907"/>
              <a:gd name="T3" fmla="*/ 308 h 908"/>
              <a:gd name="T4" fmla="*/ 366 w 907"/>
              <a:gd name="T5" fmla="*/ 332 h 908"/>
              <a:gd name="T6" fmla="*/ 343 w 907"/>
              <a:gd name="T7" fmla="*/ 360 h 908"/>
              <a:gd name="T8" fmla="*/ 325 w 907"/>
              <a:gd name="T9" fmla="*/ 398 h 908"/>
              <a:gd name="T10" fmla="*/ 316 w 907"/>
              <a:gd name="T11" fmla="*/ 455 h 908"/>
              <a:gd name="T12" fmla="*/ 321 w 907"/>
              <a:gd name="T13" fmla="*/ 497 h 908"/>
              <a:gd name="T14" fmla="*/ 330 w 907"/>
              <a:gd name="T15" fmla="*/ 524 h 908"/>
              <a:gd name="T16" fmla="*/ 343 w 907"/>
              <a:gd name="T17" fmla="*/ 549 h 908"/>
              <a:gd name="T18" fmla="*/ 361 w 907"/>
              <a:gd name="T19" fmla="*/ 571 h 908"/>
              <a:gd name="T20" fmla="*/ 383 w 907"/>
              <a:gd name="T21" fmla="*/ 589 h 908"/>
              <a:gd name="T22" fmla="*/ 410 w 907"/>
              <a:gd name="T23" fmla="*/ 603 h 908"/>
              <a:gd name="T24" fmla="*/ 441 w 907"/>
              <a:gd name="T25" fmla="*/ 610 h 908"/>
              <a:gd name="T26" fmla="*/ 484 w 907"/>
              <a:gd name="T27" fmla="*/ 608 h 908"/>
              <a:gd name="T28" fmla="*/ 520 w 907"/>
              <a:gd name="T29" fmla="*/ 596 h 908"/>
              <a:gd name="T30" fmla="*/ 547 w 907"/>
              <a:gd name="T31" fmla="*/ 577 h 908"/>
              <a:gd name="T32" fmla="*/ 565 w 907"/>
              <a:gd name="T33" fmla="*/ 557 h 908"/>
              <a:gd name="T34" fmla="*/ 583 w 907"/>
              <a:gd name="T35" fmla="*/ 524 h 908"/>
              <a:gd name="T36" fmla="*/ 592 w 907"/>
              <a:gd name="T37" fmla="*/ 483 h 908"/>
              <a:gd name="T38" fmla="*/ 594 w 907"/>
              <a:gd name="T39" fmla="*/ 445 h 908"/>
              <a:gd name="T40" fmla="*/ 587 w 907"/>
              <a:gd name="T41" fmla="*/ 400 h 908"/>
              <a:gd name="T42" fmla="*/ 577 w 907"/>
              <a:gd name="T43" fmla="*/ 370 h 908"/>
              <a:gd name="T44" fmla="*/ 561 w 907"/>
              <a:gd name="T45" fmla="*/ 346 h 908"/>
              <a:gd name="T46" fmla="*/ 526 w 907"/>
              <a:gd name="T47" fmla="*/ 315 h 908"/>
              <a:gd name="T48" fmla="*/ 503 w 907"/>
              <a:gd name="T49" fmla="*/ 305 h 908"/>
              <a:gd name="T50" fmla="*/ 471 w 907"/>
              <a:gd name="T51" fmla="*/ 298 h 908"/>
              <a:gd name="T52" fmla="*/ 453 w 907"/>
              <a:gd name="T53" fmla="*/ 908 h 908"/>
              <a:gd name="T54" fmla="*/ 453 w 907"/>
              <a:gd name="T55" fmla="*/ 0 h 908"/>
              <a:gd name="T56" fmla="*/ 681 w 907"/>
              <a:gd name="T57" fmla="*/ 676 h 908"/>
              <a:gd name="T58" fmla="*/ 585 w 907"/>
              <a:gd name="T59" fmla="*/ 631 h 908"/>
              <a:gd name="T60" fmla="*/ 549 w 907"/>
              <a:gd name="T61" fmla="*/ 660 h 908"/>
              <a:gd name="T62" fmla="*/ 514 w 907"/>
              <a:gd name="T63" fmla="*/ 676 h 908"/>
              <a:gd name="T64" fmla="*/ 473 w 907"/>
              <a:gd name="T65" fmla="*/ 685 h 908"/>
              <a:gd name="T66" fmla="*/ 427 w 907"/>
              <a:gd name="T67" fmla="*/ 685 h 908"/>
              <a:gd name="T68" fmla="*/ 382 w 907"/>
              <a:gd name="T69" fmla="*/ 676 h 908"/>
              <a:gd name="T70" fmla="*/ 342 w 907"/>
              <a:gd name="T71" fmla="*/ 658 h 908"/>
              <a:gd name="T72" fmla="*/ 306 w 907"/>
              <a:gd name="T73" fmla="*/ 633 h 908"/>
              <a:gd name="T74" fmla="*/ 276 w 907"/>
              <a:gd name="T75" fmla="*/ 602 h 908"/>
              <a:gd name="T76" fmla="*/ 253 w 907"/>
              <a:gd name="T77" fmla="*/ 565 h 908"/>
              <a:gd name="T78" fmla="*/ 236 w 907"/>
              <a:gd name="T79" fmla="*/ 523 h 908"/>
              <a:gd name="T80" fmla="*/ 228 w 907"/>
              <a:gd name="T81" fmla="*/ 478 h 908"/>
              <a:gd name="T82" fmla="*/ 228 w 907"/>
              <a:gd name="T83" fmla="*/ 430 h 908"/>
              <a:gd name="T84" fmla="*/ 235 w 907"/>
              <a:gd name="T85" fmla="*/ 390 h 908"/>
              <a:gd name="T86" fmla="*/ 248 w 907"/>
              <a:gd name="T87" fmla="*/ 353 h 908"/>
              <a:gd name="T88" fmla="*/ 270 w 907"/>
              <a:gd name="T89" fmla="*/ 315 h 908"/>
              <a:gd name="T90" fmla="*/ 298 w 907"/>
              <a:gd name="T91" fmla="*/ 282 h 908"/>
              <a:gd name="T92" fmla="*/ 323 w 907"/>
              <a:gd name="T93" fmla="*/ 261 h 908"/>
              <a:gd name="T94" fmla="*/ 361 w 907"/>
              <a:gd name="T95" fmla="*/ 240 h 908"/>
              <a:gd name="T96" fmla="*/ 404 w 907"/>
              <a:gd name="T97" fmla="*/ 227 h 908"/>
              <a:gd name="T98" fmla="*/ 451 w 907"/>
              <a:gd name="T99" fmla="*/ 222 h 908"/>
              <a:gd name="T100" fmla="*/ 494 w 907"/>
              <a:gd name="T101" fmla="*/ 226 h 908"/>
              <a:gd name="T102" fmla="*/ 532 w 907"/>
              <a:gd name="T103" fmla="*/ 239 h 908"/>
              <a:gd name="T104" fmla="*/ 560 w 907"/>
              <a:gd name="T105" fmla="*/ 255 h 908"/>
              <a:gd name="T106" fmla="*/ 585 w 907"/>
              <a:gd name="T107" fmla="*/ 277 h 908"/>
              <a:gd name="T108" fmla="*/ 681 w 907"/>
              <a:gd name="T109" fmla="*/ 676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7" h="908">
                <a:moveTo>
                  <a:pt x="459" y="298"/>
                </a:moveTo>
                <a:lnTo>
                  <a:pt x="450" y="298"/>
                </a:lnTo>
                <a:lnTo>
                  <a:pt x="441" y="299"/>
                </a:lnTo>
                <a:lnTo>
                  <a:pt x="433" y="300"/>
                </a:lnTo>
                <a:lnTo>
                  <a:pt x="425" y="301"/>
                </a:lnTo>
                <a:lnTo>
                  <a:pt x="417" y="303"/>
                </a:lnTo>
                <a:lnTo>
                  <a:pt x="410" y="306"/>
                </a:lnTo>
                <a:lnTo>
                  <a:pt x="403" y="308"/>
                </a:lnTo>
                <a:lnTo>
                  <a:pt x="396" y="312"/>
                </a:lnTo>
                <a:lnTo>
                  <a:pt x="383" y="319"/>
                </a:lnTo>
                <a:lnTo>
                  <a:pt x="371" y="328"/>
                </a:lnTo>
                <a:lnTo>
                  <a:pt x="366" y="332"/>
                </a:lnTo>
                <a:lnTo>
                  <a:pt x="361" y="337"/>
                </a:lnTo>
                <a:lnTo>
                  <a:pt x="351" y="348"/>
                </a:lnTo>
                <a:lnTo>
                  <a:pt x="347" y="354"/>
                </a:lnTo>
                <a:lnTo>
                  <a:pt x="343" y="360"/>
                </a:lnTo>
                <a:lnTo>
                  <a:pt x="336" y="372"/>
                </a:lnTo>
                <a:lnTo>
                  <a:pt x="333" y="378"/>
                </a:lnTo>
                <a:lnTo>
                  <a:pt x="330" y="385"/>
                </a:lnTo>
                <a:lnTo>
                  <a:pt x="325" y="398"/>
                </a:lnTo>
                <a:lnTo>
                  <a:pt x="321" y="412"/>
                </a:lnTo>
                <a:lnTo>
                  <a:pt x="318" y="426"/>
                </a:lnTo>
                <a:lnTo>
                  <a:pt x="316" y="440"/>
                </a:lnTo>
                <a:lnTo>
                  <a:pt x="316" y="455"/>
                </a:lnTo>
                <a:lnTo>
                  <a:pt x="316" y="469"/>
                </a:lnTo>
                <a:lnTo>
                  <a:pt x="317" y="476"/>
                </a:lnTo>
                <a:lnTo>
                  <a:pt x="318" y="483"/>
                </a:lnTo>
                <a:lnTo>
                  <a:pt x="321" y="497"/>
                </a:lnTo>
                <a:lnTo>
                  <a:pt x="323" y="504"/>
                </a:lnTo>
                <a:lnTo>
                  <a:pt x="325" y="511"/>
                </a:lnTo>
                <a:lnTo>
                  <a:pt x="327" y="517"/>
                </a:lnTo>
                <a:lnTo>
                  <a:pt x="330" y="524"/>
                </a:lnTo>
                <a:lnTo>
                  <a:pt x="333" y="530"/>
                </a:lnTo>
                <a:lnTo>
                  <a:pt x="336" y="537"/>
                </a:lnTo>
                <a:lnTo>
                  <a:pt x="339" y="543"/>
                </a:lnTo>
                <a:lnTo>
                  <a:pt x="343" y="549"/>
                </a:lnTo>
                <a:lnTo>
                  <a:pt x="347" y="555"/>
                </a:lnTo>
                <a:lnTo>
                  <a:pt x="351" y="561"/>
                </a:lnTo>
                <a:lnTo>
                  <a:pt x="356" y="566"/>
                </a:lnTo>
                <a:lnTo>
                  <a:pt x="361" y="571"/>
                </a:lnTo>
                <a:lnTo>
                  <a:pt x="366" y="576"/>
                </a:lnTo>
                <a:lnTo>
                  <a:pt x="371" y="581"/>
                </a:lnTo>
                <a:lnTo>
                  <a:pt x="377" y="585"/>
                </a:lnTo>
                <a:lnTo>
                  <a:pt x="383" y="589"/>
                </a:lnTo>
                <a:lnTo>
                  <a:pt x="389" y="593"/>
                </a:lnTo>
                <a:lnTo>
                  <a:pt x="396" y="597"/>
                </a:lnTo>
                <a:lnTo>
                  <a:pt x="403" y="600"/>
                </a:lnTo>
                <a:lnTo>
                  <a:pt x="410" y="603"/>
                </a:lnTo>
                <a:lnTo>
                  <a:pt x="417" y="605"/>
                </a:lnTo>
                <a:lnTo>
                  <a:pt x="425" y="607"/>
                </a:lnTo>
                <a:lnTo>
                  <a:pt x="433" y="608"/>
                </a:lnTo>
                <a:lnTo>
                  <a:pt x="441" y="610"/>
                </a:lnTo>
                <a:lnTo>
                  <a:pt x="450" y="610"/>
                </a:lnTo>
                <a:lnTo>
                  <a:pt x="459" y="611"/>
                </a:lnTo>
                <a:lnTo>
                  <a:pt x="471" y="610"/>
                </a:lnTo>
                <a:lnTo>
                  <a:pt x="484" y="608"/>
                </a:lnTo>
                <a:lnTo>
                  <a:pt x="497" y="605"/>
                </a:lnTo>
                <a:lnTo>
                  <a:pt x="509" y="601"/>
                </a:lnTo>
                <a:lnTo>
                  <a:pt x="515" y="599"/>
                </a:lnTo>
                <a:lnTo>
                  <a:pt x="520" y="596"/>
                </a:lnTo>
                <a:lnTo>
                  <a:pt x="532" y="589"/>
                </a:lnTo>
                <a:lnTo>
                  <a:pt x="537" y="586"/>
                </a:lnTo>
                <a:lnTo>
                  <a:pt x="542" y="582"/>
                </a:lnTo>
                <a:lnTo>
                  <a:pt x="547" y="577"/>
                </a:lnTo>
                <a:lnTo>
                  <a:pt x="552" y="573"/>
                </a:lnTo>
                <a:lnTo>
                  <a:pt x="557" y="568"/>
                </a:lnTo>
                <a:lnTo>
                  <a:pt x="561" y="562"/>
                </a:lnTo>
                <a:lnTo>
                  <a:pt x="565" y="557"/>
                </a:lnTo>
                <a:lnTo>
                  <a:pt x="569" y="551"/>
                </a:lnTo>
                <a:lnTo>
                  <a:pt x="577" y="538"/>
                </a:lnTo>
                <a:lnTo>
                  <a:pt x="580" y="531"/>
                </a:lnTo>
                <a:lnTo>
                  <a:pt x="583" y="524"/>
                </a:lnTo>
                <a:lnTo>
                  <a:pt x="587" y="509"/>
                </a:lnTo>
                <a:lnTo>
                  <a:pt x="589" y="500"/>
                </a:lnTo>
                <a:lnTo>
                  <a:pt x="591" y="492"/>
                </a:lnTo>
                <a:lnTo>
                  <a:pt x="592" y="483"/>
                </a:lnTo>
                <a:lnTo>
                  <a:pt x="593" y="474"/>
                </a:lnTo>
                <a:lnTo>
                  <a:pt x="594" y="464"/>
                </a:lnTo>
                <a:lnTo>
                  <a:pt x="594" y="455"/>
                </a:lnTo>
                <a:lnTo>
                  <a:pt x="594" y="445"/>
                </a:lnTo>
                <a:lnTo>
                  <a:pt x="593" y="435"/>
                </a:lnTo>
                <a:lnTo>
                  <a:pt x="592" y="426"/>
                </a:lnTo>
                <a:lnTo>
                  <a:pt x="591" y="417"/>
                </a:lnTo>
                <a:lnTo>
                  <a:pt x="587" y="400"/>
                </a:lnTo>
                <a:lnTo>
                  <a:pt x="585" y="392"/>
                </a:lnTo>
                <a:lnTo>
                  <a:pt x="583" y="385"/>
                </a:lnTo>
                <a:lnTo>
                  <a:pt x="580" y="377"/>
                </a:lnTo>
                <a:lnTo>
                  <a:pt x="577" y="370"/>
                </a:lnTo>
                <a:lnTo>
                  <a:pt x="573" y="364"/>
                </a:lnTo>
                <a:lnTo>
                  <a:pt x="569" y="357"/>
                </a:lnTo>
                <a:lnTo>
                  <a:pt x="565" y="352"/>
                </a:lnTo>
                <a:lnTo>
                  <a:pt x="561" y="346"/>
                </a:lnTo>
                <a:lnTo>
                  <a:pt x="552" y="336"/>
                </a:lnTo>
                <a:lnTo>
                  <a:pt x="542" y="327"/>
                </a:lnTo>
                <a:lnTo>
                  <a:pt x="532" y="319"/>
                </a:lnTo>
                <a:lnTo>
                  <a:pt x="526" y="315"/>
                </a:lnTo>
                <a:lnTo>
                  <a:pt x="520" y="312"/>
                </a:lnTo>
                <a:lnTo>
                  <a:pt x="515" y="309"/>
                </a:lnTo>
                <a:lnTo>
                  <a:pt x="509" y="307"/>
                </a:lnTo>
                <a:lnTo>
                  <a:pt x="503" y="305"/>
                </a:lnTo>
                <a:lnTo>
                  <a:pt x="497" y="303"/>
                </a:lnTo>
                <a:lnTo>
                  <a:pt x="490" y="301"/>
                </a:lnTo>
                <a:lnTo>
                  <a:pt x="484" y="300"/>
                </a:lnTo>
                <a:lnTo>
                  <a:pt x="471" y="298"/>
                </a:lnTo>
                <a:lnTo>
                  <a:pt x="465" y="298"/>
                </a:lnTo>
                <a:lnTo>
                  <a:pt x="459" y="298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4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4"/>
                </a:lnTo>
                <a:lnTo>
                  <a:pt x="0" y="908"/>
                </a:lnTo>
                <a:close/>
                <a:moveTo>
                  <a:pt x="681" y="676"/>
                </a:moveTo>
                <a:lnTo>
                  <a:pt x="591" y="676"/>
                </a:lnTo>
                <a:lnTo>
                  <a:pt x="591" y="624"/>
                </a:lnTo>
                <a:lnTo>
                  <a:pt x="588" y="627"/>
                </a:lnTo>
                <a:lnTo>
                  <a:pt x="585" y="631"/>
                </a:lnTo>
                <a:lnTo>
                  <a:pt x="579" y="637"/>
                </a:lnTo>
                <a:lnTo>
                  <a:pt x="572" y="644"/>
                </a:lnTo>
                <a:lnTo>
                  <a:pt x="565" y="649"/>
                </a:lnTo>
                <a:lnTo>
                  <a:pt x="549" y="660"/>
                </a:lnTo>
                <a:lnTo>
                  <a:pt x="541" y="665"/>
                </a:lnTo>
                <a:lnTo>
                  <a:pt x="532" y="669"/>
                </a:lnTo>
                <a:lnTo>
                  <a:pt x="523" y="673"/>
                </a:lnTo>
                <a:lnTo>
                  <a:pt x="514" y="676"/>
                </a:lnTo>
                <a:lnTo>
                  <a:pt x="504" y="679"/>
                </a:lnTo>
                <a:lnTo>
                  <a:pt x="494" y="682"/>
                </a:lnTo>
                <a:lnTo>
                  <a:pt x="484" y="684"/>
                </a:lnTo>
                <a:lnTo>
                  <a:pt x="473" y="685"/>
                </a:lnTo>
                <a:lnTo>
                  <a:pt x="462" y="686"/>
                </a:lnTo>
                <a:lnTo>
                  <a:pt x="451" y="686"/>
                </a:lnTo>
                <a:lnTo>
                  <a:pt x="439" y="686"/>
                </a:lnTo>
                <a:lnTo>
                  <a:pt x="427" y="685"/>
                </a:lnTo>
                <a:lnTo>
                  <a:pt x="415" y="684"/>
                </a:lnTo>
                <a:lnTo>
                  <a:pt x="404" y="682"/>
                </a:lnTo>
                <a:lnTo>
                  <a:pt x="393" y="679"/>
                </a:lnTo>
                <a:lnTo>
                  <a:pt x="382" y="676"/>
                </a:lnTo>
                <a:lnTo>
                  <a:pt x="372" y="672"/>
                </a:lnTo>
                <a:lnTo>
                  <a:pt x="361" y="668"/>
                </a:lnTo>
                <a:lnTo>
                  <a:pt x="351" y="663"/>
                </a:lnTo>
                <a:lnTo>
                  <a:pt x="342" y="658"/>
                </a:lnTo>
                <a:lnTo>
                  <a:pt x="332" y="653"/>
                </a:lnTo>
                <a:lnTo>
                  <a:pt x="323" y="647"/>
                </a:lnTo>
                <a:lnTo>
                  <a:pt x="315" y="640"/>
                </a:lnTo>
                <a:lnTo>
                  <a:pt x="306" y="633"/>
                </a:lnTo>
                <a:lnTo>
                  <a:pt x="298" y="626"/>
                </a:lnTo>
                <a:lnTo>
                  <a:pt x="291" y="618"/>
                </a:lnTo>
                <a:lnTo>
                  <a:pt x="283" y="610"/>
                </a:lnTo>
                <a:lnTo>
                  <a:pt x="276" y="602"/>
                </a:lnTo>
                <a:lnTo>
                  <a:pt x="270" y="593"/>
                </a:lnTo>
                <a:lnTo>
                  <a:pt x="264" y="584"/>
                </a:lnTo>
                <a:lnTo>
                  <a:pt x="258" y="575"/>
                </a:lnTo>
                <a:lnTo>
                  <a:pt x="253" y="565"/>
                </a:lnTo>
                <a:lnTo>
                  <a:pt x="248" y="555"/>
                </a:lnTo>
                <a:lnTo>
                  <a:pt x="244" y="545"/>
                </a:lnTo>
                <a:lnTo>
                  <a:pt x="240" y="534"/>
                </a:lnTo>
                <a:lnTo>
                  <a:pt x="236" y="523"/>
                </a:lnTo>
                <a:lnTo>
                  <a:pt x="234" y="512"/>
                </a:lnTo>
                <a:lnTo>
                  <a:pt x="231" y="501"/>
                </a:lnTo>
                <a:lnTo>
                  <a:pt x="229" y="489"/>
                </a:lnTo>
                <a:lnTo>
                  <a:pt x="228" y="478"/>
                </a:lnTo>
                <a:lnTo>
                  <a:pt x="227" y="466"/>
                </a:lnTo>
                <a:lnTo>
                  <a:pt x="227" y="454"/>
                </a:lnTo>
                <a:lnTo>
                  <a:pt x="227" y="442"/>
                </a:lnTo>
                <a:lnTo>
                  <a:pt x="228" y="430"/>
                </a:lnTo>
                <a:lnTo>
                  <a:pt x="229" y="418"/>
                </a:lnTo>
                <a:lnTo>
                  <a:pt x="231" y="407"/>
                </a:lnTo>
                <a:lnTo>
                  <a:pt x="234" y="396"/>
                </a:lnTo>
                <a:lnTo>
                  <a:pt x="235" y="390"/>
                </a:lnTo>
                <a:lnTo>
                  <a:pt x="236" y="385"/>
                </a:lnTo>
                <a:lnTo>
                  <a:pt x="240" y="374"/>
                </a:lnTo>
                <a:lnTo>
                  <a:pt x="244" y="363"/>
                </a:lnTo>
                <a:lnTo>
                  <a:pt x="248" y="353"/>
                </a:lnTo>
                <a:lnTo>
                  <a:pt x="253" y="343"/>
                </a:lnTo>
                <a:lnTo>
                  <a:pt x="258" y="333"/>
                </a:lnTo>
                <a:lnTo>
                  <a:pt x="264" y="324"/>
                </a:lnTo>
                <a:lnTo>
                  <a:pt x="270" y="315"/>
                </a:lnTo>
                <a:lnTo>
                  <a:pt x="276" y="306"/>
                </a:lnTo>
                <a:lnTo>
                  <a:pt x="283" y="298"/>
                </a:lnTo>
                <a:lnTo>
                  <a:pt x="291" y="290"/>
                </a:lnTo>
                <a:lnTo>
                  <a:pt x="298" y="282"/>
                </a:lnTo>
                <a:lnTo>
                  <a:pt x="306" y="275"/>
                </a:lnTo>
                <a:lnTo>
                  <a:pt x="310" y="271"/>
                </a:lnTo>
                <a:lnTo>
                  <a:pt x="315" y="268"/>
                </a:lnTo>
                <a:lnTo>
                  <a:pt x="323" y="261"/>
                </a:lnTo>
                <a:lnTo>
                  <a:pt x="332" y="255"/>
                </a:lnTo>
                <a:lnTo>
                  <a:pt x="342" y="250"/>
                </a:lnTo>
                <a:lnTo>
                  <a:pt x="351" y="245"/>
                </a:lnTo>
                <a:lnTo>
                  <a:pt x="361" y="240"/>
                </a:lnTo>
                <a:lnTo>
                  <a:pt x="372" y="236"/>
                </a:lnTo>
                <a:lnTo>
                  <a:pt x="382" y="232"/>
                </a:lnTo>
                <a:lnTo>
                  <a:pt x="393" y="229"/>
                </a:lnTo>
                <a:lnTo>
                  <a:pt x="404" y="227"/>
                </a:lnTo>
                <a:lnTo>
                  <a:pt x="415" y="225"/>
                </a:lnTo>
                <a:lnTo>
                  <a:pt x="427" y="223"/>
                </a:lnTo>
                <a:lnTo>
                  <a:pt x="439" y="222"/>
                </a:lnTo>
                <a:lnTo>
                  <a:pt x="451" y="222"/>
                </a:lnTo>
                <a:lnTo>
                  <a:pt x="462" y="222"/>
                </a:lnTo>
                <a:lnTo>
                  <a:pt x="473" y="223"/>
                </a:lnTo>
                <a:lnTo>
                  <a:pt x="484" y="224"/>
                </a:lnTo>
                <a:lnTo>
                  <a:pt x="494" y="226"/>
                </a:lnTo>
                <a:lnTo>
                  <a:pt x="504" y="229"/>
                </a:lnTo>
                <a:lnTo>
                  <a:pt x="513" y="231"/>
                </a:lnTo>
                <a:lnTo>
                  <a:pt x="523" y="235"/>
                </a:lnTo>
                <a:lnTo>
                  <a:pt x="532" y="239"/>
                </a:lnTo>
                <a:lnTo>
                  <a:pt x="540" y="243"/>
                </a:lnTo>
                <a:lnTo>
                  <a:pt x="549" y="247"/>
                </a:lnTo>
                <a:lnTo>
                  <a:pt x="557" y="253"/>
                </a:lnTo>
                <a:lnTo>
                  <a:pt x="560" y="255"/>
                </a:lnTo>
                <a:lnTo>
                  <a:pt x="564" y="258"/>
                </a:lnTo>
                <a:lnTo>
                  <a:pt x="571" y="264"/>
                </a:lnTo>
                <a:lnTo>
                  <a:pt x="578" y="270"/>
                </a:lnTo>
                <a:lnTo>
                  <a:pt x="585" y="277"/>
                </a:lnTo>
                <a:lnTo>
                  <a:pt x="591" y="283"/>
                </a:lnTo>
                <a:lnTo>
                  <a:pt x="591" y="231"/>
                </a:lnTo>
                <a:lnTo>
                  <a:pt x="681" y="231"/>
                </a:lnTo>
                <a:lnTo>
                  <a:pt x="681" y="6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30" name="Freeform 19"/>
          <p:cNvSpPr>
            <a:spLocks noChangeAspect="1" noEditPoints="1"/>
          </p:cNvSpPr>
          <p:nvPr userDrawn="1"/>
        </p:nvSpPr>
        <p:spPr bwMode="auto">
          <a:xfrm>
            <a:off x="-1237" y="2571154"/>
            <a:ext cx="1306667" cy="1286466"/>
          </a:xfrm>
          <a:custGeom>
            <a:avLst/>
            <a:gdLst>
              <a:gd name="T0" fmla="*/ 424 w 908"/>
              <a:gd name="T1" fmla="*/ 683 h 908"/>
              <a:gd name="T2" fmla="*/ 365 w 908"/>
              <a:gd name="T3" fmla="*/ 671 h 908"/>
              <a:gd name="T4" fmla="*/ 304 w 908"/>
              <a:gd name="T5" fmla="*/ 647 h 908"/>
              <a:gd name="T6" fmla="*/ 247 w 908"/>
              <a:gd name="T7" fmla="*/ 610 h 908"/>
              <a:gd name="T8" fmla="*/ 286 w 908"/>
              <a:gd name="T9" fmla="*/ 536 h 908"/>
              <a:gd name="T10" fmla="*/ 321 w 908"/>
              <a:gd name="T11" fmla="*/ 562 h 908"/>
              <a:gd name="T12" fmla="*/ 365 w 908"/>
              <a:gd name="T13" fmla="*/ 585 h 908"/>
              <a:gd name="T14" fmla="*/ 405 w 908"/>
              <a:gd name="T15" fmla="*/ 598 h 908"/>
              <a:gd name="T16" fmla="*/ 441 w 908"/>
              <a:gd name="T17" fmla="*/ 604 h 908"/>
              <a:gd name="T18" fmla="*/ 508 w 908"/>
              <a:gd name="T19" fmla="*/ 602 h 908"/>
              <a:gd name="T20" fmla="*/ 551 w 908"/>
              <a:gd name="T21" fmla="*/ 589 h 908"/>
              <a:gd name="T22" fmla="*/ 571 w 908"/>
              <a:gd name="T23" fmla="*/ 575 h 908"/>
              <a:gd name="T24" fmla="*/ 582 w 908"/>
              <a:gd name="T25" fmla="*/ 556 h 908"/>
              <a:gd name="T26" fmla="*/ 583 w 908"/>
              <a:gd name="T27" fmla="*/ 539 h 908"/>
              <a:gd name="T28" fmla="*/ 575 w 908"/>
              <a:gd name="T29" fmla="*/ 524 h 908"/>
              <a:gd name="T30" fmla="*/ 559 w 908"/>
              <a:gd name="T31" fmla="*/ 512 h 908"/>
              <a:gd name="T32" fmla="*/ 521 w 908"/>
              <a:gd name="T33" fmla="*/ 501 h 908"/>
              <a:gd name="T34" fmla="*/ 394 w 908"/>
              <a:gd name="T35" fmla="*/ 483 h 908"/>
              <a:gd name="T36" fmla="*/ 324 w 908"/>
              <a:gd name="T37" fmla="*/ 465 h 908"/>
              <a:gd name="T38" fmla="*/ 280 w 908"/>
              <a:gd name="T39" fmla="*/ 442 h 908"/>
              <a:gd name="T40" fmla="*/ 257 w 908"/>
              <a:gd name="T41" fmla="*/ 420 h 908"/>
              <a:gd name="T42" fmla="*/ 243 w 908"/>
              <a:gd name="T43" fmla="*/ 392 h 908"/>
              <a:gd name="T44" fmla="*/ 237 w 908"/>
              <a:gd name="T45" fmla="*/ 356 h 908"/>
              <a:gd name="T46" fmla="*/ 242 w 908"/>
              <a:gd name="T47" fmla="*/ 328 h 908"/>
              <a:gd name="T48" fmla="*/ 254 w 908"/>
              <a:gd name="T49" fmla="*/ 302 h 908"/>
              <a:gd name="T50" fmla="*/ 274 w 908"/>
              <a:gd name="T51" fmla="*/ 279 h 908"/>
              <a:gd name="T52" fmla="*/ 299 w 908"/>
              <a:gd name="T53" fmla="*/ 260 h 908"/>
              <a:gd name="T54" fmla="*/ 347 w 908"/>
              <a:gd name="T55" fmla="*/ 237 h 908"/>
              <a:gd name="T56" fmla="*/ 422 w 908"/>
              <a:gd name="T57" fmla="*/ 222 h 908"/>
              <a:gd name="T58" fmla="*/ 489 w 908"/>
              <a:gd name="T59" fmla="*/ 224 h 908"/>
              <a:gd name="T60" fmla="*/ 545 w 908"/>
              <a:gd name="T61" fmla="*/ 235 h 908"/>
              <a:gd name="T62" fmla="*/ 596 w 908"/>
              <a:gd name="T63" fmla="*/ 255 h 908"/>
              <a:gd name="T64" fmla="*/ 641 w 908"/>
              <a:gd name="T65" fmla="*/ 283 h 908"/>
              <a:gd name="T66" fmla="*/ 591 w 908"/>
              <a:gd name="T67" fmla="*/ 351 h 908"/>
              <a:gd name="T68" fmla="*/ 550 w 908"/>
              <a:gd name="T69" fmla="*/ 325 h 908"/>
              <a:gd name="T70" fmla="*/ 503 w 908"/>
              <a:gd name="T71" fmla="*/ 308 h 908"/>
              <a:gd name="T72" fmla="*/ 462 w 908"/>
              <a:gd name="T73" fmla="*/ 302 h 908"/>
              <a:gd name="T74" fmla="*/ 416 w 908"/>
              <a:gd name="T75" fmla="*/ 303 h 908"/>
              <a:gd name="T76" fmla="*/ 372 w 908"/>
              <a:gd name="T77" fmla="*/ 313 h 908"/>
              <a:gd name="T78" fmla="*/ 343 w 908"/>
              <a:gd name="T79" fmla="*/ 329 h 908"/>
              <a:gd name="T80" fmla="*/ 328 w 908"/>
              <a:gd name="T81" fmla="*/ 347 h 908"/>
              <a:gd name="T82" fmla="*/ 328 w 908"/>
              <a:gd name="T83" fmla="*/ 366 h 908"/>
              <a:gd name="T84" fmla="*/ 338 w 908"/>
              <a:gd name="T85" fmla="*/ 380 h 908"/>
              <a:gd name="T86" fmla="*/ 369 w 908"/>
              <a:gd name="T87" fmla="*/ 395 h 908"/>
              <a:gd name="T88" fmla="*/ 443 w 908"/>
              <a:gd name="T89" fmla="*/ 407 h 908"/>
              <a:gd name="T90" fmla="*/ 550 w 908"/>
              <a:gd name="T91" fmla="*/ 424 h 908"/>
              <a:gd name="T92" fmla="*/ 607 w 908"/>
              <a:gd name="T93" fmla="*/ 442 h 908"/>
              <a:gd name="T94" fmla="*/ 639 w 908"/>
              <a:gd name="T95" fmla="*/ 462 h 908"/>
              <a:gd name="T96" fmla="*/ 658 w 908"/>
              <a:gd name="T97" fmla="*/ 483 h 908"/>
              <a:gd name="T98" fmla="*/ 670 w 908"/>
              <a:gd name="T99" fmla="*/ 511 h 908"/>
              <a:gd name="T100" fmla="*/ 674 w 908"/>
              <a:gd name="T101" fmla="*/ 545 h 908"/>
              <a:gd name="T102" fmla="*/ 670 w 908"/>
              <a:gd name="T103" fmla="*/ 573 h 908"/>
              <a:gd name="T104" fmla="*/ 659 w 908"/>
              <a:gd name="T105" fmla="*/ 600 h 908"/>
              <a:gd name="T106" fmla="*/ 641 w 908"/>
              <a:gd name="T107" fmla="*/ 624 h 908"/>
              <a:gd name="T108" fmla="*/ 616 w 908"/>
              <a:gd name="T109" fmla="*/ 644 h 908"/>
              <a:gd name="T110" fmla="*/ 569 w 908"/>
              <a:gd name="T111" fmla="*/ 668 h 908"/>
              <a:gd name="T112" fmla="*/ 510 w 908"/>
              <a:gd name="T113" fmla="*/ 683 h 908"/>
              <a:gd name="T114" fmla="*/ 0 w 908"/>
              <a:gd name="T115" fmla="*/ 908 h 908"/>
              <a:gd name="T116" fmla="*/ 908 w 908"/>
              <a:gd name="T117" fmla="*/ 0 h 908"/>
              <a:gd name="T118" fmla="*/ 0 w 908"/>
              <a:gd name="T119" fmla="*/ 908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466" y="685"/>
                </a:moveTo>
                <a:lnTo>
                  <a:pt x="452" y="685"/>
                </a:lnTo>
                <a:lnTo>
                  <a:pt x="438" y="684"/>
                </a:lnTo>
                <a:lnTo>
                  <a:pt x="424" y="683"/>
                </a:lnTo>
                <a:lnTo>
                  <a:pt x="410" y="681"/>
                </a:lnTo>
                <a:lnTo>
                  <a:pt x="395" y="678"/>
                </a:lnTo>
                <a:lnTo>
                  <a:pt x="380" y="675"/>
                </a:lnTo>
                <a:lnTo>
                  <a:pt x="365" y="671"/>
                </a:lnTo>
                <a:lnTo>
                  <a:pt x="350" y="666"/>
                </a:lnTo>
                <a:lnTo>
                  <a:pt x="335" y="661"/>
                </a:lnTo>
                <a:lnTo>
                  <a:pt x="319" y="654"/>
                </a:lnTo>
                <a:lnTo>
                  <a:pt x="304" y="647"/>
                </a:lnTo>
                <a:lnTo>
                  <a:pt x="290" y="639"/>
                </a:lnTo>
                <a:lnTo>
                  <a:pt x="275" y="631"/>
                </a:lnTo>
                <a:lnTo>
                  <a:pt x="261" y="621"/>
                </a:lnTo>
                <a:lnTo>
                  <a:pt x="247" y="610"/>
                </a:lnTo>
                <a:lnTo>
                  <a:pt x="240" y="605"/>
                </a:lnTo>
                <a:lnTo>
                  <a:pt x="233" y="599"/>
                </a:lnTo>
                <a:lnTo>
                  <a:pt x="283" y="533"/>
                </a:lnTo>
                <a:lnTo>
                  <a:pt x="286" y="536"/>
                </a:lnTo>
                <a:lnTo>
                  <a:pt x="296" y="544"/>
                </a:lnTo>
                <a:lnTo>
                  <a:pt x="303" y="550"/>
                </a:lnTo>
                <a:lnTo>
                  <a:pt x="311" y="556"/>
                </a:lnTo>
                <a:lnTo>
                  <a:pt x="321" y="562"/>
                </a:lnTo>
                <a:lnTo>
                  <a:pt x="332" y="569"/>
                </a:lnTo>
                <a:lnTo>
                  <a:pt x="345" y="576"/>
                </a:lnTo>
                <a:lnTo>
                  <a:pt x="358" y="582"/>
                </a:lnTo>
                <a:lnTo>
                  <a:pt x="365" y="585"/>
                </a:lnTo>
                <a:lnTo>
                  <a:pt x="373" y="588"/>
                </a:lnTo>
                <a:lnTo>
                  <a:pt x="388" y="594"/>
                </a:lnTo>
                <a:lnTo>
                  <a:pt x="396" y="596"/>
                </a:lnTo>
                <a:lnTo>
                  <a:pt x="405" y="598"/>
                </a:lnTo>
                <a:lnTo>
                  <a:pt x="414" y="600"/>
                </a:lnTo>
                <a:lnTo>
                  <a:pt x="423" y="602"/>
                </a:lnTo>
                <a:lnTo>
                  <a:pt x="432" y="603"/>
                </a:lnTo>
                <a:lnTo>
                  <a:pt x="441" y="604"/>
                </a:lnTo>
                <a:lnTo>
                  <a:pt x="460" y="605"/>
                </a:lnTo>
                <a:lnTo>
                  <a:pt x="478" y="605"/>
                </a:lnTo>
                <a:lnTo>
                  <a:pt x="494" y="604"/>
                </a:lnTo>
                <a:lnTo>
                  <a:pt x="508" y="602"/>
                </a:lnTo>
                <a:lnTo>
                  <a:pt x="521" y="599"/>
                </a:lnTo>
                <a:lnTo>
                  <a:pt x="533" y="596"/>
                </a:lnTo>
                <a:lnTo>
                  <a:pt x="543" y="593"/>
                </a:lnTo>
                <a:lnTo>
                  <a:pt x="551" y="589"/>
                </a:lnTo>
                <a:lnTo>
                  <a:pt x="559" y="585"/>
                </a:lnTo>
                <a:lnTo>
                  <a:pt x="565" y="580"/>
                </a:lnTo>
                <a:lnTo>
                  <a:pt x="568" y="578"/>
                </a:lnTo>
                <a:lnTo>
                  <a:pt x="571" y="575"/>
                </a:lnTo>
                <a:lnTo>
                  <a:pt x="575" y="571"/>
                </a:lnTo>
                <a:lnTo>
                  <a:pt x="578" y="566"/>
                </a:lnTo>
                <a:lnTo>
                  <a:pt x="580" y="561"/>
                </a:lnTo>
                <a:lnTo>
                  <a:pt x="582" y="556"/>
                </a:lnTo>
                <a:lnTo>
                  <a:pt x="583" y="552"/>
                </a:lnTo>
                <a:lnTo>
                  <a:pt x="583" y="547"/>
                </a:lnTo>
                <a:lnTo>
                  <a:pt x="583" y="543"/>
                </a:lnTo>
                <a:lnTo>
                  <a:pt x="583" y="539"/>
                </a:lnTo>
                <a:lnTo>
                  <a:pt x="582" y="536"/>
                </a:lnTo>
                <a:lnTo>
                  <a:pt x="580" y="533"/>
                </a:lnTo>
                <a:lnTo>
                  <a:pt x="577" y="526"/>
                </a:lnTo>
                <a:lnTo>
                  <a:pt x="575" y="524"/>
                </a:lnTo>
                <a:lnTo>
                  <a:pt x="572" y="521"/>
                </a:lnTo>
                <a:lnTo>
                  <a:pt x="569" y="519"/>
                </a:lnTo>
                <a:lnTo>
                  <a:pt x="566" y="516"/>
                </a:lnTo>
                <a:lnTo>
                  <a:pt x="559" y="512"/>
                </a:lnTo>
                <a:lnTo>
                  <a:pt x="551" y="509"/>
                </a:lnTo>
                <a:lnTo>
                  <a:pt x="542" y="506"/>
                </a:lnTo>
                <a:lnTo>
                  <a:pt x="532" y="503"/>
                </a:lnTo>
                <a:lnTo>
                  <a:pt x="521" y="501"/>
                </a:lnTo>
                <a:lnTo>
                  <a:pt x="498" y="497"/>
                </a:lnTo>
                <a:lnTo>
                  <a:pt x="447" y="490"/>
                </a:lnTo>
                <a:lnTo>
                  <a:pt x="412" y="485"/>
                </a:lnTo>
                <a:lnTo>
                  <a:pt x="394" y="483"/>
                </a:lnTo>
                <a:lnTo>
                  <a:pt x="376" y="479"/>
                </a:lnTo>
                <a:lnTo>
                  <a:pt x="358" y="475"/>
                </a:lnTo>
                <a:lnTo>
                  <a:pt x="341" y="471"/>
                </a:lnTo>
                <a:lnTo>
                  <a:pt x="324" y="465"/>
                </a:lnTo>
                <a:lnTo>
                  <a:pt x="308" y="459"/>
                </a:lnTo>
                <a:lnTo>
                  <a:pt x="301" y="455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8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1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2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2"/>
                </a:lnTo>
                <a:lnTo>
                  <a:pt x="327" y="356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4"/>
                </a:lnTo>
                <a:lnTo>
                  <a:pt x="443" y="407"/>
                </a:lnTo>
                <a:lnTo>
                  <a:pt x="473" y="411"/>
                </a:lnTo>
                <a:lnTo>
                  <a:pt x="513" y="417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2"/>
                </a:lnTo>
                <a:lnTo>
                  <a:pt x="645" y="467"/>
                </a:lnTo>
                <a:lnTo>
                  <a:pt x="649" y="472"/>
                </a:lnTo>
                <a:lnTo>
                  <a:pt x="654" y="478"/>
                </a:lnTo>
                <a:lnTo>
                  <a:pt x="658" y="483"/>
                </a:lnTo>
                <a:lnTo>
                  <a:pt x="662" y="490"/>
                </a:lnTo>
                <a:lnTo>
                  <a:pt x="665" y="496"/>
                </a:lnTo>
                <a:lnTo>
                  <a:pt x="668" y="503"/>
                </a:lnTo>
                <a:lnTo>
                  <a:pt x="670" y="511"/>
                </a:lnTo>
                <a:lnTo>
                  <a:pt x="672" y="518"/>
                </a:lnTo>
                <a:lnTo>
                  <a:pt x="673" y="527"/>
                </a:lnTo>
                <a:lnTo>
                  <a:pt x="674" y="535"/>
                </a:lnTo>
                <a:lnTo>
                  <a:pt x="674" y="545"/>
                </a:lnTo>
                <a:lnTo>
                  <a:pt x="674" y="552"/>
                </a:lnTo>
                <a:lnTo>
                  <a:pt x="673" y="559"/>
                </a:lnTo>
                <a:lnTo>
                  <a:pt x="672" y="566"/>
                </a:lnTo>
                <a:lnTo>
                  <a:pt x="670" y="573"/>
                </a:lnTo>
                <a:lnTo>
                  <a:pt x="668" y="580"/>
                </a:lnTo>
                <a:lnTo>
                  <a:pt x="666" y="587"/>
                </a:lnTo>
                <a:lnTo>
                  <a:pt x="663" y="593"/>
                </a:lnTo>
                <a:lnTo>
                  <a:pt x="659" y="600"/>
                </a:lnTo>
                <a:lnTo>
                  <a:pt x="655" y="606"/>
                </a:lnTo>
                <a:lnTo>
                  <a:pt x="651" y="612"/>
                </a:lnTo>
                <a:lnTo>
                  <a:pt x="646" y="618"/>
                </a:lnTo>
                <a:lnTo>
                  <a:pt x="641" y="624"/>
                </a:lnTo>
                <a:lnTo>
                  <a:pt x="635" y="629"/>
                </a:lnTo>
                <a:lnTo>
                  <a:pt x="629" y="634"/>
                </a:lnTo>
                <a:lnTo>
                  <a:pt x="623" y="639"/>
                </a:lnTo>
                <a:lnTo>
                  <a:pt x="616" y="644"/>
                </a:lnTo>
                <a:lnTo>
                  <a:pt x="609" y="649"/>
                </a:lnTo>
                <a:lnTo>
                  <a:pt x="602" y="653"/>
                </a:lnTo>
                <a:lnTo>
                  <a:pt x="586" y="661"/>
                </a:lnTo>
                <a:lnTo>
                  <a:pt x="569" y="668"/>
                </a:lnTo>
                <a:lnTo>
                  <a:pt x="560" y="672"/>
                </a:lnTo>
                <a:lnTo>
                  <a:pt x="550" y="674"/>
                </a:lnTo>
                <a:lnTo>
                  <a:pt x="531" y="679"/>
                </a:lnTo>
                <a:lnTo>
                  <a:pt x="510" y="683"/>
                </a:lnTo>
                <a:lnTo>
                  <a:pt x="499" y="684"/>
                </a:lnTo>
                <a:lnTo>
                  <a:pt x="488" y="685"/>
                </a:lnTo>
                <a:lnTo>
                  <a:pt x="466" y="685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31" name="Freeform 20"/>
          <p:cNvSpPr>
            <a:spLocks noChangeAspect="1" noEditPoints="1"/>
          </p:cNvSpPr>
          <p:nvPr userDrawn="1"/>
        </p:nvSpPr>
        <p:spPr bwMode="auto">
          <a:xfrm>
            <a:off x="3918687" y="2571453"/>
            <a:ext cx="1306382" cy="1285880"/>
          </a:xfrm>
          <a:custGeom>
            <a:avLst/>
            <a:gdLst>
              <a:gd name="T0" fmla="*/ 908 w 908"/>
              <a:gd name="T1" fmla="*/ 453 h 908"/>
              <a:gd name="T2" fmla="*/ 0 w 908"/>
              <a:gd name="T3" fmla="*/ 453 h 908"/>
              <a:gd name="T4" fmla="*/ 431 w 908"/>
              <a:gd name="T5" fmla="*/ 684 h 908"/>
              <a:gd name="T6" fmla="*/ 386 w 908"/>
              <a:gd name="T7" fmla="*/ 675 h 908"/>
              <a:gd name="T8" fmla="*/ 344 w 908"/>
              <a:gd name="T9" fmla="*/ 657 h 908"/>
              <a:gd name="T10" fmla="*/ 307 w 908"/>
              <a:gd name="T11" fmla="*/ 632 h 908"/>
              <a:gd name="T12" fmla="*/ 276 w 908"/>
              <a:gd name="T13" fmla="*/ 601 h 908"/>
              <a:gd name="T14" fmla="*/ 251 w 908"/>
              <a:gd name="T15" fmla="*/ 564 h 908"/>
              <a:gd name="T16" fmla="*/ 233 w 908"/>
              <a:gd name="T17" fmla="*/ 523 h 908"/>
              <a:gd name="T18" fmla="*/ 223 w 908"/>
              <a:gd name="T19" fmla="*/ 477 h 908"/>
              <a:gd name="T20" fmla="*/ 223 w 908"/>
              <a:gd name="T21" fmla="*/ 429 h 908"/>
              <a:gd name="T22" fmla="*/ 233 w 908"/>
              <a:gd name="T23" fmla="*/ 383 h 908"/>
              <a:gd name="T24" fmla="*/ 251 w 908"/>
              <a:gd name="T25" fmla="*/ 342 h 908"/>
              <a:gd name="T26" fmla="*/ 276 w 908"/>
              <a:gd name="T27" fmla="*/ 305 h 908"/>
              <a:gd name="T28" fmla="*/ 307 w 908"/>
              <a:gd name="T29" fmla="*/ 274 h 908"/>
              <a:gd name="T30" fmla="*/ 344 w 908"/>
              <a:gd name="T31" fmla="*/ 249 h 908"/>
              <a:gd name="T32" fmla="*/ 386 w 908"/>
              <a:gd name="T33" fmla="*/ 231 h 908"/>
              <a:gd name="T34" fmla="*/ 431 w 908"/>
              <a:gd name="T35" fmla="*/ 222 h 908"/>
              <a:gd name="T36" fmla="*/ 479 w 908"/>
              <a:gd name="T37" fmla="*/ 222 h 908"/>
              <a:gd name="T38" fmla="*/ 524 w 908"/>
              <a:gd name="T39" fmla="*/ 231 h 908"/>
              <a:gd name="T40" fmla="*/ 565 w 908"/>
              <a:gd name="T41" fmla="*/ 249 h 908"/>
              <a:gd name="T42" fmla="*/ 602 w 908"/>
              <a:gd name="T43" fmla="*/ 274 h 908"/>
              <a:gd name="T44" fmla="*/ 634 w 908"/>
              <a:gd name="T45" fmla="*/ 305 h 908"/>
              <a:gd name="T46" fmla="*/ 659 w 908"/>
              <a:gd name="T47" fmla="*/ 342 h 908"/>
              <a:gd name="T48" fmla="*/ 676 w 908"/>
              <a:gd name="T49" fmla="*/ 383 h 908"/>
              <a:gd name="T50" fmla="*/ 685 w 908"/>
              <a:gd name="T51" fmla="*/ 429 h 908"/>
              <a:gd name="T52" fmla="*/ 685 w 908"/>
              <a:gd name="T53" fmla="*/ 477 h 908"/>
              <a:gd name="T54" fmla="*/ 676 w 908"/>
              <a:gd name="T55" fmla="*/ 523 h 908"/>
              <a:gd name="T56" fmla="*/ 659 w 908"/>
              <a:gd name="T57" fmla="*/ 564 h 908"/>
              <a:gd name="T58" fmla="*/ 634 w 908"/>
              <a:gd name="T59" fmla="*/ 601 h 908"/>
              <a:gd name="T60" fmla="*/ 602 w 908"/>
              <a:gd name="T61" fmla="*/ 632 h 908"/>
              <a:gd name="T62" fmla="*/ 565 w 908"/>
              <a:gd name="T63" fmla="*/ 657 h 908"/>
              <a:gd name="T64" fmla="*/ 524 w 908"/>
              <a:gd name="T65" fmla="*/ 675 h 908"/>
              <a:gd name="T66" fmla="*/ 479 w 908"/>
              <a:gd name="T67" fmla="*/ 684 h 908"/>
              <a:gd name="T68" fmla="*/ 440 w 908"/>
              <a:gd name="T69" fmla="*/ 302 h 908"/>
              <a:gd name="T70" fmla="*/ 406 w 908"/>
              <a:gd name="T71" fmla="*/ 309 h 908"/>
              <a:gd name="T72" fmla="*/ 381 w 908"/>
              <a:gd name="T73" fmla="*/ 321 h 908"/>
              <a:gd name="T74" fmla="*/ 359 w 908"/>
              <a:gd name="T75" fmla="*/ 338 h 908"/>
              <a:gd name="T76" fmla="*/ 341 w 908"/>
              <a:gd name="T77" fmla="*/ 359 h 908"/>
              <a:gd name="T78" fmla="*/ 323 w 908"/>
              <a:gd name="T79" fmla="*/ 391 h 908"/>
              <a:gd name="T80" fmla="*/ 315 w 908"/>
              <a:gd name="T81" fmla="*/ 420 h 908"/>
              <a:gd name="T82" fmla="*/ 313 w 908"/>
              <a:gd name="T83" fmla="*/ 470 h 908"/>
              <a:gd name="T84" fmla="*/ 323 w 908"/>
              <a:gd name="T85" fmla="*/ 515 h 908"/>
              <a:gd name="T86" fmla="*/ 341 w 908"/>
              <a:gd name="T87" fmla="*/ 547 h 908"/>
              <a:gd name="T88" fmla="*/ 359 w 908"/>
              <a:gd name="T89" fmla="*/ 568 h 908"/>
              <a:gd name="T90" fmla="*/ 387 w 908"/>
              <a:gd name="T91" fmla="*/ 588 h 908"/>
              <a:gd name="T92" fmla="*/ 426 w 908"/>
              <a:gd name="T93" fmla="*/ 602 h 908"/>
              <a:gd name="T94" fmla="*/ 469 w 908"/>
              <a:gd name="T95" fmla="*/ 604 h 908"/>
              <a:gd name="T96" fmla="*/ 504 w 908"/>
              <a:gd name="T97" fmla="*/ 597 h 908"/>
              <a:gd name="T98" fmla="*/ 529 w 908"/>
              <a:gd name="T99" fmla="*/ 585 h 908"/>
              <a:gd name="T100" fmla="*/ 551 w 908"/>
              <a:gd name="T101" fmla="*/ 568 h 908"/>
              <a:gd name="T102" fmla="*/ 569 w 908"/>
              <a:gd name="T103" fmla="*/ 547 h 908"/>
              <a:gd name="T104" fmla="*/ 586 w 908"/>
              <a:gd name="T105" fmla="*/ 515 h 908"/>
              <a:gd name="T106" fmla="*/ 595 w 908"/>
              <a:gd name="T107" fmla="*/ 486 h 908"/>
              <a:gd name="T108" fmla="*/ 597 w 908"/>
              <a:gd name="T109" fmla="*/ 436 h 908"/>
              <a:gd name="T110" fmla="*/ 586 w 908"/>
              <a:gd name="T111" fmla="*/ 391 h 908"/>
              <a:gd name="T112" fmla="*/ 569 w 908"/>
              <a:gd name="T113" fmla="*/ 359 h 908"/>
              <a:gd name="T114" fmla="*/ 551 w 908"/>
              <a:gd name="T115" fmla="*/ 338 h 908"/>
              <a:gd name="T116" fmla="*/ 523 w 908"/>
              <a:gd name="T117" fmla="*/ 318 h 908"/>
              <a:gd name="T118" fmla="*/ 484 w 908"/>
              <a:gd name="T119" fmla="*/ 304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0" y="908"/>
                </a:moveTo>
                <a:lnTo>
                  <a:pt x="454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4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  <a:moveTo>
                  <a:pt x="455" y="685"/>
                </a:moveTo>
                <a:lnTo>
                  <a:pt x="443" y="685"/>
                </a:lnTo>
                <a:lnTo>
                  <a:pt x="431" y="684"/>
                </a:lnTo>
                <a:lnTo>
                  <a:pt x="419" y="683"/>
                </a:lnTo>
                <a:lnTo>
                  <a:pt x="408" y="681"/>
                </a:lnTo>
                <a:lnTo>
                  <a:pt x="397" y="678"/>
                </a:lnTo>
                <a:lnTo>
                  <a:pt x="386" y="675"/>
                </a:lnTo>
                <a:lnTo>
                  <a:pt x="375" y="671"/>
                </a:lnTo>
                <a:lnTo>
                  <a:pt x="364" y="667"/>
                </a:lnTo>
                <a:lnTo>
                  <a:pt x="354" y="663"/>
                </a:lnTo>
                <a:lnTo>
                  <a:pt x="344" y="657"/>
                </a:lnTo>
                <a:lnTo>
                  <a:pt x="334" y="652"/>
                </a:lnTo>
                <a:lnTo>
                  <a:pt x="325" y="646"/>
                </a:lnTo>
                <a:lnTo>
                  <a:pt x="316" y="639"/>
                </a:lnTo>
                <a:lnTo>
                  <a:pt x="307" y="632"/>
                </a:lnTo>
                <a:lnTo>
                  <a:pt x="299" y="625"/>
                </a:lnTo>
                <a:lnTo>
                  <a:pt x="291" y="618"/>
                </a:lnTo>
                <a:lnTo>
                  <a:pt x="283" y="610"/>
                </a:lnTo>
                <a:lnTo>
                  <a:pt x="276" y="601"/>
                </a:lnTo>
                <a:lnTo>
                  <a:pt x="269" y="592"/>
                </a:lnTo>
                <a:lnTo>
                  <a:pt x="263" y="583"/>
                </a:lnTo>
                <a:lnTo>
                  <a:pt x="257" y="574"/>
                </a:lnTo>
                <a:lnTo>
                  <a:pt x="251" y="564"/>
                </a:lnTo>
                <a:lnTo>
                  <a:pt x="246" y="554"/>
                </a:lnTo>
                <a:lnTo>
                  <a:pt x="241" y="544"/>
                </a:lnTo>
                <a:lnTo>
                  <a:pt x="237" y="533"/>
                </a:lnTo>
                <a:lnTo>
                  <a:pt x="233" y="523"/>
                </a:lnTo>
                <a:lnTo>
                  <a:pt x="229" y="512"/>
                </a:lnTo>
                <a:lnTo>
                  <a:pt x="227" y="500"/>
                </a:lnTo>
                <a:lnTo>
                  <a:pt x="225" y="489"/>
                </a:lnTo>
                <a:lnTo>
                  <a:pt x="223" y="477"/>
                </a:lnTo>
                <a:lnTo>
                  <a:pt x="222" y="465"/>
                </a:lnTo>
                <a:lnTo>
                  <a:pt x="222" y="453"/>
                </a:lnTo>
                <a:lnTo>
                  <a:pt x="222" y="441"/>
                </a:lnTo>
                <a:lnTo>
                  <a:pt x="223" y="429"/>
                </a:lnTo>
                <a:lnTo>
                  <a:pt x="225" y="417"/>
                </a:lnTo>
                <a:lnTo>
                  <a:pt x="227" y="406"/>
                </a:lnTo>
                <a:lnTo>
                  <a:pt x="229" y="394"/>
                </a:lnTo>
                <a:lnTo>
                  <a:pt x="233" y="383"/>
                </a:lnTo>
                <a:lnTo>
                  <a:pt x="237" y="373"/>
                </a:lnTo>
                <a:lnTo>
                  <a:pt x="241" y="362"/>
                </a:lnTo>
                <a:lnTo>
                  <a:pt x="246" y="352"/>
                </a:lnTo>
                <a:lnTo>
                  <a:pt x="251" y="342"/>
                </a:lnTo>
                <a:lnTo>
                  <a:pt x="257" y="332"/>
                </a:lnTo>
                <a:lnTo>
                  <a:pt x="263" y="323"/>
                </a:lnTo>
                <a:lnTo>
                  <a:pt x="269" y="314"/>
                </a:lnTo>
                <a:lnTo>
                  <a:pt x="276" y="305"/>
                </a:lnTo>
                <a:lnTo>
                  <a:pt x="283" y="297"/>
                </a:lnTo>
                <a:lnTo>
                  <a:pt x="291" y="288"/>
                </a:lnTo>
                <a:lnTo>
                  <a:pt x="299" y="281"/>
                </a:lnTo>
                <a:lnTo>
                  <a:pt x="307" y="274"/>
                </a:lnTo>
                <a:lnTo>
                  <a:pt x="316" y="267"/>
                </a:lnTo>
                <a:lnTo>
                  <a:pt x="325" y="260"/>
                </a:lnTo>
                <a:lnTo>
                  <a:pt x="334" y="254"/>
                </a:lnTo>
                <a:lnTo>
                  <a:pt x="344" y="249"/>
                </a:lnTo>
                <a:lnTo>
                  <a:pt x="354" y="244"/>
                </a:lnTo>
                <a:lnTo>
                  <a:pt x="364" y="239"/>
                </a:lnTo>
                <a:lnTo>
                  <a:pt x="375" y="235"/>
                </a:lnTo>
                <a:lnTo>
                  <a:pt x="386" y="231"/>
                </a:lnTo>
                <a:lnTo>
                  <a:pt x="397" y="228"/>
                </a:lnTo>
                <a:lnTo>
                  <a:pt x="408" y="225"/>
                </a:lnTo>
                <a:lnTo>
                  <a:pt x="419" y="223"/>
                </a:lnTo>
                <a:lnTo>
                  <a:pt x="431" y="222"/>
                </a:lnTo>
                <a:lnTo>
                  <a:pt x="443" y="221"/>
                </a:lnTo>
                <a:lnTo>
                  <a:pt x="455" y="221"/>
                </a:lnTo>
                <a:lnTo>
                  <a:pt x="467" y="221"/>
                </a:lnTo>
                <a:lnTo>
                  <a:pt x="479" y="222"/>
                </a:lnTo>
                <a:lnTo>
                  <a:pt x="490" y="223"/>
                </a:lnTo>
                <a:lnTo>
                  <a:pt x="502" y="225"/>
                </a:lnTo>
                <a:lnTo>
                  <a:pt x="513" y="228"/>
                </a:lnTo>
                <a:lnTo>
                  <a:pt x="524" y="231"/>
                </a:lnTo>
                <a:lnTo>
                  <a:pt x="535" y="235"/>
                </a:lnTo>
                <a:lnTo>
                  <a:pt x="545" y="239"/>
                </a:lnTo>
                <a:lnTo>
                  <a:pt x="555" y="244"/>
                </a:lnTo>
                <a:lnTo>
                  <a:pt x="565" y="249"/>
                </a:lnTo>
                <a:lnTo>
                  <a:pt x="575" y="254"/>
                </a:lnTo>
                <a:lnTo>
                  <a:pt x="585" y="260"/>
                </a:lnTo>
                <a:lnTo>
                  <a:pt x="594" y="267"/>
                </a:lnTo>
                <a:lnTo>
                  <a:pt x="602" y="274"/>
                </a:lnTo>
                <a:lnTo>
                  <a:pt x="611" y="281"/>
                </a:lnTo>
                <a:lnTo>
                  <a:pt x="619" y="288"/>
                </a:lnTo>
                <a:lnTo>
                  <a:pt x="627" y="297"/>
                </a:lnTo>
                <a:lnTo>
                  <a:pt x="634" y="305"/>
                </a:lnTo>
                <a:lnTo>
                  <a:pt x="641" y="314"/>
                </a:lnTo>
                <a:lnTo>
                  <a:pt x="647" y="323"/>
                </a:lnTo>
                <a:lnTo>
                  <a:pt x="653" y="332"/>
                </a:lnTo>
                <a:lnTo>
                  <a:pt x="659" y="342"/>
                </a:lnTo>
                <a:lnTo>
                  <a:pt x="664" y="352"/>
                </a:lnTo>
                <a:lnTo>
                  <a:pt x="668" y="362"/>
                </a:lnTo>
                <a:lnTo>
                  <a:pt x="673" y="373"/>
                </a:lnTo>
                <a:lnTo>
                  <a:pt x="676" y="383"/>
                </a:lnTo>
                <a:lnTo>
                  <a:pt x="679" y="394"/>
                </a:lnTo>
                <a:lnTo>
                  <a:pt x="682" y="406"/>
                </a:lnTo>
                <a:lnTo>
                  <a:pt x="684" y="417"/>
                </a:lnTo>
                <a:lnTo>
                  <a:pt x="685" y="429"/>
                </a:lnTo>
                <a:lnTo>
                  <a:pt x="686" y="441"/>
                </a:lnTo>
                <a:lnTo>
                  <a:pt x="687" y="453"/>
                </a:lnTo>
                <a:lnTo>
                  <a:pt x="686" y="465"/>
                </a:lnTo>
                <a:lnTo>
                  <a:pt x="685" y="477"/>
                </a:lnTo>
                <a:lnTo>
                  <a:pt x="684" y="489"/>
                </a:lnTo>
                <a:lnTo>
                  <a:pt x="682" y="500"/>
                </a:lnTo>
                <a:lnTo>
                  <a:pt x="679" y="512"/>
                </a:lnTo>
                <a:lnTo>
                  <a:pt x="676" y="523"/>
                </a:lnTo>
                <a:lnTo>
                  <a:pt x="673" y="533"/>
                </a:lnTo>
                <a:lnTo>
                  <a:pt x="668" y="544"/>
                </a:lnTo>
                <a:lnTo>
                  <a:pt x="664" y="554"/>
                </a:lnTo>
                <a:lnTo>
                  <a:pt x="659" y="564"/>
                </a:lnTo>
                <a:lnTo>
                  <a:pt x="653" y="574"/>
                </a:lnTo>
                <a:lnTo>
                  <a:pt x="647" y="583"/>
                </a:lnTo>
                <a:lnTo>
                  <a:pt x="641" y="592"/>
                </a:lnTo>
                <a:lnTo>
                  <a:pt x="634" y="601"/>
                </a:lnTo>
                <a:lnTo>
                  <a:pt x="627" y="610"/>
                </a:lnTo>
                <a:lnTo>
                  <a:pt x="619" y="618"/>
                </a:lnTo>
                <a:lnTo>
                  <a:pt x="611" y="625"/>
                </a:lnTo>
                <a:lnTo>
                  <a:pt x="602" y="632"/>
                </a:lnTo>
                <a:lnTo>
                  <a:pt x="594" y="639"/>
                </a:lnTo>
                <a:lnTo>
                  <a:pt x="585" y="646"/>
                </a:lnTo>
                <a:lnTo>
                  <a:pt x="575" y="652"/>
                </a:lnTo>
                <a:lnTo>
                  <a:pt x="565" y="657"/>
                </a:lnTo>
                <a:lnTo>
                  <a:pt x="555" y="663"/>
                </a:lnTo>
                <a:lnTo>
                  <a:pt x="545" y="667"/>
                </a:lnTo>
                <a:lnTo>
                  <a:pt x="535" y="671"/>
                </a:lnTo>
                <a:lnTo>
                  <a:pt x="524" y="675"/>
                </a:lnTo>
                <a:lnTo>
                  <a:pt x="513" y="678"/>
                </a:lnTo>
                <a:lnTo>
                  <a:pt x="502" y="681"/>
                </a:lnTo>
                <a:lnTo>
                  <a:pt x="490" y="683"/>
                </a:lnTo>
                <a:lnTo>
                  <a:pt x="479" y="684"/>
                </a:lnTo>
                <a:lnTo>
                  <a:pt x="467" y="685"/>
                </a:lnTo>
                <a:lnTo>
                  <a:pt x="455" y="685"/>
                </a:lnTo>
                <a:close/>
                <a:moveTo>
                  <a:pt x="455" y="301"/>
                </a:moveTo>
                <a:lnTo>
                  <a:pt x="440" y="302"/>
                </a:lnTo>
                <a:lnTo>
                  <a:pt x="426" y="304"/>
                </a:lnTo>
                <a:lnTo>
                  <a:pt x="419" y="305"/>
                </a:lnTo>
                <a:lnTo>
                  <a:pt x="412" y="307"/>
                </a:lnTo>
                <a:lnTo>
                  <a:pt x="406" y="309"/>
                </a:lnTo>
                <a:lnTo>
                  <a:pt x="399" y="312"/>
                </a:lnTo>
                <a:lnTo>
                  <a:pt x="393" y="315"/>
                </a:lnTo>
                <a:lnTo>
                  <a:pt x="387" y="318"/>
                </a:lnTo>
                <a:lnTo>
                  <a:pt x="381" y="321"/>
                </a:lnTo>
                <a:lnTo>
                  <a:pt x="375" y="325"/>
                </a:lnTo>
                <a:lnTo>
                  <a:pt x="369" y="329"/>
                </a:lnTo>
                <a:lnTo>
                  <a:pt x="364" y="333"/>
                </a:lnTo>
                <a:lnTo>
                  <a:pt x="359" y="338"/>
                </a:lnTo>
                <a:lnTo>
                  <a:pt x="354" y="343"/>
                </a:lnTo>
                <a:lnTo>
                  <a:pt x="349" y="348"/>
                </a:lnTo>
                <a:lnTo>
                  <a:pt x="345" y="353"/>
                </a:lnTo>
                <a:lnTo>
                  <a:pt x="341" y="359"/>
                </a:lnTo>
                <a:lnTo>
                  <a:pt x="337" y="365"/>
                </a:lnTo>
                <a:lnTo>
                  <a:pt x="329" y="377"/>
                </a:lnTo>
                <a:lnTo>
                  <a:pt x="326" y="384"/>
                </a:lnTo>
                <a:lnTo>
                  <a:pt x="323" y="391"/>
                </a:lnTo>
                <a:lnTo>
                  <a:pt x="321" y="398"/>
                </a:lnTo>
                <a:lnTo>
                  <a:pt x="319" y="405"/>
                </a:lnTo>
                <a:lnTo>
                  <a:pt x="317" y="412"/>
                </a:lnTo>
                <a:lnTo>
                  <a:pt x="315" y="420"/>
                </a:lnTo>
                <a:lnTo>
                  <a:pt x="313" y="436"/>
                </a:lnTo>
                <a:lnTo>
                  <a:pt x="312" y="453"/>
                </a:lnTo>
                <a:lnTo>
                  <a:pt x="312" y="462"/>
                </a:lnTo>
                <a:lnTo>
                  <a:pt x="313" y="470"/>
                </a:lnTo>
                <a:lnTo>
                  <a:pt x="314" y="478"/>
                </a:lnTo>
                <a:lnTo>
                  <a:pt x="315" y="486"/>
                </a:lnTo>
                <a:lnTo>
                  <a:pt x="319" y="501"/>
                </a:lnTo>
                <a:lnTo>
                  <a:pt x="323" y="515"/>
                </a:lnTo>
                <a:lnTo>
                  <a:pt x="329" y="529"/>
                </a:lnTo>
                <a:lnTo>
                  <a:pt x="333" y="535"/>
                </a:lnTo>
                <a:lnTo>
                  <a:pt x="337" y="541"/>
                </a:lnTo>
                <a:lnTo>
                  <a:pt x="341" y="547"/>
                </a:lnTo>
                <a:lnTo>
                  <a:pt x="345" y="553"/>
                </a:lnTo>
                <a:lnTo>
                  <a:pt x="349" y="558"/>
                </a:lnTo>
                <a:lnTo>
                  <a:pt x="354" y="563"/>
                </a:lnTo>
                <a:lnTo>
                  <a:pt x="359" y="568"/>
                </a:lnTo>
                <a:lnTo>
                  <a:pt x="364" y="573"/>
                </a:lnTo>
                <a:lnTo>
                  <a:pt x="369" y="577"/>
                </a:lnTo>
                <a:lnTo>
                  <a:pt x="375" y="581"/>
                </a:lnTo>
                <a:lnTo>
                  <a:pt x="387" y="588"/>
                </a:lnTo>
                <a:lnTo>
                  <a:pt x="393" y="591"/>
                </a:lnTo>
                <a:lnTo>
                  <a:pt x="399" y="594"/>
                </a:lnTo>
                <a:lnTo>
                  <a:pt x="412" y="599"/>
                </a:lnTo>
                <a:lnTo>
                  <a:pt x="426" y="602"/>
                </a:lnTo>
                <a:lnTo>
                  <a:pt x="433" y="604"/>
                </a:lnTo>
                <a:lnTo>
                  <a:pt x="440" y="604"/>
                </a:lnTo>
                <a:lnTo>
                  <a:pt x="455" y="605"/>
                </a:lnTo>
                <a:lnTo>
                  <a:pt x="469" y="604"/>
                </a:lnTo>
                <a:lnTo>
                  <a:pt x="484" y="602"/>
                </a:lnTo>
                <a:lnTo>
                  <a:pt x="490" y="601"/>
                </a:lnTo>
                <a:lnTo>
                  <a:pt x="497" y="599"/>
                </a:lnTo>
                <a:lnTo>
                  <a:pt x="504" y="597"/>
                </a:lnTo>
                <a:lnTo>
                  <a:pt x="510" y="594"/>
                </a:lnTo>
                <a:lnTo>
                  <a:pt x="517" y="591"/>
                </a:lnTo>
                <a:lnTo>
                  <a:pt x="523" y="588"/>
                </a:lnTo>
                <a:lnTo>
                  <a:pt x="529" y="585"/>
                </a:lnTo>
                <a:lnTo>
                  <a:pt x="535" y="581"/>
                </a:lnTo>
                <a:lnTo>
                  <a:pt x="540" y="577"/>
                </a:lnTo>
                <a:lnTo>
                  <a:pt x="546" y="573"/>
                </a:lnTo>
                <a:lnTo>
                  <a:pt x="551" y="568"/>
                </a:lnTo>
                <a:lnTo>
                  <a:pt x="556" y="563"/>
                </a:lnTo>
                <a:lnTo>
                  <a:pt x="560" y="558"/>
                </a:lnTo>
                <a:lnTo>
                  <a:pt x="565" y="553"/>
                </a:lnTo>
                <a:lnTo>
                  <a:pt x="569" y="547"/>
                </a:lnTo>
                <a:lnTo>
                  <a:pt x="573" y="541"/>
                </a:lnTo>
                <a:lnTo>
                  <a:pt x="580" y="529"/>
                </a:lnTo>
                <a:lnTo>
                  <a:pt x="583" y="522"/>
                </a:lnTo>
                <a:lnTo>
                  <a:pt x="586" y="515"/>
                </a:lnTo>
                <a:lnTo>
                  <a:pt x="589" y="508"/>
                </a:lnTo>
                <a:lnTo>
                  <a:pt x="591" y="501"/>
                </a:lnTo>
                <a:lnTo>
                  <a:pt x="593" y="494"/>
                </a:lnTo>
                <a:lnTo>
                  <a:pt x="595" y="486"/>
                </a:lnTo>
                <a:lnTo>
                  <a:pt x="597" y="470"/>
                </a:lnTo>
                <a:lnTo>
                  <a:pt x="597" y="453"/>
                </a:lnTo>
                <a:lnTo>
                  <a:pt x="597" y="444"/>
                </a:lnTo>
                <a:lnTo>
                  <a:pt x="597" y="436"/>
                </a:lnTo>
                <a:lnTo>
                  <a:pt x="596" y="428"/>
                </a:lnTo>
                <a:lnTo>
                  <a:pt x="595" y="420"/>
                </a:lnTo>
                <a:lnTo>
                  <a:pt x="591" y="405"/>
                </a:lnTo>
                <a:lnTo>
                  <a:pt x="586" y="391"/>
                </a:lnTo>
                <a:lnTo>
                  <a:pt x="580" y="377"/>
                </a:lnTo>
                <a:lnTo>
                  <a:pt x="577" y="371"/>
                </a:lnTo>
                <a:lnTo>
                  <a:pt x="573" y="365"/>
                </a:lnTo>
                <a:lnTo>
                  <a:pt x="569" y="359"/>
                </a:lnTo>
                <a:lnTo>
                  <a:pt x="565" y="353"/>
                </a:lnTo>
                <a:lnTo>
                  <a:pt x="560" y="348"/>
                </a:lnTo>
                <a:lnTo>
                  <a:pt x="556" y="343"/>
                </a:lnTo>
                <a:lnTo>
                  <a:pt x="551" y="338"/>
                </a:lnTo>
                <a:lnTo>
                  <a:pt x="546" y="333"/>
                </a:lnTo>
                <a:lnTo>
                  <a:pt x="540" y="329"/>
                </a:lnTo>
                <a:lnTo>
                  <a:pt x="535" y="325"/>
                </a:lnTo>
                <a:lnTo>
                  <a:pt x="523" y="318"/>
                </a:lnTo>
                <a:lnTo>
                  <a:pt x="517" y="315"/>
                </a:lnTo>
                <a:lnTo>
                  <a:pt x="510" y="312"/>
                </a:lnTo>
                <a:lnTo>
                  <a:pt x="497" y="307"/>
                </a:lnTo>
                <a:lnTo>
                  <a:pt x="484" y="304"/>
                </a:lnTo>
                <a:lnTo>
                  <a:pt x="477" y="303"/>
                </a:lnTo>
                <a:lnTo>
                  <a:pt x="469" y="302"/>
                </a:lnTo>
                <a:lnTo>
                  <a:pt x="455" y="3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32" name="Freeform 21"/>
          <p:cNvSpPr>
            <a:spLocks noEditPoints="1"/>
          </p:cNvSpPr>
          <p:nvPr userDrawn="1"/>
        </p:nvSpPr>
        <p:spPr bwMode="auto">
          <a:xfrm>
            <a:off x="1305429" y="2572336"/>
            <a:ext cx="1306629" cy="1285880"/>
          </a:xfrm>
          <a:custGeom>
            <a:avLst/>
            <a:gdLst>
              <a:gd name="T0" fmla="*/ 908 w 908"/>
              <a:gd name="T1" fmla="*/ 453 h 907"/>
              <a:gd name="T2" fmla="*/ 0 w 908"/>
              <a:gd name="T3" fmla="*/ 453 h 907"/>
              <a:gd name="T4" fmla="*/ 591 w 908"/>
              <a:gd name="T5" fmla="*/ 623 h 907"/>
              <a:gd name="T6" fmla="*/ 572 w 908"/>
              <a:gd name="T7" fmla="*/ 643 h 907"/>
              <a:gd name="T8" fmla="*/ 532 w 908"/>
              <a:gd name="T9" fmla="*/ 668 h 907"/>
              <a:gd name="T10" fmla="*/ 494 w 908"/>
              <a:gd name="T11" fmla="*/ 681 h 907"/>
              <a:gd name="T12" fmla="*/ 450 w 908"/>
              <a:gd name="T13" fmla="*/ 685 h 907"/>
              <a:gd name="T14" fmla="*/ 404 w 908"/>
              <a:gd name="T15" fmla="*/ 681 h 907"/>
              <a:gd name="T16" fmla="*/ 361 w 908"/>
              <a:gd name="T17" fmla="*/ 667 h 907"/>
              <a:gd name="T18" fmla="*/ 323 w 908"/>
              <a:gd name="T19" fmla="*/ 646 h 907"/>
              <a:gd name="T20" fmla="*/ 290 w 908"/>
              <a:gd name="T21" fmla="*/ 618 h 907"/>
              <a:gd name="T22" fmla="*/ 264 w 908"/>
              <a:gd name="T23" fmla="*/ 583 h 907"/>
              <a:gd name="T24" fmla="*/ 244 w 908"/>
              <a:gd name="T25" fmla="*/ 544 h 907"/>
              <a:gd name="T26" fmla="*/ 231 w 908"/>
              <a:gd name="T27" fmla="*/ 500 h 907"/>
              <a:gd name="T28" fmla="*/ 227 w 908"/>
              <a:gd name="T29" fmla="*/ 453 h 907"/>
              <a:gd name="T30" fmla="*/ 231 w 908"/>
              <a:gd name="T31" fmla="*/ 406 h 907"/>
              <a:gd name="T32" fmla="*/ 240 w 908"/>
              <a:gd name="T33" fmla="*/ 373 h 907"/>
              <a:gd name="T34" fmla="*/ 258 w 908"/>
              <a:gd name="T35" fmla="*/ 332 h 907"/>
              <a:gd name="T36" fmla="*/ 283 w 908"/>
              <a:gd name="T37" fmla="*/ 297 h 907"/>
              <a:gd name="T38" fmla="*/ 310 w 908"/>
              <a:gd name="T39" fmla="*/ 270 h 907"/>
              <a:gd name="T40" fmla="*/ 342 w 908"/>
              <a:gd name="T41" fmla="*/ 249 h 907"/>
              <a:gd name="T42" fmla="*/ 382 w 908"/>
              <a:gd name="T43" fmla="*/ 231 h 907"/>
              <a:gd name="T44" fmla="*/ 427 w 908"/>
              <a:gd name="T45" fmla="*/ 222 h 907"/>
              <a:gd name="T46" fmla="*/ 473 w 908"/>
              <a:gd name="T47" fmla="*/ 222 h 907"/>
              <a:gd name="T48" fmla="*/ 513 w 908"/>
              <a:gd name="T49" fmla="*/ 231 h 907"/>
              <a:gd name="T50" fmla="*/ 548 w 908"/>
              <a:gd name="T51" fmla="*/ 247 h 907"/>
              <a:gd name="T52" fmla="*/ 571 w 908"/>
              <a:gd name="T53" fmla="*/ 263 h 907"/>
              <a:gd name="T54" fmla="*/ 591 w 908"/>
              <a:gd name="T55" fmla="*/ 230 h 907"/>
              <a:gd name="T56" fmla="*/ 450 w 908"/>
              <a:gd name="T57" fmla="*/ 306 h 907"/>
              <a:gd name="T58" fmla="*/ 417 w 908"/>
              <a:gd name="T59" fmla="*/ 311 h 907"/>
              <a:gd name="T60" fmla="*/ 383 w 908"/>
              <a:gd name="T61" fmla="*/ 327 h 907"/>
              <a:gd name="T62" fmla="*/ 351 w 908"/>
              <a:gd name="T63" fmla="*/ 356 h 907"/>
              <a:gd name="T64" fmla="*/ 332 w 908"/>
              <a:gd name="T65" fmla="*/ 386 h 907"/>
              <a:gd name="T66" fmla="*/ 318 w 908"/>
              <a:gd name="T67" fmla="*/ 434 h 907"/>
              <a:gd name="T68" fmla="*/ 317 w 908"/>
              <a:gd name="T69" fmla="*/ 484 h 907"/>
              <a:gd name="T70" fmla="*/ 325 w 908"/>
              <a:gd name="T71" fmla="*/ 518 h 907"/>
              <a:gd name="T72" fmla="*/ 336 w 908"/>
              <a:gd name="T73" fmla="*/ 545 h 907"/>
              <a:gd name="T74" fmla="*/ 351 w 908"/>
              <a:gd name="T75" fmla="*/ 568 h 907"/>
              <a:gd name="T76" fmla="*/ 371 w 908"/>
              <a:gd name="T77" fmla="*/ 589 h 907"/>
              <a:gd name="T78" fmla="*/ 396 w 908"/>
              <a:gd name="T79" fmla="*/ 605 h 907"/>
              <a:gd name="T80" fmla="*/ 425 w 908"/>
              <a:gd name="T81" fmla="*/ 615 h 907"/>
              <a:gd name="T82" fmla="*/ 458 w 908"/>
              <a:gd name="T83" fmla="*/ 618 h 907"/>
              <a:gd name="T84" fmla="*/ 509 w 908"/>
              <a:gd name="T85" fmla="*/ 609 h 907"/>
              <a:gd name="T86" fmla="*/ 537 w 908"/>
              <a:gd name="T87" fmla="*/ 593 h 907"/>
              <a:gd name="T88" fmla="*/ 557 w 908"/>
              <a:gd name="T89" fmla="*/ 576 h 907"/>
              <a:gd name="T90" fmla="*/ 576 w 908"/>
              <a:gd name="T91" fmla="*/ 546 h 907"/>
              <a:gd name="T92" fmla="*/ 589 w 908"/>
              <a:gd name="T93" fmla="*/ 508 h 907"/>
              <a:gd name="T94" fmla="*/ 594 w 908"/>
              <a:gd name="T95" fmla="*/ 472 h 907"/>
              <a:gd name="T96" fmla="*/ 592 w 908"/>
              <a:gd name="T97" fmla="*/ 434 h 907"/>
              <a:gd name="T98" fmla="*/ 582 w 908"/>
              <a:gd name="T99" fmla="*/ 392 h 907"/>
              <a:gd name="T100" fmla="*/ 569 w 908"/>
              <a:gd name="T101" fmla="*/ 365 h 907"/>
              <a:gd name="T102" fmla="*/ 542 w 908"/>
              <a:gd name="T103" fmla="*/ 334 h 907"/>
              <a:gd name="T104" fmla="*/ 515 w 908"/>
              <a:gd name="T105" fmla="*/ 317 h 907"/>
              <a:gd name="T106" fmla="*/ 490 w 908"/>
              <a:gd name="T107" fmla="*/ 309 h 907"/>
              <a:gd name="T108" fmla="*/ 458 w 908"/>
              <a:gd name="T109" fmla="*/ 305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  <a:moveTo>
                  <a:pt x="680" y="676"/>
                </a:moveTo>
                <a:lnTo>
                  <a:pt x="591" y="676"/>
                </a:lnTo>
                <a:lnTo>
                  <a:pt x="591" y="623"/>
                </a:lnTo>
                <a:lnTo>
                  <a:pt x="588" y="627"/>
                </a:lnTo>
                <a:lnTo>
                  <a:pt x="585" y="630"/>
                </a:lnTo>
                <a:lnTo>
                  <a:pt x="579" y="636"/>
                </a:lnTo>
                <a:lnTo>
                  <a:pt x="572" y="643"/>
                </a:lnTo>
                <a:lnTo>
                  <a:pt x="564" y="649"/>
                </a:lnTo>
                <a:lnTo>
                  <a:pt x="549" y="659"/>
                </a:lnTo>
                <a:lnTo>
                  <a:pt x="541" y="664"/>
                </a:lnTo>
                <a:lnTo>
                  <a:pt x="532" y="668"/>
                </a:lnTo>
                <a:lnTo>
                  <a:pt x="523" y="672"/>
                </a:lnTo>
                <a:lnTo>
                  <a:pt x="514" y="676"/>
                </a:lnTo>
                <a:lnTo>
                  <a:pt x="504" y="678"/>
                </a:lnTo>
                <a:lnTo>
                  <a:pt x="494" y="681"/>
                </a:lnTo>
                <a:lnTo>
                  <a:pt x="484" y="683"/>
                </a:lnTo>
                <a:lnTo>
                  <a:pt x="473" y="684"/>
                </a:lnTo>
                <a:lnTo>
                  <a:pt x="462" y="685"/>
                </a:lnTo>
                <a:lnTo>
                  <a:pt x="450" y="685"/>
                </a:lnTo>
                <a:lnTo>
                  <a:pt x="439" y="685"/>
                </a:lnTo>
                <a:lnTo>
                  <a:pt x="427" y="684"/>
                </a:lnTo>
                <a:lnTo>
                  <a:pt x="415" y="683"/>
                </a:lnTo>
                <a:lnTo>
                  <a:pt x="404" y="681"/>
                </a:lnTo>
                <a:lnTo>
                  <a:pt x="393" y="678"/>
                </a:lnTo>
                <a:lnTo>
                  <a:pt x="382" y="675"/>
                </a:lnTo>
                <a:lnTo>
                  <a:pt x="372" y="671"/>
                </a:lnTo>
                <a:lnTo>
                  <a:pt x="361" y="667"/>
                </a:lnTo>
                <a:lnTo>
                  <a:pt x="351" y="663"/>
                </a:lnTo>
                <a:lnTo>
                  <a:pt x="342" y="657"/>
                </a:lnTo>
                <a:lnTo>
                  <a:pt x="332" y="652"/>
                </a:lnTo>
                <a:lnTo>
                  <a:pt x="323" y="646"/>
                </a:lnTo>
                <a:lnTo>
                  <a:pt x="315" y="639"/>
                </a:lnTo>
                <a:lnTo>
                  <a:pt x="306" y="633"/>
                </a:lnTo>
                <a:lnTo>
                  <a:pt x="298" y="625"/>
                </a:lnTo>
                <a:lnTo>
                  <a:pt x="290" y="618"/>
                </a:lnTo>
                <a:lnTo>
                  <a:pt x="283" y="609"/>
                </a:lnTo>
                <a:lnTo>
                  <a:pt x="276" y="601"/>
                </a:lnTo>
                <a:lnTo>
                  <a:pt x="270" y="592"/>
                </a:lnTo>
                <a:lnTo>
                  <a:pt x="264" y="583"/>
                </a:lnTo>
                <a:lnTo>
                  <a:pt x="258" y="574"/>
                </a:lnTo>
                <a:lnTo>
                  <a:pt x="253" y="564"/>
                </a:lnTo>
                <a:lnTo>
                  <a:pt x="248" y="554"/>
                </a:lnTo>
                <a:lnTo>
                  <a:pt x="244" y="544"/>
                </a:lnTo>
                <a:lnTo>
                  <a:pt x="240" y="533"/>
                </a:lnTo>
                <a:lnTo>
                  <a:pt x="236" y="522"/>
                </a:lnTo>
                <a:lnTo>
                  <a:pt x="233" y="511"/>
                </a:lnTo>
                <a:lnTo>
                  <a:pt x="231" y="500"/>
                </a:lnTo>
                <a:lnTo>
                  <a:pt x="229" y="488"/>
                </a:lnTo>
                <a:lnTo>
                  <a:pt x="228" y="477"/>
                </a:lnTo>
                <a:lnTo>
                  <a:pt x="227" y="465"/>
                </a:lnTo>
                <a:lnTo>
                  <a:pt x="227" y="453"/>
                </a:lnTo>
                <a:lnTo>
                  <a:pt x="227" y="441"/>
                </a:lnTo>
                <a:lnTo>
                  <a:pt x="228" y="429"/>
                </a:lnTo>
                <a:lnTo>
                  <a:pt x="229" y="417"/>
                </a:lnTo>
                <a:lnTo>
                  <a:pt x="231" y="406"/>
                </a:lnTo>
                <a:lnTo>
                  <a:pt x="233" y="395"/>
                </a:lnTo>
                <a:lnTo>
                  <a:pt x="235" y="389"/>
                </a:lnTo>
                <a:lnTo>
                  <a:pt x="236" y="384"/>
                </a:lnTo>
                <a:lnTo>
                  <a:pt x="240" y="373"/>
                </a:lnTo>
                <a:lnTo>
                  <a:pt x="244" y="362"/>
                </a:lnTo>
                <a:lnTo>
                  <a:pt x="248" y="352"/>
                </a:lnTo>
                <a:lnTo>
                  <a:pt x="253" y="342"/>
                </a:lnTo>
                <a:lnTo>
                  <a:pt x="258" y="332"/>
                </a:lnTo>
                <a:lnTo>
                  <a:pt x="264" y="323"/>
                </a:lnTo>
                <a:lnTo>
                  <a:pt x="270" y="314"/>
                </a:lnTo>
                <a:lnTo>
                  <a:pt x="276" y="305"/>
                </a:lnTo>
                <a:lnTo>
                  <a:pt x="283" y="297"/>
                </a:lnTo>
                <a:lnTo>
                  <a:pt x="290" y="289"/>
                </a:lnTo>
                <a:lnTo>
                  <a:pt x="298" y="281"/>
                </a:lnTo>
                <a:lnTo>
                  <a:pt x="306" y="274"/>
                </a:lnTo>
                <a:lnTo>
                  <a:pt x="310" y="270"/>
                </a:lnTo>
                <a:lnTo>
                  <a:pt x="315" y="267"/>
                </a:lnTo>
                <a:lnTo>
                  <a:pt x="323" y="260"/>
                </a:lnTo>
                <a:lnTo>
                  <a:pt x="332" y="254"/>
                </a:lnTo>
                <a:lnTo>
                  <a:pt x="342" y="249"/>
                </a:lnTo>
                <a:lnTo>
                  <a:pt x="351" y="244"/>
                </a:lnTo>
                <a:lnTo>
                  <a:pt x="361" y="239"/>
                </a:lnTo>
                <a:lnTo>
                  <a:pt x="372" y="235"/>
                </a:lnTo>
                <a:lnTo>
                  <a:pt x="382" y="231"/>
                </a:lnTo>
                <a:lnTo>
                  <a:pt x="393" y="228"/>
                </a:lnTo>
                <a:lnTo>
                  <a:pt x="404" y="226"/>
                </a:lnTo>
                <a:lnTo>
                  <a:pt x="415" y="224"/>
                </a:lnTo>
                <a:lnTo>
                  <a:pt x="427" y="222"/>
                </a:lnTo>
                <a:lnTo>
                  <a:pt x="439" y="221"/>
                </a:lnTo>
                <a:lnTo>
                  <a:pt x="450" y="221"/>
                </a:lnTo>
                <a:lnTo>
                  <a:pt x="462" y="221"/>
                </a:lnTo>
                <a:lnTo>
                  <a:pt x="473" y="222"/>
                </a:lnTo>
                <a:lnTo>
                  <a:pt x="483" y="223"/>
                </a:lnTo>
                <a:lnTo>
                  <a:pt x="494" y="225"/>
                </a:lnTo>
                <a:lnTo>
                  <a:pt x="504" y="228"/>
                </a:lnTo>
                <a:lnTo>
                  <a:pt x="513" y="231"/>
                </a:lnTo>
                <a:lnTo>
                  <a:pt x="523" y="234"/>
                </a:lnTo>
                <a:lnTo>
                  <a:pt x="532" y="238"/>
                </a:lnTo>
                <a:lnTo>
                  <a:pt x="540" y="242"/>
                </a:lnTo>
                <a:lnTo>
                  <a:pt x="548" y="247"/>
                </a:lnTo>
                <a:lnTo>
                  <a:pt x="556" y="252"/>
                </a:lnTo>
                <a:lnTo>
                  <a:pt x="560" y="254"/>
                </a:lnTo>
                <a:lnTo>
                  <a:pt x="564" y="257"/>
                </a:lnTo>
                <a:lnTo>
                  <a:pt x="571" y="263"/>
                </a:lnTo>
                <a:lnTo>
                  <a:pt x="578" y="269"/>
                </a:lnTo>
                <a:lnTo>
                  <a:pt x="585" y="276"/>
                </a:lnTo>
                <a:lnTo>
                  <a:pt x="591" y="282"/>
                </a:lnTo>
                <a:lnTo>
                  <a:pt x="591" y="230"/>
                </a:lnTo>
                <a:lnTo>
                  <a:pt x="680" y="230"/>
                </a:lnTo>
                <a:lnTo>
                  <a:pt x="680" y="676"/>
                </a:lnTo>
                <a:close/>
                <a:moveTo>
                  <a:pt x="458" y="305"/>
                </a:moveTo>
                <a:lnTo>
                  <a:pt x="450" y="306"/>
                </a:lnTo>
                <a:lnTo>
                  <a:pt x="441" y="306"/>
                </a:lnTo>
                <a:lnTo>
                  <a:pt x="433" y="308"/>
                </a:lnTo>
                <a:lnTo>
                  <a:pt x="425" y="309"/>
                </a:lnTo>
                <a:lnTo>
                  <a:pt x="417" y="311"/>
                </a:lnTo>
                <a:lnTo>
                  <a:pt x="410" y="314"/>
                </a:lnTo>
                <a:lnTo>
                  <a:pt x="402" y="316"/>
                </a:lnTo>
                <a:lnTo>
                  <a:pt x="396" y="319"/>
                </a:lnTo>
                <a:lnTo>
                  <a:pt x="383" y="327"/>
                </a:lnTo>
                <a:lnTo>
                  <a:pt x="371" y="335"/>
                </a:lnTo>
                <a:lnTo>
                  <a:pt x="366" y="340"/>
                </a:lnTo>
                <a:lnTo>
                  <a:pt x="361" y="345"/>
                </a:lnTo>
                <a:lnTo>
                  <a:pt x="351" y="356"/>
                </a:lnTo>
                <a:lnTo>
                  <a:pt x="347" y="362"/>
                </a:lnTo>
                <a:lnTo>
                  <a:pt x="343" y="367"/>
                </a:lnTo>
                <a:lnTo>
                  <a:pt x="336" y="380"/>
                </a:lnTo>
                <a:lnTo>
                  <a:pt x="332" y="386"/>
                </a:lnTo>
                <a:lnTo>
                  <a:pt x="330" y="393"/>
                </a:lnTo>
                <a:lnTo>
                  <a:pt x="325" y="406"/>
                </a:lnTo>
                <a:lnTo>
                  <a:pt x="321" y="420"/>
                </a:lnTo>
                <a:lnTo>
                  <a:pt x="318" y="434"/>
                </a:lnTo>
                <a:lnTo>
                  <a:pt x="316" y="448"/>
                </a:lnTo>
                <a:lnTo>
                  <a:pt x="316" y="462"/>
                </a:lnTo>
                <a:lnTo>
                  <a:pt x="316" y="476"/>
                </a:lnTo>
                <a:lnTo>
                  <a:pt x="317" y="484"/>
                </a:lnTo>
                <a:lnTo>
                  <a:pt x="318" y="491"/>
                </a:lnTo>
                <a:lnTo>
                  <a:pt x="321" y="505"/>
                </a:lnTo>
                <a:lnTo>
                  <a:pt x="323" y="511"/>
                </a:lnTo>
                <a:lnTo>
                  <a:pt x="325" y="518"/>
                </a:lnTo>
                <a:lnTo>
                  <a:pt x="327" y="525"/>
                </a:lnTo>
                <a:lnTo>
                  <a:pt x="330" y="532"/>
                </a:lnTo>
                <a:lnTo>
                  <a:pt x="332" y="538"/>
                </a:lnTo>
                <a:lnTo>
                  <a:pt x="336" y="545"/>
                </a:lnTo>
                <a:lnTo>
                  <a:pt x="339" y="551"/>
                </a:lnTo>
                <a:lnTo>
                  <a:pt x="343" y="557"/>
                </a:lnTo>
                <a:lnTo>
                  <a:pt x="347" y="563"/>
                </a:lnTo>
                <a:lnTo>
                  <a:pt x="351" y="568"/>
                </a:lnTo>
                <a:lnTo>
                  <a:pt x="356" y="574"/>
                </a:lnTo>
                <a:lnTo>
                  <a:pt x="361" y="579"/>
                </a:lnTo>
                <a:lnTo>
                  <a:pt x="366" y="584"/>
                </a:lnTo>
                <a:lnTo>
                  <a:pt x="371" y="589"/>
                </a:lnTo>
                <a:lnTo>
                  <a:pt x="377" y="593"/>
                </a:lnTo>
                <a:lnTo>
                  <a:pt x="383" y="597"/>
                </a:lnTo>
                <a:lnTo>
                  <a:pt x="389" y="601"/>
                </a:lnTo>
                <a:lnTo>
                  <a:pt x="396" y="605"/>
                </a:lnTo>
                <a:lnTo>
                  <a:pt x="402" y="608"/>
                </a:lnTo>
                <a:lnTo>
                  <a:pt x="410" y="610"/>
                </a:lnTo>
                <a:lnTo>
                  <a:pt x="417" y="613"/>
                </a:lnTo>
                <a:lnTo>
                  <a:pt x="425" y="615"/>
                </a:lnTo>
                <a:lnTo>
                  <a:pt x="433" y="616"/>
                </a:lnTo>
                <a:lnTo>
                  <a:pt x="441" y="617"/>
                </a:lnTo>
                <a:lnTo>
                  <a:pt x="450" y="618"/>
                </a:lnTo>
                <a:lnTo>
                  <a:pt x="458" y="618"/>
                </a:lnTo>
                <a:lnTo>
                  <a:pt x="471" y="618"/>
                </a:lnTo>
                <a:lnTo>
                  <a:pt x="484" y="616"/>
                </a:lnTo>
                <a:lnTo>
                  <a:pt x="496" y="613"/>
                </a:lnTo>
                <a:lnTo>
                  <a:pt x="509" y="609"/>
                </a:lnTo>
                <a:lnTo>
                  <a:pt x="515" y="607"/>
                </a:lnTo>
                <a:lnTo>
                  <a:pt x="520" y="604"/>
                </a:lnTo>
                <a:lnTo>
                  <a:pt x="532" y="597"/>
                </a:lnTo>
                <a:lnTo>
                  <a:pt x="537" y="593"/>
                </a:lnTo>
                <a:lnTo>
                  <a:pt x="542" y="589"/>
                </a:lnTo>
                <a:lnTo>
                  <a:pt x="547" y="585"/>
                </a:lnTo>
                <a:lnTo>
                  <a:pt x="552" y="580"/>
                </a:lnTo>
                <a:lnTo>
                  <a:pt x="557" y="576"/>
                </a:lnTo>
                <a:lnTo>
                  <a:pt x="561" y="570"/>
                </a:lnTo>
                <a:lnTo>
                  <a:pt x="565" y="565"/>
                </a:lnTo>
                <a:lnTo>
                  <a:pt x="569" y="559"/>
                </a:lnTo>
                <a:lnTo>
                  <a:pt x="576" y="546"/>
                </a:lnTo>
                <a:lnTo>
                  <a:pt x="580" y="539"/>
                </a:lnTo>
                <a:lnTo>
                  <a:pt x="582" y="532"/>
                </a:lnTo>
                <a:lnTo>
                  <a:pt x="587" y="516"/>
                </a:lnTo>
                <a:lnTo>
                  <a:pt x="589" y="508"/>
                </a:lnTo>
                <a:lnTo>
                  <a:pt x="591" y="500"/>
                </a:lnTo>
                <a:lnTo>
                  <a:pt x="592" y="491"/>
                </a:lnTo>
                <a:lnTo>
                  <a:pt x="593" y="482"/>
                </a:lnTo>
                <a:lnTo>
                  <a:pt x="594" y="472"/>
                </a:lnTo>
                <a:lnTo>
                  <a:pt x="594" y="462"/>
                </a:lnTo>
                <a:lnTo>
                  <a:pt x="594" y="452"/>
                </a:lnTo>
                <a:lnTo>
                  <a:pt x="593" y="443"/>
                </a:lnTo>
                <a:lnTo>
                  <a:pt x="592" y="434"/>
                </a:lnTo>
                <a:lnTo>
                  <a:pt x="591" y="425"/>
                </a:lnTo>
                <a:lnTo>
                  <a:pt x="587" y="408"/>
                </a:lnTo>
                <a:lnTo>
                  <a:pt x="585" y="400"/>
                </a:lnTo>
                <a:lnTo>
                  <a:pt x="582" y="392"/>
                </a:lnTo>
                <a:lnTo>
                  <a:pt x="580" y="385"/>
                </a:lnTo>
                <a:lnTo>
                  <a:pt x="576" y="378"/>
                </a:lnTo>
                <a:lnTo>
                  <a:pt x="573" y="372"/>
                </a:lnTo>
                <a:lnTo>
                  <a:pt x="569" y="365"/>
                </a:lnTo>
                <a:lnTo>
                  <a:pt x="565" y="359"/>
                </a:lnTo>
                <a:lnTo>
                  <a:pt x="561" y="354"/>
                </a:lnTo>
                <a:lnTo>
                  <a:pt x="552" y="343"/>
                </a:lnTo>
                <a:lnTo>
                  <a:pt x="542" y="334"/>
                </a:lnTo>
                <a:lnTo>
                  <a:pt x="532" y="327"/>
                </a:lnTo>
                <a:lnTo>
                  <a:pt x="526" y="323"/>
                </a:lnTo>
                <a:lnTo>
                  <a:pt x="520" y="320"/>
                </a:lnTo>
                <a:lnTo>
                  <a:pt x="515" y="317"/>
                </a:lnTo>
                <a:lnTo>
                  <a:pt x="509" y="315"/>
                </a:lnTo>
                <a:lnTo>
                  <a:pt x="503" y="313"/>
                </a:lnTo>
                <a:lnTo>
                  <a:pt x="496" y="311"/>
                </a:lnTo>
                <a:lnTo>
                  <a:pt x="490" y="309"/>
                </a:lnTo>
                <a:lnTo>
                  <a:pt x="484" y="308"/>
                </a:lnTo>
                <a:lnTo>
                  <a:pt x="471" y="306"/>
                </a:lnTo>
                <a:lnTo>
                  <a:pt x="465" y="306"/>
                </a:lnTo>
                <a:lnTo>
                  <a:pt x="458" y="3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50" name="Footer Placeholder 6"/>
          <p:cNvSpPr txBox="1">
            <a:spLocks/>
          </p:cNvSpPr>
          <p:nvPr userDrawn="1"/>
        </p:nvSpPr>
        <p:spPr>
          <a:xfrm>
            <a:off x="326921" y="4768705"/>
            <a:ext cx="6856536" cy="106633"/>
          </a:xfrm>
          <a:prstGeom prst="rect">
            <a:avLst/>
          </a:prstGeom>
        </p:spPr>
        <p:txBody>
          <a:bodyPr vert="horz" lIns="27040" tIns="27040" rIns="27040" bIns="2704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mtClean="0">
                <a:noFill/>
              </a:rPr>
              <a:t>Presentation name</a:t>
            </a:r>
            <a:endParaRPr lang="fi-FI" dirty="0">
              <a:noFill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00059A1-0099-4B10-A5CF-27E515FB5E4A}" type="datetime3">
              <a:rPr lang="en-US" smtClean="0"/>
              <a:pPr/>
              <a:t>3 December 2015</a:t>
            </a:fld>
            <a:endParaRPr lang="fi-FI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  <p:pic>
        <p:nvPicPr>
          <p:cNvPr id="33" name="Afbeelding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2" y="4776939"/>
            <a:ext cx="1306178" cy="15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759312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Divid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26925" y="2571750"/>
            <a:ext cx="5551109" cy="1929107"/>
          </a:xfrm>
        </p:spPr>
        <p:txBody>
          <a:bodyPr anchor="b" anchorCtr="0"/>
          <a:lstStyle>
            <a:lvl1pPr>
              <a:defRPr sz="2300" b="1"/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14" name="Freeform 16"/>
          <p:cNvSpPr>
            <a:spLocks noChangeAspect="1" noEditPoints="1"/>
          </p:cNvSpPr>
          <p:nvPr userDrawn="1"/>
        </p:nvSpPr>
        <p:spPr bwMode="auto">
          <a:xfrm>
            <a:off x="6530744" y="1274098"/>
            <a:ext cx="1305429" cy="1285880"/>
          </a:xfrm>
          <a:custGeom>
            <a:avLst/>
            <a:gdLst>
              <a:gd name="T0" fmla="*/ 653 w 908"/>
              <a:gd name="T1" fmla="*/ 675 h 907"/>
              <a:gd name="T2" fmla="*/ 651 w 908"/>
              <a:gd name="T3" fmla="*/ 382 h 907"/>
              <a:gd name="T4" fmla="*/ 644 w 908"/>
              <a:gd name="T5" fmla="*/ 348 h 907"/>
              <a:gd name="T6" fmla="*/ 630 w 908"/>
              <a:gd name="T7" fmla="*/ 320 h 907"/>
              <a:gd name="T8" fmla="*/ 613 w 908"/>
              <a:gd name="T9" fmla="*/ 305 h 907"/>
              <a:gd name="T10" fmla="*/ 595 w 908"/>
              <a:gd name="T11" fmla="*/ 298 h 907"/>
              <a:gd name="T12" fmla="*/ 579 w 908"/>
              <a:gd name="T13" fmla="*/ 296 h 907"/>
              <a:gd name="T14" fmla="*/ 565 w 908"/>
              <a:gd name="T15" fmla="*/ 298 h 907"/>
              <a:gd name="T16" fmla="*/ 546 w 908"/>
              <a:gd name="T17" fmla="*/ 304 h 907"/>
              <a:gd name="T18" fmla="*/ 526 w 908"/>
              <a:gd name="T19" fmla="*/ 320 h 907"/>
              <a:gd name="T20" fmla="*/ 514 w 908"/>
              <a:gd name="T21" fmla="*/ 337 h 907"/>
              <a:gd name="T22" fmla="*/ 507 w 908"/>
              <a:gd name="T23" fmla="*/ 354 h 907"/>
              <a:gd name="T24" fmla="*/ 502 w 908"/>
              <a:gd name="T25" fmla="*/ 375 h 907"/>
              <a:gd name="T26" fmla="*/ 499 w 908"/>
              <a:gd name="T27" fmla="*/ 411 h 907"/>
              <a:gd name="T28" fmla="*/ 410 w 908"/>
              <a:gd name="T29" fmla="*/ 409 h 907"/>
              <a:gd name="T30" fmla="*/ 408 w 908"/>
              <a:gd name="T31" fmla="*/ 374 h 907"/>
              <a:gd name="T32" fmla="*/ 398 w 908"/>
              <a:gd name="T33" fmla="*/ 337 h 907"/>
              <a:gd name="T34" fmla="*/ 382 w 908"/>
              <a:gd name="T35" fmla="*/ 314 h 907"/>
              <a:gd name="T36" fmla="*/ 364 w 908"/>
              <a:gd name="T37" fmla="*/ 302 h 907"/>
              <a:gd name="T38" fmla="*/ 347 w 908"/>
              <a:gd name="T39" fmla="*/ 297 h 907"/>
              <a:gd name="T40" fmla="*/ 333 w 908"/>
              <a:gd name="T41" fmla="*/ 297 h 907"/>
              <a:gd name="T42" fmla="*/ 317 w 908"/>
              <a:gd name="T43" fmla="*/ 299 h 907"/>
              <a:gd name="T44" fmla="*/ 297 w 908"/>
              <a:gd name="T45" fmla="*/ 308 h 907"/>
              <a:gd name="T46" fmla="*/ 278 w 908"/>
              <a:gd name="T47" fmla="*/ 327 h 907"/>
              <a:gd name="T48" fmla="*/ 268 w 908"/>
              <a:gd name="T49" fmla="*/ 348 h 907"/>
              <a:gd name="T50" fmla="*/ 261 w 908"/>
              <a:gd name="T51" fmla="*/ 375 h 907"/>
              <a:gd name="T52" fmla="*/ 258 w 908"/>
              <a:gd name="T53" fmla="*/ 411 h 907"/>
              <a:gd name="T54" fmla="*/ 169 w 908"/>
              <a:gd name="T55" fmla="*/ 230 h 907"/>
              <a:gd name="T56" fmla="*/ 260 w 908"/>
              <a:gd name="T57" fmla="*/ 272 h 907"/>
              <a:gd name="T58" fmla="*/ 277 w 908"/>
              <a:gd name="T59" fmla="*/ 251 h 907"/>
              <a:gd name="T60" fmla="*/ 298 w 908"/>
              <a:gd name="T61" fmla="*/ 237 h 907"/>
              <a:gd name="T62" fmla="*/ 319 w 908"/>
              <a:gd name="T63" fmla="*/ 227 h 907"/>
              <a:gd name="T64" fmla="*/ 348 w 908"/>
              <a:gd name="T65" fmla="*/ 221 h 907"/>
              <a:gd name="T66" fmla="*/ 378 w 908"/>
              <a:gd name="T67" fmla="*/ 222 h 907"/>
              <a:gd name="T68" fmla="*/ 404 w 908"/>
              <a:gd name="T69" fmla="*/ 228 h 907"/>
              <a:gd name="T70" fmla="*/ 427 w 908"/>
              <a:gd name="T71" fmla="*/ 238 h 907"/>
              <a:gd name="T72" fmla="*/ 448 w 908"/>
              <a:gd name="T73" fmla="*/ 254 h 907"/>
              <a:gd name="T74" fmla="*/ 465 w 908"/>
              <a:gd name="T75" fmla="*/ 275 h 907"/>
              <a:gd name="T76" fmla="*/ 481 w 908"/>
              <a:gd name="T77" fmla="*/ 282 h 907"/>
              <a:gd name="T78" fmla="*/ 502 w 908"/>
              <a:gd name="T79" fmla="*/ 257 h 907"/>
              <a:gd name="T80" fmla="*/ 526 w 908"/>
              <a:gd name="T81" fmla="*/ 240 h 907"/>
              <a:gd name="T82" fmla="*/ 552 w 908"/>
              <a:gd name="T83" fmla="*/ 228 h 907"/>
              <a:gd name="T84" fmla="*/ 576 w 908"/>
              <a:gd name="T85" fmla="*/ 222 h 907"/>
              <a:gd name="T86" fmla="*/ 611 w 908"/>
              <a:gd name="T87" fmla="*/ 221 h 907"/>
              <a:gd name="T88" fmla="*/ 649 w 908"/>
              <a:gd name="T89" fmla="*/ 229 h 907"/>
              <a:gd name="T90" fmla="*/ 674 w 908"/>
              <a:gd name="T91" fmla="*/ 240 h 907"/>
              <a:gd name="T92" fmla="*/ 692 w 908"/>
              <a:gd name="T93" fmla="*/ 253 h 907"/>
              <a:gd name="T94" fmla="*/ 707 w 908"/>
              <a:gd name="T95" fmla="*/ 270 h 907"/>
              <a:gd name="T96" fmla="*/ 721 w 908"/>
              <a:gd name="T97" fmla="*/ 290 h 907"/>
              <a:gd name="T98" fmla="*/ 731 w 908"/>
              <a:gd name="T99" fmla="*/ 315 h 907"/>
              <a:gd name="T100" fmla="*/ 739 w 908"/>
              <a:gd name="T101" fmla="*/ 346 h 907"/>
              <a:gd name="T102" fmla="*/ 742 w 908"/>
              <a:gd name="T103" fmla="*/ 381 h 907"/>
              <a:gd name="T104" fmla="*/ 0 w 908"/>
              <a:gd name="T105" fmla="*/ 907 h 907"/>
              <a:gd name="T106" fmla="*/ 908 w 908"/>
              <a:gd name="T107" fmla="*/ 453 h 907"/>
              <a:gd name="T108" fmla="*/ 0 w 908"/>
              <a:gd name="T109" fmla="*/ 0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743" y="408"/>
                </a:moveTo>
                <a:lnTo>
                  <a:pt x="743" y="675"/>
                </a:lnTo>
                <a:lnTo>
                  <a:pt x="653" y="675"/>
                </a:lnTo>
                <a:lnTo>
                  <a:pt x="653" y="409"/>
                </a:lnTo>
                <a:lnTo>
                  <a:pt x="652" y="390"/>
                </a:lnTo>
                <a:lnTo>
                  <a:pt x="651" y="382"/>
                </a:lnTo>
                <a:lnTo>
                  <a:pt x="650" y="374"/>
                </a:lnTo>
                <a:lnTo>
                  <a:pt x="648" y="360"/>
                </a:lnTo>
                <a:lnTo>
                  <a:pt x="644" y="348"/>
                </a:lnTo>
                <a:lnTo>
                  <a:pt x="640" y="337"/>
                </a:lnTo>
                <a:lnTo>
                  <a:pt x="636" y="328"/>
                </a:lnTo>
                <a:lnTo>
                  <a:pt x="630" y="320"/>
                </a:lnTo>
                <a:lnTo>
                  <a:pt x="625" y="314"/>
                </a:lnTo>
                <a:lnTo>
                  <a:pt x="619" y="309"/>
                </a:lnTo>
                <a:lnTo>
                  <a:pt x="613" y="305"/>
                </a:lnTo>
                <a:lnTo>
                  <a:pt x="607" y="302"/>
                </a:lnTo>
                <a:lnTo>
                  <a:pt x="601" y="299"/>
                </a:lnTo>
                <a:lnTo>
                  <a:pt x="595" y="298"/>
                </a:lnTo>
                <a:lnTo>
                  <a:pt x="589" y="297"/>
                </a:lnTo>
                <a:lnTo>
                  <a:pt x="584" y="297"/>
                </a:lnTo>
                <a:lnTo>
                  <a:pt x="579" y="296"/>
                </a:lnTo>
                <a:lnTo>
                  <a:pt x="575" y="297"/>
                </a:lnTo>
                <a:lnTo>
                  <a:pt x="571" y="297"/>
                </a:lnTo>
                <a:lnTo>
                  <a:pt x="565" y="298"/>
                </a:lnTo>
                <a:lnTo>
                  <a:pt x="559" y="299"/>
                </a:lnTo>
                <a:lnTo>
                  <a:pt x="552" y="301"/>
                </a:lnTo>
                <a:lnTo>
                  <a:pt x="546" y="304"/>
                </a:lnTo>
                <a:lnTo>
                  <a:pt x="539" y="308"/>
                </a:lnTo>
                <a:lnTo>
                  <a:pt x="532" y="313"/>
                </a:lnTo>
                <a:lnTo>
                  <a:pt x="526" y="320"/>
                </a:lnTo>
                <a:lnTo>
                  <a:pt x="520" y="327"/>
                </a:lnTo>
                <a:lnTo>
                  <a:pt x="517" y="332"/>
                </a:lnTo>
                <a:lnTo>
                  <a:pt x="514" y="337"/>
                </a:lnTo>
                <a:lnTo>
                  <a:pt x="511" y="342"/>
                </a:lnTo>
                <a:lnTo>
                  <a:pt x="509" y="348"/>
                </a:lnTo>
                <a:lnTo>
                  <a:pt x="507" y="354"/>
                </a:lnTo>
                <a:lnTo>
                  <a:pt x="505" y="360"/>
                </a:lnTo>
                <a:lnTo>
                  <a:pt x="503" y="368"/>
                </a:lnTo>
                <a:lnTo>
                  <a:pt x="502" y="375"/>
                </a:lnTo>
                <a:lnTo>
                  <a:pt x="500" y="392"/>
                </a:lnTo>
                <a:lnTo>
                  <a:pt x="499" y="402"/>
                </a:lnTo>
                <a:lnTo>
                  <a:pt x="499" y="411"/>
                </a:lnTo>
                <a:lnTo>
                  <a:pt x="499" y="675"/>
                </a:lnTo>
                <a:lnTo>
                  <a:pt x="410" y="675"/>
                </a:lnTo>
                <a:lnTo>
                  <a:pt x="410" y="409"/>
                </a:lnTo>
                <a:lnTo>
                  <a:pt x="409" y="390"/>
                </a:lnTo>
                <a:lnTo>
                  <a:pt x="409" y="382"/>
                </a:lnTo>
                <a:lnTo>
                  <a:pt x="408" y="374"/>
                </a:lnTo>
                <a:lnTo>
                  <a:pt x="405" y="360"/>
                </a:lnTo>
                <a:lnTo>
                  <a:pt x="402" y="348"/>
                </a:lnTo>
                <a:lnTo>
                  <a:pt x="398" y="337"/>
                </a:lnTo>
                <a:lnTo>
                  <a:pt x="393" y="328"/>
                </a:lnTo>
                <a:lnTo>
                  <a:pt x="388" y="320"/>
                </a:lnTo>
                <a:lnTo>
                  <a:pt x="382" y="314"/>
                </a:lnTo>
                <a:lnTo>
                  <a:pt x="376" y="309"/>
                </a:lnTo>
                <a:lnTo>
                  <a:pt x="370" y="305"/>
                </a:lnTo>
                <a:lnTo>
                  <a:pt x="364" y="302"/>
                </a:lnTo>
                <a:lnTo>
                  <a:pt x="358" y="299"/>
                </a:lnTo>
                <a:lnTo>
                  <a:pt x="352" y="298"/>
                </a:lnTo>
                <a:lnTo>
                  <a:pt x="347" y="297"/>
                </a:lnTo>
                <a:lnTo>
                  <a:pt x="342" y="297"/>
                </a:lnTo>
                <a:lnTo>
                  <a:pt x="337" y="296"/>
                </a:lnTo>
                <a:lnTo>
                  <a:pt x="333" y="297"/>
                </a:lnTo>
                <a:lnTo>
                  <a:pt x="328" y="297"/>
                </a:lnTo>
                <a:lnTo>
                  <a:pt x="323" y="298"/>
                </a:lnTo>
                <a:lnTo>
                  <a:pt x="317" y="299"/>
                </a:lnTo>
                <a:lnTo>
                  <a:pt x="310" y="301"/>
                </a:lnTo>
                <a:lnTo>
                  <a:pt x="304" y="304"/>
                </a:lnTo>
                <a:lnTo>
                  <a:pt x="297" y="308"/>
                </a:lnTo>
                <a:lnTo>
                  <a:pt x="291" y="313"/>
                </a:lnTo>
                <a:lnTo>
                  <a:pt x="284" y="320"/>
                </a:lnTo>
                <a:lnTo>
                  <a:pt x="278" y="327"/>
                </a:lnTo>
                <a:lnTo>
                  <a:pt x="276" y="332"/>
                </a:lnTo>
                <a:lnTo>
                  <a:pt x="273" y="337"/>
                </a:lnTo>
                <a:lnTo>
                  <a:pt x="268" y="348"/>
                </a:lnTo>
                <a:lnTo>
                  <a:pt x="264" y="360"/>
                </a:lnTo>
                <a:lnTo>
                  <a:pt x="262" y="368"/>
                </a:lnTo>
                <a:lnTo>
                  <a:pt x="261" y="375"/>
                </a:lnTo>
                <a:lnTo>
                  <a:pt x="259" y="392"/>
                </a:lnTo>
                <a:lnTo>
                  <a:pt x="259" y="402"/>
                </a:lnTo>
                <a:lnTo>
                  <a:pt x="258" y="411"/>
                </a:lnTo>
                <a:lnTo>
                  <a:pt x="258" y="675"/>
                </a:lnTo>
                <a:lnTo>
                  <a:pt x="169" y="675"/>
                </a:lnTo>
                <a:lnTo>
                  <a:pt x="169" y="230"/>
                </a:lnTo>
                <a:lnTo>
                  <a:pt x="255" y="230"/>
                </a:lnTo>
                <a:lnTo>
                  <a:pt x="255" y="280"/>
                </a:lnTo>
                <a:lnTo>
                  <a:pt x="260" y="272"/>
                </a:lnTo>
                <a:lnTo>
                  <a:pt x="265" y="264"/>
                </a:lnTo>
                <a:lnTo>
                  <a:pt x="271" y="257"/>
                </a:lnTo>
                <a:lnTo>
                  <a:pt x="277" y="251"/>
                </a:lnTo>
                <a:lnTo>
                  <a:pt x="284" y="246"/>
                </a:lnTo>
                <a:lnTo>
                  <a:pt x="291" y="241"/>
                </a:lnTo>
                <a:lnTo>
                  <a:pt x="298" y="237"/>
                </a:lnTo>
                <a:lnTo>
                  <a:pt x="305" y="233"/>
                </a:lnTo>
                <a:lnTo>
                  <a:pt x="312" y="230"/>
                </a:lnTo>
                <a:lnTo>
                  <a:pt x="319" y="227"/>
                </a:lnTo>
                <a:lnTo>
                  <a:pt x="334" y="223"/>
                </a:lnTo>
                <a:lnTo>
                  <a:pt x="341" y="222"/>
                </a:lnTo>
                <a:lnTo>
                  <a:pt x="348" y="221"/>
                </a:lnTo>
                <a:lnTo>
                  <a:pt x="360" y="221"/>
                </a:lnTo>
                <a:lnTo>
                  <a:pt x="369" y="221"/>
                </a:lnTo>
                <a:lnTo>
                  <a:pt x="378" y="222"/>
                </a:lnTo>
                <a:lnTo>
                  <a:pt x="387" y="223"/>
                </a:lnTo>
                <a:lnTo>
                  <a:pt x="395" y="225"/>
                </a:lnTo>
                <a:lnTo>
                  <a:pt x="404" y="228"/>
                </a:lnTo>
                <a:lnTo>
                  <a:pt x="412" y="231"/>
                </a:lnTo>
                <a:lnTo>
                  <a:pt x="419" y="234"/>
                </a:lnTo>
                <a:lnTo>
                  <a:pt x="427" y="238"/>
                </a:lnTo>
                <a:lnTo>
                  <a:pt x="434" y="243"/>
                </a:lnTo>
                <a:lnTo>
                  <a:pt x="441" y="248"/>
                </a:lnTo>
                <a:lnTo>
                  <a:pt x="448" y="254"/>
                </a:lnTo>
                <a:lnTo>
                  <a:pt x="454" y="261"/>
                </a:lnTo>
                <a:lnTo>
                  <a:pt x="460" y="268"/>
                </a:lnTo>
                <a:lnTo>
                  <a:pt x="465" y="275"/>
                </a:lnTo>
                <a:lnTo>
                  <a:pt x="470" y="283"/>
                </a:lnTo>
                <a:lnTo>
                  <a:pt x="475" y="292"/>
                </a:lnTo>
                <a:lnTo>
                  <a:pt x="481" y="282"/>
                </a:lnTo>
                <a:lnTo>
                  <a:pt x="488" y="273"/>
                </a:lnTo>
                <a:lnTo>
                  <a:pt x="495" y="265"/>
                </a:lnTo>
                <a:lnTo>
                  <a:pt x="502" y="257"/>
                </a:lnTo>
                <a:lnTo>
                  <a:pt x="510" y="251"/>
                </a:lnTo>
                <a:lnTo>
                  <a:pt x="518" y="245"/>
                </a:lnTo>
                <a:lnTo>
                  <a:pt x="526" y="240"/>
                </a:lnTo>
                <a:lnTo>
                  <a:pt x="535" y="235"/>
                </a:lnTo>
                <a:lnTo>
                  <a:pt x="543" y="232"/>
                </a:lnTo>
                <a:lnTo>
                  <a:pt x="552" y="228"/>
                </a:lnTo>
                <a:lnTo>
                  <a:pt x="560" y="226"/>
                </a:lnTo>
                <a:lnTo>
                  <a:pt x="568" y="224"/>
                </a:lnTo>
                <a:lnTo>
                  <a:pt x="576" y="222"/>
                </a:lnTo>
                <a:lnTo>
                  <a:pt x="584" y="221"/>
                </a:lnTo>
                <a:lnTo>
                  <a:pt x="598" y="221"/>
                </a:lnTo>
                <a:lnTo>
                  <a:pt x="611" y="221"/>
                </a:lnTo>
                <a:lnTo>
                  <a:pt x="624" y="223"/>
                </a:lnTo>
                <a:lnTo>
                  <a:pt x="636" y="225"/>
                </a:lnTo>
                <a:lnTo>
                  <a:pt x="649" y="229"/>
                </a:lnTo>
                <a:lnTo>
                  <a:pt x="662" y="234"/>
                </a:lnTo>
                <a:lnTo>
                  <a:pt x="668" y="237"/>
                </a:lnTo>
                <a:lnTo>
                  <a:pt x="674" y="240"/>
                </a:lnTo>
                <a:lnTo>
                  <a:pt x="680" y="244"/>
                </a:lnTo>
                <a:lnTo>
                  <a:pt x="686" y="248"/>
                </a:lnTo>
                <a:lnTo>
                  <a:pt x="692" y="253"/>
                </a:lnTo>
                <a:lnTo>
                  <a:pt x="697" y="258"/>
                </a:lnTo>
                <a:lnTo>
                  <a:pt x="702" y="264"/>
                </a:lnTo>
                <a:lnTo>
                  <a:pt x="707" y="270"/>
                </a:lnTo>
                <a:lnTo>
                  <a:pt x="712" y="276"/>
                </a:lnTo>
                <a:lnTo>
                  <a:pt x="716" y="283"/>
                </a:lnTo>
                <a:lnTo>
                  <a:pt x="721" y="290"/>
                </a:lnTo>
                <a:lnTo>
                  <a:pt x="724" y="298"/>
                </a:lnTo>
                <a:lnTo>
                  <a:pt x="728" y="307"/>
                </a:lnTo>
                <a:lnTo>
                  <a:pt x="731" y="315"/>
                </a:lnTo>
                <a:lnTo>
                  <a:pt x="734" y="325"/>
                </a:lnTo>
                <a:lnTo>
                  <a:pt x="736" y="335"/>
                </a:lnTo>
                <a:lnTo>
                  <a:pt x="739" y="346"/>
                </a:lnTo>
                <a:lnTo>
                  <a:pt x="740" y="357"/>
                </a:lnTo>
                <a:lnTo>
                  <a:pt x="741" y="369"/>
                </a:lnTo>
                <a:lnTo>
                  <a:pt x="742" y="381"/>
                </a:lnTo>
                <a:lnTo>
                  <a:pt x="743" y="394"/>
                </a:lnTo>
                <a:lnTo>
                  <a:pt x="743" y="408"/>
                </a:lnTo>
                <a:close/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5" name="Freeform 17"/>
          <p:cNvSpPr>
            <a:spLocks noChangeAspect="1" noEditPoints="1"/>
          </p:cNvSpPr>
          <p:nvPr userDrawn="1"/>
        </p:nvSpPr>
        <p:spPr bwMode="auto">
          <a:xfrm>
            <a:off x="3918083" y="-595"/>
            <a:ext cx="1306033" cy="1285880"/>
          </a:xfrm>
          <a:custGeom>
            <a:avLst/>
            <a:gdLst>
              <a:gd name="T0" fmla="*/ 587 w 907"/>
              <a:gd name="T1" fmla="*/ 676 h 908"/>
              <a:gd name="T2" fmla="*/ 587 w 907"/>
              <a:gd name="T3" fmla="*/ 444 h 908"/>
              <a:gd name="T4" fmla="*/ 586 w 907"/>
              <a:gd name="T5" fmla="*/ 428 h 908"/>
              <a:gd name="T6" fmla="*/ 583 w 907"/>
              <a:gd name="T7" fmla="*/ 412 h 908"/>
              <a:gd name="T8" fmla="*/ 580 w 907"/>
              <a:gd name="T9" fmla="*/ 397 h 908"/>
              <a:gd name="T10" fmla="*/ 575 w 907"/>
              <a:gd name="T11" fmla="*/ 383 h 908"/>
              <a:gd name="T12" fmla="*/ 566 w 907"/>
              <a:gd name="T13" fmla="*/ 364 h 908"/>
              <a:gd name="T14" fmla="*/ 555 w 907"/>
              <a:gd name="T15" fmla="*/ 347 h 908"/>
              <a:gd name="T16" fmla="*/ 546 w 907"/>
              <a:gd name="T17" fmla="*/ 337 h 908"/>
              <a:gd name="T18" fmla="*/ 532 w 907"/>
              <a:gd name="T19" fmla="*/ 325 h 908"/>
              <a:gd name="T20" fmla="*/ 516 w 907"/>
              <a:gd name="T21" fmla="*/ 314 h 908"/>
              <a:gd name="T22" fmla="*/ 504 w 907"/>
              <a:gd name="T23" fmla="*/ 309 h 908"/>
              <a:gd name="T24" fmla="*/ 492 w 907"/>
              <a:gd name="T25" fmla="*/ 305 h 908"/>
              <a:gd name="T26" fmla="*/ 479 w 907"/>
              <a:gd name="T27" fmla="*/ 303 h 908"/>
              <a:gd name="T28" fmla="*/ 460 w 907"/>
              <a:gd name="T29" fmla="*/ 301 h 908"/>
              <a:gd name="T30" fmla="*/ 439 w 907"/>
              <a:gd name="T31" fmla="*/ 302 h 908"/>
              <a:gd name="T32" fmla="*/ 419 w 907"/>
              <a:gd name="T33" fmla="*/ 307 h 908"/>
              <a:gd name="T34" fmla="*/ 407 w 907"/>
              <a:gd name="T35" fmla="*/ 312 h 908"/>
              <a:gd name="T36" fmla="*/ 395 w 907"/>
              <a:gd name="T37" fmla="*/ 317 h 908"/>
              <a:gd name="T38" fmla="*/ 383 w 907"/>
              <a:gd name="T39" fmla="*/ 325 h 908"/>
              <a:gd name="T40" fmla="*/ 373 w 907"/>
              <a:gd name="T41" fmla="*/ 333 h 908"/>
              <a:gd name="T42" fmla="*/ 363 w 907"/>
              <a:gd name="T43" fmla="*/ 343 h 908"/>
              <a:gd name="T44" fmla="*/ 354 w 907"/>
              <a:gd name="T45" fmla="*/ 354 h 908"/>
              <a:gd name="T46" fmla="*/ 345 w 907"/>
              <a:gd name="T47" fmla="*/ 366 h 908"/>
              <a:gd name="T48" fmla="*/ 335 w 907"/>
              <a:gd name="T49" fmla="*/ 387 h 908"/>
              <a:gd name="T50" fmla="*/ 327 w 907"/>
              <a:gd name="T51" fmla="*/ 410 h 908"/>
              <a:gd name="T52" fmla="*/ 324 w 907"/>
              <a:gd name="T53" fmla="*/ 427 h 908"/>
              <a:gd name="T54" fmla="*/ 321 w 907"/>
              <a:gd name="T55" fmla="*/ 446 h 908"/>
              <a:gd name="T56" fmla="*/ 321 w 907"/>
              <a:gd name="T57" fmla="*/ 676 h 908"/>
              <a:gd name="T58" fmla="*/ 231 w 907"/>
              <a:gd name="T59" fmla="*/ 230 h 908"/>
              <a:gd name="T60" fmla="*/ 318 w 907"/>
              <a:gd name="T61" fmla="*/ 305 h 908"/>
              <a:gd name="T62" fmla="*/ 329 w 907"/>
              <a:gd name="T63" fmla="*/ 286 h 908"/>
              <a:gd name="T64" fmla="*/ 344 w 907"/>
              <a:gd name="T65" fmla="*/ 270 h 908"/>
              <a:gd name="T66" fmla="*/ 352 w 907"/>
              <a:gd name="T67" fmla="*/ 262 h 908"/>
              <a:gd name="T68" fmla="*/ 371 w 907"/>
              <a:gd name="T69" fmla="*/ 249 h 908"/>
              <a:gd name="T70" fmla="*/ 392 w 907"/>
              <a:gd name="T71" fmla="*/ 238 h 908"/>
              <a:gd name="T72" fmla="*/ 414 w 907"/>
              <a:gd name="T73" fmla="*/ 230 h 908"/>
              <a:gd name="T74" fmla="*/ 438 w 907"/>
              <a:gd name="T75" fmla="*/ 224 h 908"/>
              <a:gd name="T76" fmla="*/ 461 w 907"/>
              <a:gd name="T77" fmla="*/ 221 h 908"/>
              <a:gd name="T78" fmla="*/ 492 w 907"/>
              <a:gd name="T79" fmla="*/ 221 h 908"/>
              <a:gd name="T80" fmla="*/ 520 w 907"/>
              <a:gd name="T81" fmla="*/ 225 h 908"/>
              <a:gd name="T82" fmla="*/ 538 w 907"/>
              <a:gd name="T83" fmla="*/ 230 h 908"/>
              <a:gd name="T84" fmla="*/ 556 w 907"/>
              <a:gd name="T85" fmla="*/ 236 h 908"/>
              <a:gd name="T86" fmla="*/ 573 w 907"/>
              <a:gd name="T87" fmla="*/ 244 h 908"/>
              <a:gd name="T88" fmla="*/ 590 w 907"/>
              <a:gd name="T89" fmla="*/ 253 h 908"/>
              <a:gd name="T90" fmla="*/ 605 w 907"/>
              <a:gd name="T91" fmla="*/ 265 h 908"/>
              <a:gd name="T92" fmla="*/ 619 w 907"/>
              <a:gd name="T93" fmla="*/ 278 h 908"/>
              <a:gd name="T94" fmla="*/ 632 w 907"/>
              <a:gd name="T95" fmla="*/ 293 h 908"/>
              <a:gd name="T96" fmla="*/ 644 w 907"/>
              <a:gd name="T97" fmla="*/ 310 h 908"/>
              <a:gd name="T98" fmla="*/ 654 w 907"/>
              <a:gd name="T99" fmla="*/ 328 h 908"/>
              <a:gd name="T100" fmla="*/ 663 w 907"/>
              <a:gd name="T101" fmla="*/ 349 h 908"/>
              <a:gd name="T102" fmla="*/ 669 w 907"/>
              <a:gd name="T103" fmla="*/ 372 h 908"/>
              <a:gd name="T104" fmla="*/ 674 w 907"/>
              <a:gd name="T105" fmla="*/ 397 h 908"/>
              <a:gd name="T106" fmla="*/ 676 w 907"/>
              <a:gd name="T107" fmla="*/ 424 h 908"/>
              <a:gd name="T108" fmla="*/ 676 w 907"/>
              <a:gd name="T109" fmla="*/ 676 h 908"/>
              <a:gd name="T110" fmla="*/ 453 w 907"/>
              <a:gd name="T111" fmla="*/ 908 h 908"/>
              <a:gd name="T112" fmla="*/ 907 w 907"/>
              <a:gd name="T113" fmla="*/ 453 h 908"/>
              <a:gd name="T114" fmla="*/ 453 w 907"/>
              <a:gd name="T115" fmla="*/ 0 h 908"/>
              <a:gd name="T116" fmla="*/ 0 w 907"/>
              <a:gd name="T117" fmla="*/ 453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7" h="908">
                <a:moveTo>
                  <a:pt x="676" y="676"/>
                </a:moveTo>
                <a:lnTo>
                  <a:pt x="587" y="676"/>
                </a:lnTo>
                <a:lnTo>
                  <a:pt x="587" y="453"/>
                </a:lnTo>
                <a:lnTo>
                  <a:pt x="587" y="444"/>
                </a:lnTo>
                <a:lnTo>
                  <a:pt x="586" y="436"/>
                </a:lnTo>
                <a:lnTo>
                  <a:pt x="586" y="428"/>
                </a:lnTo>
                <a:lnTo>
                  <a:pt x="585" y="420"/>
                </a:lnTo>
                <a:lnTo>
                  <a:pt x="583" y="412"/>
                </a:lnTo>
                <a:lnTo>
                  <a:pt x="581" y="404"/>
                </a:lnTo>
                <a:lnTo>
                  <a:pt x="580" y="397"/>
                </a:lnTo>
                <a:lnTo>
                  <a:pt x="577" y="390"/>
                </a:lnTo>
                <a:lnTo>
                  <a:pt x="575" y="383"/>
                </a:lnTo>
                <a:lnTo>
                  <a:pt x="572" y="376"/>
                </a:lnTo>
                <a:lnTo>
                  <a:pt x="566" y="364"/>
                </a:lnTo>
                <a:lnTo>
                  <a:pt x="559" y="352"/>
                </a:lnTo>
                <a:lnTo>
                  <a:pt x="555" y="347"/>
                </a:lnTo>
                <a:lnTo>
                  <a:pt x="550" y="342"/>
                </a:lnTo>
                <a:lnTo>
                  <a:pt x="546" y="337"/>
                </a:lnTo>
                <a:lnTo>
                  <a:pt x="541" y="333"/>
                </a:lnTo>
                <a:lnTo>
                  <a:pt x="532" y="325"/>
                </a:lnTo>
                <a:lnTo>
                  <a:pt x="521" y="317"/>
                </a:lnTo>
                <a:lnTo>
                  <a:pt x="516" y="314"/>
                </a:lnTo>
                <a:lnTo>
                  <a:pt x="510" y="312"/>
                </a:lnTo>
                <a:lnTo>
                  <a:pt x="504" y="309"/>
                </a:lnTo>
                <a:lnTo>
                  <a:pt x="498" y="307"/>
                </a:lnTo>
                <a:lnTo>
                  <a:pt x="492" y="305"/>
                </a:lnTo>
                <a:lnTo>
                  <a:pt x="486" y="304"/>
                </a:lnTo>
                <a:lnTo>
                  <a:pt x="479" y="303"/>
                </a:lnTo>
                <a:lnTo>
                  <a:pt x="473" y="302"/>
                </a:lnTo>
                <a:lnTo>
                  <a:pt x="460" y="301"/>
                </a:lnTo>
                <a:lnTo>
                  <a:pt x="446" y="302"/>
                </a:lnTo>
                <a:lnTo>
                  <a:pt x="439" y="302"/>
                </a:lnTo>
                <a:lnTo>
                  <a:pt x="432" y="304"/>
                </a:lnTo>
                <a:lnTo>
                  <a:pt x="419" y="307"/>
                </a:lnTo>
                <a:lnTo>
                  <a:pt x="413" y="309"/>
                </a:lnTo>
                <a:lnTo>
                  <a:pt x="407" y="312"/>
                </a:lnTo>
                <a:lnTo>
                  <a:pt x="401" y="314"/>
                </a:lnTo>
                <a:lnTo>
                  <a:pt x="395" y="317"/>
                </a:lnTo>
                <a:lnTo>
                  <a:pt x="389" y="321"/>
                </a:lnTo>
                <a:lnTo>
                  <a:pt x="383" y="325"/>
                </a:lnTo>
                <a:lnTo>
                  <a:pt x="378" y="329"/>
                </a:lnTo>
                <a:lnTo>
                  <a:pt x="373" y="333"/>
                </a:lnTo>
                <a:lnTo>
                  <a:pt x="367" y="338"/>
                </a:lnTo>
                <a:lnTo>
                  <a:pt x="363" y="343"/>
                </a:lnTo>
                <a:lnTo>
                  <a:pt x="358" y="348"/>
                </a:lnTo>
                <a:lnTo>
                  <a:pt x="354" y="354"/>
                </a:lnTo>
                <a:lnTo>
                  <a:pt x="349" y="360"/>
                </a:lnTo>
                <a:lnTo>
                  <a:pt x="345" y="366"/>
                </a:lnTo>
                <a:lnTo>
                  <a:pt x="338" y="380"/>
                </a:lnTo>
                <a:lnTo>
                  <a:pt x="335" y="387"/>
                </a:lnTo>
                <a:lnTo>
                  <a:pt x="332" y="394"/>
                </a:lnTo>
                <a:lnTo>
                  <a:pt x="327" y="410"/>
                </a:lnTo>
                <a:lnTo>
                  <a:pt x="325" y="419"/>
                </a:lnTo>
                <a:lnTo>
                  <a:pt x="324" y="427"/>
                </a:lnTo>
                <a:lnTo>
                  <a:pt x="322" y="436"/>
                </a:lnTo>
                <a:lnTo>
                  <a:pt x="321" y="446"/>
                </a:lnTo>
                <a:lnTo>
                  <a:pt x="321" y="466"/>
                </a:lnTo>
                <a:lnTo>
                  <a:pt x="321" y="676"/>
                </a:lnTo>
                <a:lnTo>
                  <a:pt x="231" y="676"/>
                </a:lnTo>
                <a:lnTo>
                  <a:pt x="231" y="230"/>
                </a:lnTo>
                <a:lnTo>
                  <a:pt x="318" y="230"/>
                </a:lnTo>
                <a:lnTo>
                  <a:pt x="318" y="305"/>
                </a:lnTo>
                <a:lnTo>
                  <a:pt x="323" y="296"/>
                </a:lnTo>
                <a:lnTo>
                  <a:pt x="329" y="286"/>
                </a:lnTo>
                <a:lnTo>
                  <a:pt x="336" y="278"/>
                </a:lnTo>
                <a:lnTo>
                  <a:pt x="344" y="270"/>
                </a:lnTo>
                <a:lnTo>
                  <a:pt x="348" y="266"/>
                </a:lnTo>
                <a:lnTo>
                  <a:pt x="352" y="262"/>
                </a:lnTo>
                <a:lnTo>
                  <a:pt x="361" y="255"/>
                </a:lnTo>
                <a:lnTo>
                  <a:pt x="371" y="249"/>
                </a:lnTo>
                <a:lnTo>
                  <a:pt x="381" y="243"/>
                </a:lnTo>
                <a:lnTo>
                  <a:pt x="392" y="238"/>
                </a:lnTo>
                <a:lnTo>
                  <a:pt x="403" y="233"/>
                </a:lnTo>
                <a:lnTo>
                  <a:pt x="414" y="230"/>
                </a:lnTo>
                <a:lnTo>
                  <a:pt x="426" y="226"/>
                </a:lnTo>
                <a:lnTo>
                  <a:pt x="438" y="224"/>
                </a:lnTo>
                <a:lnTo>
                  <a:pt x="449" y="222"/>
                </a:lnTo>
                <a:lnTo>
                  <a:pt x="461" y="221"/>
                </a:lnTo>
                <a:lnTo>
                  <a:pt x="473" y="221"/>
                </a:lnTo>
                <a:lnTo>
                  <a:pt x="492" y="221"/>
                </a:lnTo>
                <a:lnTo>
                  <a:pt x="511" y="224"/>
                </a:lnTo>
                <a:lnTo>
                  <a:pt x="520" y="225"/>
                </a:lnTo>
                <a:lnTo>
                  <a:pt x="529" y="227"/>
                </a:lnTo>
                <a:lnTo>
                  <a:pt x="538" y="230"/>
                </a:lnTo>
                <a:lnTo>
                  <a:pt x="547" y="233"/>
                </a:lnTo>
                <a:lnTo>
                  <a:pt x="556" y="236"/>
                </a:lnTo>
                <a:lnTo>
                  <a:pt x="565" y="240"/>
                </a:lnTo>
                <a:lnTo>
                  <a:pt x="573" y="244"/>
                </a:lnTo>
                <a:lnTo>
                  <a:pt x="582" y="248"/>
                </a:lnTo>
                <a:lnTo>
                  <a:pt x="590" y="253"/>
                </a:lnTo>
                <a:lnTo>
                  <a:pt x="597" y="259"/>
                </a:lnTo>
                <a:lnTo>
                  <a:pt x="605" y="265"/>
                </a:lnTo>
                <a:lnTo>
                  <a:pt x="612" y="271"/>
                </a:lnTo>
                <a:lnTo>
                  <a:pt x="619" y="278"/>
                </a:lnTo>
                <a:lnTo>
                  <a:pt x="626" y="285"/>
                </a:lnTo>
                <a:lnTo>
                  <a:pt x="632" y="293"/>
                </a:lnTo>
                <a:lnTo>
                  <a:pt x="638" y="301"/>
                </a:lnTo>
                <a:lnTo>
                  <a:pt x="644" y="310"/>
                </a:lnTo>
                <a:lnTo>
                  <a:pt x="649" y="319"/>
                </a:lnTo>
                <a:lnTo>
                  <a:pt x="654" y="328"/>
                </a:lnTo>
                <a:lnTo>
                  <a:pt x="659" y="338"/>
                </a:lnTo>
                <a:lnTo>
                  <a:pt x="663" y="349"/>
                </a:lnTo>
                <a:lnTo>
                  <a:pt x="666" y="360"/>
                </a:lnTo>
                <a:lnTo>
                  <a:pt x="669" y="372"/>
                </a:lnTo>
                <a:lnTo>
                  <a:pt x="672" y="384"/>
                </a:lnTo>
                <a:lnTo>
                  <a:pt x="674" y="397"/>
                </a:lnTo>
                <a:lnTo>
                  <a:pt x="675" y="410"/>
                </a:lnTo>
                <a:lnTo>
                  <a:pt x="676" y="424"/>
                </a:lnTo>
                <a:lnTo>
                  <a:pt x="676" y="438"/>
                </a:lnTo>
                <a:lnTo>
                  <a:pt x="676" y="676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3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6" name="Freeform 18"/>
          <p:cNvSpPr>
            <a:spLocks noChangeAspect="1" noEditPoints="1"/>
          </p:cNvSpPr>
          <p:nvPr userDrawn="1"/>
        </p:nvSpPr>
        <p:spPr bwMode="auto">
          <a:xfrm>
            <a:off x="7837070" y="-595"/>
            <a:ext cx="1306033" cy="1285880"/>
          </a:xfrm>
          <a:custGeom>
            <a:avLst/>
            <a:gdLst>
              <a:gd name="T0" fmla="*/ 433 w 907"/>
              <a:gd name="T1" fmla="*/ 300 h 908"/>
              <a:gd name="T2" fmla="*/ 403 w 907"/>
              <a:gd name="T3" fmla="*/ 308 h 908"/>
              <a:gd name="T4" fmla="*/ 366 w 907"/>
              <a:gd name="T5" fmla="*/ 332 h 908"/>
              <a:gd name="T6" fmla="*/ 343 w 907"/>
              <a:gd name="T7" fmla="*/ 360 h 908"/>
              <a:gd name="T8" fmla="*/ 325 w 907"/>
              <a:gd name="T9" fmla="*/ 398 h 908"/>
              <a:gd name="T10" fmla="*/ 316 w 907"/>
              <a:gd name="T11" fmla="*/ 455 h 908"/>
              <a:gd name="T12" fmla="*/ 321 w 907"/>
              <a:gd name="T13" fmla="*/ 497 h 908"/>
              <a:gd name="T14" fmla="*/ 330 w 907"/>
              <a:gd name="T15" fmla="*/ 524 h 908"/>
              <a:gd name="T16" fmla="*/ 343 w 907"/>
              <a:gd name="T17" fmla="*/ 549 h 908"/>
              <a:gd name="T18" fmla="*/ 361 w 907"/>
              <a:gd name="T19" fmla="*/ 571 h 908"/>
              <a:gd name="T20" fmla="*/ 383 w 907"/>
              <a:gd name="T21" fmla="*/ 589 h 908"/>
              <a:gd name="T22" fmla="*/ 410 w 907"/>
              <a:gd name="T23" fmla="*/ 603 h 908"/>
              <a:gd name="T24" fmla="*/ 441 w 907"/>
              <a:gd name="T25" fmla="*/ 610 h 908"/>
              <a:gd name="T26" fmla="*/ 484 w 907"/>
              <a:gd name="T27" fmla="*/ 608 h 908"/>
              <a:gd name="T28" fmla="*/ 520 w 907"/>
              <a:gd name="T29" fmla="*/ 596 h 908"/>
              <a:gd name="T30" fmla="*/ 547 w 907"/>
              <a:gd name="T31" fmla="*/ 577 h 908"/>
              <a:gd name="T32" fmla="*/ 565 w 907"/>
              <a:gd name="T33" fmla="*/ 557 h 908"/>
              <a:gd name="T34" fmla="*/ 583 w 907"/>
              <a:gd name="T35" fmla="*/ 524 h 908"/>
              <a:gd name="T36" fmla="*/ 592 w 907"/>
              <a:gd name="T37" fmla="*/ 483 h 908"/>
              <a:gd name="T38" fmla="*/ 594 w 907"/>
              <a:gd name="T39" fmla="*/ 445 h 908"/>
              <a:gd name="T40" fmla="*/ 587 w 907"/>
              <a:gd name="T41" fmla="*/ 400 h 908"/>
              <a:gd name="T42" fmla="*/ 577 w 907"/>
              <a:gd name="T43" fmla="*/ 370 h 908"/>
              <a:gd name="T44" fmla="*/ 561 w 907"/>
              <a:gd name="T45" fmla="*/ 346 h 908"/>
              <a:gd name="T46" fmla="*/ 526 w 907"/>
              <a:gd name="T47" fmla="*/ 315 h 908"/>
              <a:gd name="T48" fmla="*/ 503 w 907"/>
              <a:gd name="T49" fmla="*/ 305 h 908"/>
              <a:gd name="T50" fmla="*/ 471 w 907"/>
              <a:gd name="T51" fmla="*/ 298 h 908"/>
              <a:gd name="T52" fmla="*/ 453 w 907"/>
              <a:gd name="T53" fmla="*/ 908 h 908"/>
              <a:gd name="T54" fmla="*/ 453 w 907"/>
              <a:gd name="T55" fmla="*/ 0 h 908"/>
              <a:gd name="T56" fmla="*/ 681 w 907"/>
              <a:gd name="T57" fmla="*/ 676 h 908"/>
              <a:gd name="T58" fmla="*/ 585 w 907"/>
              <a:gd name="T59" fmla="*/ 631 h 908"/>
              <a:gd name="T60" fmla="*/ 549 w 907"/>
              <a:gd name="T61" fmla="*/ 660 h 908"/>
              <a:gd name="T62" fmla="*/ 514 w 907"/>
              <a:gd name="T63" fmla="*/ 676 h 908"/>
              <a:gd name="T64" fmla="*/ 473 w 907"/>
              <a:gd name="T65" fmla="*/ 685 h 908"/>
              <a:gd name="T66" fmla="*/ 427 w 907"/>
              <a:gd name="T67" fmla="*/ 685 h 908"/>
              <a:gd name="T68" fmla="*/ 382 w 907"/>
              <a:gd name="T69" fmla="*/ 676 h 908"/>
              <a:gd name="T70" fmla="*/ 342 w 907"/>
              <a:gd name="T71" fmla="*/ 658 h 908"/>
              <a:gd name="T72" fmla="*/ 306 w 907"/>
              <a:gd name="T73" fmla="*/ 633 h 908"/>
              <a:gd name="T74" fmla="*/ 276 w 907"/>
              <a:gd name="T75" fmla="*/ 602 h 908"/>
              <a:gd name="T76" fmla="*/ 253 w 907"/>
              <a:gd name="T77" fmla="*/ 565 h 908"/>
              <a:gd name="T78" fmla="*/ 236 w 907"/>
              <a:gd name="T79" fmla="*/ 523 h 908"/>
              <a:gd name="T80" fmla="*/ 228 w 907"/>
              <a:gd name="T81" fmla="*/ 478 h 908"/>
              <a:gd name="T82" fmla="*/ 228 w 907"/>
              <a:gd name="T83" fmla="*/ 430 h 908"/>
              <a:gd name="T84" fmla="*/ 235 w 907"/>
              <a:gd name="T85" fmla="*/ 390 h 908"/>
              <a:gd name="T86" fmla="*/ 248 w 907"/>
              <a:gd name="T87" fmla="*/ 353 h 908"/>
              <a:gd name="T88" fmla="*/ 270 w 907"/>
              <a:gd name="T89" fmla="*/ 315 h 908"/>
              <a:gd name="T90" fmla="*/ 298 w 907"/>
              <a:gd name="T91" fmla="*/ 282 h 908"/>
              <a:gd name="T92" fmla="*/ 323 w 907"/>
              <a:gd name="T93" fmla="*/ 261 h 908"/>
              <a:gd name="T94" fmla="*/ 361 w 907"/>
              <a:gd name="T95" fmla="*/ 240 h 908"/>
              <a:gd name="T96" fmla="*/ 404 w 907"/>
              <a:gd name="T97" fmla="*/ 227 h 908"/>
              <a:gd name="T98" fmla="*/ 451 w 907"/>
              <a:gd name="T99" fmla="*/ 222 h 908"/>
              <a:gd name="T100" fmla="*/ 494 w 907"/>
              <a:gd name="T101" fmla="*/ 226 h 908"/>
              <a:gd name="T102" fmla="*/ 532 w 907"/>
              <a:gd name="T103" fmla="*/ 239 h 908"/>
              <a:gd name="T104" fmla="*/ 560 w 907"/>
              <a:gd name="T105" fmla="*/ 255 h 908"/>
              <a:gd name="T106" fmla="*/ 585 w 907"/>
              <a:gd name="T107" fmla="*/ 277 h 908"/>
              <a:gd name="T108" fmla="*/ 681 w 907"/>
              <a:gd name="T109" fmla="*/ 676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7" h="908">
                <a:moveTo>
                  <a:pt x="459" y="298"/>
                </a:moveTo>
                <a:lnTo>
                  <a:pt x="450" y="298"/>
                </a:lnTo>
                <a:lnTo>
                  <a:pt x="441" y="299"/>
                </a:lnTo>
                <a:lnTo>
                  <a:pt x="433" y="300"/>
                </a:lnTo>
                <a:lnTo>
                  <a:pt x="425" y="301"/>
                </a:lnTo>
                <a:lnTo>
                  <a:pt x="417" y="303"/>
                </a:lnTo>
                <a:lnTo>
                  <a:pt x="410" y="306"/>
                </a:lnTo>
                <a:lnTo>
                  <a:pt x="403" y="308"/>
                </a:lnTo>
                <a:lnTo>
                  <a:pt x="396" y="312"/>
                </a:lnTo>
                <a:lnTo>
                  <a:pt x="383" y="319"/>
                </a:lnTo>
                <a:lnTo>
                  <a:pt x="371" y="328"/>
                </a:lnTo>
                <a:lnTo>
                  <a:pt x="366" y="332"/>
                </a:lnTo>
                <a:lnTo>
                  <a:pt x="361" y="337"/>
                </a:lnTo>
                <a:lnTo>
                  <a:pt x="351" y="348"/>
                </a:lnTo>
                <a:lnTo>
                  <a:pt x="347" y="354"/>
                </a:lnTo>
                <a:lnTo>
                  <a:pt x="343" y="360"/>
                </a:lnTo>
                <a:lnTo>
                  <a:pt x="336" y="372"/>
                </a:lnTo>
                <a:lnTo>
                  <a:pt x="333" y="378"/>
                </a:lnTo>
                <a:lnTo>
                  <a:pt x="330" y="385"/>
                </a:lnTo>
                <a:lnTo>
                  <a:pt x="325" y="398"/>
                </a:lnTo>
                <a:lnTo>
                  <a:pt x="321" y="412"/>
                </a:lnTo>
                <a:lnTo>
                  <a:pt x="318" y="426"/>
                </a:lnTo>
                <a:lnTo>
                  <a:pt x="316" y="440"/>
                </a:lnTo>
                <a:lnTo>
                  <a:pt x="316" y="455"/>
                </a:lnTo>
                <a:lnTo>
                  <a:pt x="316" y="469"/>
                </a:lnTo>
                <a:lnTo>
                  <a:pt x="317" y="476"/>
                </a:lnTo>
                <a:lnTo>
                  <a:pt x="318" y="483"/>
                </a:lnTo>
                <a:lnTo>
                  <a:pt x="321" y="497"/>
                </a:lnTo>
                <a:lnTo>
                  <a:pt x="323" y="504"/>
                </a:lnTo>
                <a:lnTo>
                  <a:pt x="325" y="511"/>
                </a:lnTo>
                <a:lnTo>
                  <a:pt x="327" y="517"/>
                </a:lnTo>
                <a:lnTo>
                  <a:pt x="330" y="524"/>
                </a:lnTo>
                <a:lnTo>
                  <a:pt x="333" y="530"/>
                </a:lnTo>
                <a:lnTo>
                  <a:pt x="336" y="537"/>
                </a:lnTo>
                <a:lnTo>
                  <a:pt x="339" y="543"/>
                </a:lnTo>
                <a:lnTo>
                  <a:pt x="343" y="549"/>
                </a:lnTo>
                <a:lnTo>
                  <a:pt x="347" y="555"/>
                </a:lnTo>
                <a:lnTo>
                  <a:pt x="351" y="561"/>
                </a:lnTo>
                <a:lnTo>
                  <a:pt x="356" y="566"/>
                </a:lnTo>
                <a:lnTo>
                  <a:pt x="361" y="571"/>
                </a:lnTo>
                <a:lnTo>
                  <a:pt x="366" y="576"/>
                </a:lnTo>
                <a:lnTo>
                  <a:pt x="371" y="581"/>
                </a:lnTo>
                <a:lnTo>
                  <a:pt x="377" y="585"/>
                </a:lnTo>
                <a:lnTo>
                  <a:pt x="383" y="589"/>
                </a:lnTo>
                <a:lnTo>
                  <a:pt x="389" y="593"/>
                </a:lnTo>
                <a:lnTo>
                  <a:pt x="396" y="597"/>
                </a:lnTo>
                <a:lnTo>
                  <a:pt x="403" y="600"/>
                </a:lnTo>
                <a:lnTo>
                  <a:pt x="410" y="603"/>
                </a:lnTo>
                <a:lnTo>
                  <a:pt x="417" y="605"/>
                </a:lnTo>
                <a:lnTo>
                  <a:pt x="425" y="607"/>
                </a:lnTo>
                <a:lnTo>
                  <a:pt x="433" y="608"/>
                </a:lnTo>
                <a:lnTo>
                  <a:pt x="441" y="610"/>
                </a:lnTo>
                <a:lnTo>
                  <a:pt x="450" y="610"/>
                </a:lnTo>
                <a:lnTo>
                  <a:pt x="459" y="611"/>
                </a:lnTo>
                <a:lnTo>
                  <a:pt x="471" y="610"/>
                </a:lnTo>
                <a:lnTo>
                  <a:pt x="484" y="608"/>
                </a:lnTo>
                <a:lnTo>
                  <a:pt x="497" y="605"/>
                </a:lnTo>
                <a:lnTo>
                  <a:pt x="509" y="601"/>
                </a:lnTo>
                <a:lnTo>
                  <a:pt x="515" y="599"/>
                </a:lnTo>
                <a:lnTo>
                  <a:pt x="520" y="596"/>
                </a:lnTo>
                <a:lnTo>
                  <a:pt x="532" y="589"/>
                </a:lnTo>
                <a:lnTo>
                  <a:pt x="537" y="586"/>
                </a:lnTo>
                <a:lnTo>
                  <a:pt x="542" y="582"/>
                </a:lnTo>
                <a:lnTo>
                  <a:pt x="547" y="577"/>
                </a:lnTo>
                <a:lnTo>
                  <a:pt x="552" y="573"/>
                </a:lnTo>
                <a:lnTo>
                  <a:pt x="557" y="568"/>
                </a:lnTo>
                <a:lnTo>
                  <a:pt x="561" y="562"/>
                </a:lnTo>
                <a:lnTo>
                  <a:pt x="565" y="557"/>
                </a:lnTo>
                <a:lnTo>
                  <a:pt x="569" y="551"/>
                </a:lnTo>
                <a:lnTo>
                  <a:pt x="577" y="538"/>
                </a:lnTo>
                <a:lnTo>
                  <a:pt x="580" y="531"/>
                </a:lnTo>
                <a:lnTo>
                  <a:pt x="583" y="524"/>
                </a:lnTo>
                <a:lnTo>
                  <a:pt x="587" y="509"/>
                </a:lnTo>
                <a:lnTo>
                  <a:pt x="589" y="500"/>
                </a:lnTo>
                <a:lnTo>
                  <a:pt x="591" y="492"/>
                </a:lnTo>
                <a:lnTo>
                  <a:pt x="592" y="483"/>
                </a:lnTo>
                <a:lnTo>
                  <a:pt x="593" y="474"/>
                </a:lnTo>
                <a:lnTo>
                  <a:pt x="594" y="464"/>
                </a:lnTo>
                <a:lnTo>
                  <a:pt x="594" y="455"/>
                </a:lnTo>
                <a:lnTo>
                  <a:pt x="594" y="445"/>
                </a:lnTo>
                <a:lnTo>
                  <a:pt x="593" y="435"/>
                </a:lnTo>
                <a:lnTo>
                  <a:pt x="592" y="426"/>
                </a:lnTo>
                <a:lnTo>
                  <a:pt x="591" y="417"/>
                </a:lnTo>
                <a:lnTo>
                  <a:pt x="587" y="400"/>
                </a:lnTo>
                <a:lnTo>
                  <a:pt x="585" y="392"/>
                </a:lnTo>
                <a:lnTo>
                  <a:pt x="583" y="385"/>
                </a:lnTo>
                <a:lnTo>
                  <a:pt x="580" y="377"/>
                </a:lnTo>
                <a:lnTo>
                  <a:pt x="577" y="370"/>
                </a:lnTo>
                <a:lnTo>
                  <a:pt x="573" y="364"/>
                </a:lnTo>
                <a:lnTo>
                  <a:pt x="569" y="357"/>
                </a:lnTo>
                <a:lnTo>
                  <a:pt x="565" y="352"/>
                </a:lnTo>
                <a:lnTo>
                  <a:pt x="561" y="346"/>
                </a:lnTo>
                <a:lnTo>
                  <a:pt x="552" y="336"/>
                </a:lnTo>
                <a:lnTo>
                  <a:pt x="542" y="327"/>
                </a:lnTo>
                <a:lnTo>
                  <a:pt x="532" y="319"/>
                </a:lnTo>
                <a:lnTo>
                  <a:pt x="526" y="315"/>
                </a:lnTo>
                <a:lnTo>
                  <a:pt x="520" y="312"/>
                </a:lnTo>
                <a:lnTo>
                  <a:pt x="515" y="309"/>
                </a:lnTo>
                <a:lnTo>
                  <a:pt x="509" y="307"/>
                </a:lnTo>
                <a:lnTo>
                  <a:pt x="503" y="305"/>
                </a:lnTo>
                <a:lnTo>
                  <a:pt x="497" y="303"/>
                </a:lnTo>
                <a:lnTo>
                  <a:pt x="490" y="301"/>
                </a:lnTo>
                <a:lnTo>
                  <a:pt x="484" y="300"/>
                </a:lnTo>
                <a:lnTo>
                  <a:pt x="471" y="298"/>
                </a:lnTo>
                <a:lnTo>
                  <a:pt x="465" y="298"/>
                </a:lnTo>
                <a:lnTo>
                  <a:pt x="459" y="298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4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4"/>
                </a:lnTo>
                <a:lnTo>
                  <a:pt x="0" y="908"/>
                </a:lnTo>
                <a:close/>
                <a:moveTo>
                  <a:pt x="681" y="676"/>
                </a:moveTo>
                <a:lnTo>
                  <a:pt x="591" y="676"/>
                </a:lnTo>
                <a:lnTo>
                  <a:pt x="591" y="624"/>
                </a:lnTo>
                <a:lnTo>
                  <a:pt x="588" y="627"/>
                </a:lnTo>
                <a:lnTo>
                  <a:pt x="585" y="631"/>
                </a:lnTo>
                <a:lnTo>
                  <a:pt x="579" y="637"/>
                </a:lnTo>
                <a:lnTo>
                  <a:pt x="572" y="644"/>
                </a:lnTo>
                <a:lnTo>
                  <a:pt x="565" y="649"/>
                </a:lnTo>
                <a:lnTo>
                  <a:pt x="549" y="660"/>
                </a:lnTo>
                <a:lnTo>
                  <a:pt x="541" y="665"/>
                </a:lnTo>
                <a:lnTo>
                  <a:pt x="532" y="669"/>
                </a:lnTo>
                <a:lnTo>
                  <a:pt x="523" y="673"/>
                </a:lnTo>
                <a:lnTo>
                  <a:pt x="514" y="676"/>
                </a:lnTo>
                <a:lnTo>
                  <a:pt x="504" y="679"/>
                </a:lnTo>
                <a:lnTo>
                  <a:pt x="494" y="682"/>
                </a:lnTo>
                <a:lnTo>
                  <a:pt x="484" y="684"/>
                </a:lnTo>
                <a:lnTo>
                  <a:pt x="473" y="685"/>
                </a:lnTo>
                <a:lnTo>
                  <a:pt x="462" y="686"/>
                </a:lnTo>
                <a:lnTo>
                  <a:pt x="451" y="686"/>
                </a:lnTo>
                <a:lnTo>
                  <a:pt x="439" y="686"/>
                </a:lnTo>
                <a:lnTo>
                  <a:pt x="427" y="685"/>
                </a:lnTo>
                <a:lnTo>
                  <a:pt x="415" y="684"/>
                </a:lnTo>
                <a:lnTo>
                  <a:pt x="404" y="682"/>
                </a:lnTo>
                <a:lnTo>
                  <a:pt x="393" y="679"/>
                </a:lnTo>
                <a:lnTo>
                  <a:pt x="382" y="676"/>
                </a:lnTo>
                <a:lnTo>
                  <a:pt x="372" y="672"/>
                </a:lnTo>
                <a:lnTo>
                  <a:pt x="361" y="668"/>
                </a:lnTo>
                <a:lnTo>
                  <a:pt x="351" y="663"/>
                </a:lnTo>
                <a:lnTo>
                  <a:pt x="342" y="658"/>
                </a:lnTo>
                <a:lnTo>
                  <a:pt x="332" y="653"/>
                </a:lnTo>
                <a:lnTo>
                  <a:pt x="323" y="647"/>
                </a:lnTo>
                <a:lnTo>
                  <a:pt x="315" y="640"/>
                </a:lnTo>
                <a:lnTo>
                  <a:pt x="306" y="633"/>
                </a:lnTo>
                <a:lnTo>
                  <a:pt x="298" y="626"/>
                </a:lnTo>
                <a:lnTo>
                  <a:pt x="291" y="618"/>
                </a:lnTo>
                <a:lnTo>
                  <a:pt x="283" y="610"/>
                </a:lnTo>
                <a:lnTo>
                  <a:pt x="276" y="602"/>
                </a:lnTo>
                <a:lnTo>
                  <a:pt x="270" y="593"/>
                </a:lnTo>
                <a:lnTo>
                  <a:pt x="264" y="584"/>
                </a:lnTo>
                <a:lnTo>
                  <a:pt x="258" y="575"/>
                </a:lnTo>
                <a:lnTo>
                  <a:pt x="253" y="565"/>
                </a:lnTo>
                <a:lnTo>
                  <a:pt x="248" y="555"/>
                </a:lnTo>
                <a:lnTo>
                  <a:pt x="244" y="545"/>
                </a:lnTo>
                <a:lnTo>
                  <a:pt x="240" y="534"/>
                </a:lnTo>
                <a:lnTo>
                  <a:pt x="236" y="523"/>
                </a:lnTo>
                <a:lnTo>
                  <a:pt x="234" y="512"/>
                </a:lnTo>
                <a:lnTo>
                  <a:pt x="231" y="501"/>
                </a:lnTo>
                <a:lnTo>
                  <a:pt x="229" y="489"/>
                </a:lnTo>
                <a:lnTo>
                  <a:pt x="228" y="478"/>
                </a:lnTo>
                <a:lnTo>
                  <a:pt x="227" y="466"/>
                </a:lnTo>
                <a:lnTo>
                  <a:pt x="227" y="454"/>
                </a:lnTo>
                <a:lnTo>
                  <a:pt x="227" y="442"/>
                </a:lnTo>
                <a:lnTo>
                  <a:pt x="228" y="430"/>
                </a:lnTo>
                <a:lnTo>
                  <a:pt x="229" y="418"/>
                </a:lnTo>
                <a:lnTo>
                  <a:pt x="231" y="407"/>
                </a:lnTo>
                <a:lnTo>
                  <a:pt x="234" y="396"/>
                </a:lnTo>
                <a:lnTo>
                  <a:pt x="235" y="390"/>
                </a:lnTo>
                <a:lnTo>
                  <a:pt x="236" y="385"/>
                </a:lnTo>
                <a:lnTo>
                  <a:pt x="240" y="374"/>
                </a:lnTo>
                <a:lnTo>
                  <a:pt x="244" y="363"/>
                </a:lnTo>
                <a:lnTo>
                  <a:pt x="248" y="353"/>
                </a:lnTo>
                <a:lnTo>
                  <a:pt x="253" y="343"/>
                </a:lnTo>
                <a:lnTo>
                  <a:pt x="258" y="333"/>
                </a:lnTo>
                <a:lnTo>
                  <a:pt x="264" y="324"/>
                </a:lnTo>
                <a:lnTo>
                  <a:pt x="270" y="315"/>
                </a:lnTo>
                <a:lnTo>
                  <a:pt x="276" y="306"/>
                </a:lnTo>
                <a:lnTo>
                  <a:pt x="283" y="298"/>
                </a:lnTo>
                <a:lnTo>
                  <a:pt x="291" y="290"/>
                </a:lnTo>
                <a:lnTo>
                  <a:pt x="298" y="282"/>
                </a:lnTo>
                <a:lnTo>
                  <a:pt x="306" y="275"/>
                </a:lnTo>
                <a:lnTo>
                  <a:pt x="310" y="271"/>
                </a:lnTo>
                <a:lnTo>
                  <a:pt x="315" y="268"/>
                </a:lnTo>
                <a:lnTo>
                  <a:pt x="323" y="261"/>
                </a:lnTo>
                <a:lnTo>
                  <a:pt x="332" y="255"/>
                </a:lnTo>
                <a:lnTo>
                  <a:pt x="342" y="250"/>
                </a:lnTo>
                <a:lnTo>
                  <a:pt x="351" y="245"/>
                </a:lnTo>
                <a:lnTo>
                  <a:pt x="361" y="240"/>
                </a:lnTo>
                <a:lnTo>
                  <a:pt x="372" y="236"/>
                </a:lnTo>
                <a:lnTo>
                  <a:pt x="382" y="232"/>
                </a:lnTo>
                <a:lnTo>
                  <a:pt x="393" y="229"/>
                </a:lnTo>
                <a:lnTo>
                  <a:pt x="404" y="227"/>
                </a:lnTo>
                <a:lnTo>
                  <a:pt x="415" y="225"/>
                </a:lnTo>
                <a:lnTo>
                  <a:pt x="427" y="223"/>
                </a:lnTo>
                <a:lnTo>
                  <a:pt x="439" y="222"/>
                </a:lnTo>
                <a:lnTo>
                  <a:pt x="451" y="222"/>
                </a:lnTo>
                <a:lnTo>
                  <a:pt x="462" y="222"/>
                </a:lnTo>
                <a:lnTo>
                  <a:pt x="473" y="223"/>
                </a:lnTo>
                <a:lnTo>
                  <a:pt x="484" y="224"/>
                </a:lnTo>
                <a:lnTo>
                  <a:pt x="494" y="226"/>
                </a:lnTo>
                <a:lnTo>
                  <a:pt x="504" y="229"/>
                </a:lnTo>
                <a:lnTo>
                  <a:pt x="513" y="231"/>
                </a:lnTo>
                <a:lnTo>
                  <a:pt x="523" y="235"/>
                </a:lnTo>
                <a:lnTo>
                  <a:pt x="532" y="239"/>
                </a:lnTo>
                <a:lnTo>
                  <a:pt x="540" y="243"/>
                </a:lnTo>
                <a:lnTo>
                  <a:pt x="549" y="247"/>
                </a:lnTo>
                <a:lnTo>
                  <a:pt x="557" y="253"/>
                </a:lnTo>
                <a:lnTo>
                  <a:pt x="560" y="255"/>
                </a:lnTo>
                <a:lnTo>
                  <a:pt x="564" y="258"/>
                </a:lnTo>
                <a:lnTo>
                  <a:pt x="571" y="264"/>
                </a:lnTo>
                <a:lnTo>
                  <a:pt x="578" y="270"/>
                </a:lnTo>
                <a:lnTo>
                  <a:pt x="585" y="277"/>
                </a:lnTo>
                <a:lnTo>
                  <a:pt x="591" y="283"/>
                </a:lnTo>
                <a:lnTo>
                  <a:pt x="591" y="231"/>
                </a:lnTo>
                <a:lnTo>
                  <a:pt x="681" y="231"/>
                </a:lnTo>
                <a:lnTo>
                  <a:pt x="681" y="67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7" name="Freeform 19"/>
          <p:cNvSpPr>
            <a:spLocks noChangeAspect="1" noEditPoints="1"/>
          </p:cNvSpPr>
          <p:nvPr userDrawn="1"/>
        </p:nvSpPr>
        <p:spPr bwMode="auto">
          <a:xfrm>
            <a:off x="-1237" y="-7404"/>
            <a:ext cx="1306667" cy="1286466"/>
          </a:xfrm>
          <a:custGeom>
            <a:avLst/>
            <a:gdLst>
              <a:gd name="T0" fmla="*/ 424 w 908"/>
              <a:gd name="T1" fmla="*/ 683 h 908"/>
              <a:gd name="T2" fmla="*/ 365 w 908"/>
              <a:gd name="T3" fmla="*/ 671 h 908"/>
              <a:gd name="T4" fmla="*/ 304 w 908"/>
              <a:gd name="T5" fmla="*/ 647 h 908"/>
              <a:gd name="T6" fmla="*/ 247 w 908"/>
              <a:gd name="T7" fmla="*/ 610 h 908"/>
              <a:gd name="T8" fmla="*/ 286 w 908"/>
              <a:gd name="T9" fmla="*/ 536 h 908"/>
              <a:gd name="T10" fmla="*/ 321 w 908"/>
              <a:gd name="T11" fmla="*/ 562 h 908"/>
              <a:gd name="T12" fmla="*/ 365 w 908"/>
              <a:gd name="T13" fmla="*/ 585 h 908"/>
              <a:gd name="T14" fmla="*/ 405 w 908"/>
              <a:gd name="T15" fmla="*/ 598 h 908"/>
              <a:gd name="T16" fmla="*/ 441 w 908"/>
              <a:gd name="T17" fmla="*/ 604 h 908"/>
              <a:gd name="T18" fmla="*/ 508 w 908"/>
              <a:gd name="T19" fmla="*/ 602 h 908"/>
              <a:gd name="T20" fmla="*/ 551 w 908"/>
              <a:gd name="T21" fmla="*/ 589 h 908"/>
              <a:gd name="T22" fmla="*/ 571 w 908"/>
              <a:gd name="T23" fmla="*/ 575 h 908"/>
              <a:gd name="T24" fmla="*/ 582 w 908"/>
              <a:gd name="T25" fmla="*/ 556 h 908"/>
              <a:gd name="T26" fmla="*/ 583 w 908"/>
              <a:gd name="T27" fmla="*/ 539 h 908"/>
              <a:gd name="T28" fmla="*/ 575 w 908"/>
              <a:gd name="T29" fmla="*/ 524 h 908"/>
              <a:gd name="T30" fmla="*/ 559 w 908"/>
              <a:gd name="T31" fmla="*/ 512 h 908"/>
              <a:gd name="T32" fmla="*/ 521 w 908"/>
              <a:gd name="T33" fmla="*/ 501 h 908"/>
              <a:gd name="T34" fmla="*/ 394 w 908"/>
              <a:gd name="T35" fmla="*/ 483 h 908"/>
              <a:gd name="T36" fmla="*/ 324 w 908"/>
              <a:gd name="T37" fmla="*/ 465 h 908"/>
              <a:gd name="T38" fmla="*/ 280 w 908"/>
              <a:gd name="T39" fmla="*/ 442 h 908"/>
              <a:gd name="T40" fmla="*/ 257 w 908"/>
              <a:gd name="T41" fmla="*/ 420 h 908"/>
              <a:gd name="T42" fmla="*/ 243 w 908"/>
              <a:gd name="T43" fmla="*/ 392 h 908"/>
              <a:gd name="T44" fmla="*/ 237 w 908"/>
              <a:gd name="T45" fmla="*/ 356 h 908"/>
              <a:gd name="T46" fmla="*/ 242 w 908"/>
              <a:gd name="T47" fmla="*/ 328 h 908"/>
              <a:gd name="T48" fmla="*/ 254 w 908"/>
              <a:gd name="T49" fmla="*/ 302 h 908"/>
              <a:gd name="T50" fmla="*/ 274 w 908"/>
              <a:gd name="T51" fmla="*/ 279 h 908"/>
              <a:gd name="T52" fmla="*/ 299 w 908"/>
              <a:gd name="T53" fmla="*/ 260 h 908"/>
              <a:gd name="T54" fmla="*/ 347 w 908"/>
              <a:gd name="T55" fmla="*/ 237 h 908"/>
              <a:gd name="T56" fmla="*/ 422 w 908"/>
              <a:gd name="T57" fmla="*/ 222 h 908"/>
              <a:gd name="T58" fmla="*/ 489 w 908"/>
              <a:gd name="T59" fmla="*/ 224 h 908"/>
              <a:gd name="T60" fmla="*/ 545 w 908"/>
              <a:gd name="T61" fmla="*/ 235 h 908"/>
              <a:gd name="T62" fmla="*/ 596 w 908"/>
              <a:gd name="T63" fmla="*/ 255 h 908"/>
              <a:gd name="T64" fmla="*/ 641 w 908"/>
              <a:gd name="T65" fmla="*/ 283 h 908"/>
              <a:gd name="T66" fmla="*/ 591 w 908"/>
              <a:gd name="T67" fmla="*/ 351 h 908"/>
              <a:gd name="T68" fmla="*/ 550 w 908"/>
              <a:gd name="T69" fmla="*/ 325 h 908"/>
              <a:gd name="T70" fmla="*/ 503 w 908"/>
              <a:gd name="T71" fmla="*/ 308 h 908"/>
              <a:gd name="T72" fmla="*/ 462 w 908"/>
              <a:gd name="T73" fmla="*/ 302 h 908"/>
              <a:gd name="T74" fmla="*/ 416 w 908"/>
              <a:gd name="T75" fmla="*/ 303 h 908"/>
              <a:gd name="T76" fmla="*/ 372 w 908"/>
              <a:gd name="T77" fmla="*/ 313 h 908"/>
              <a:gd name="T78" fmla="*/ 343 w 908"/>
              <a:gd name="T79" fmla="*/ 329 h 908"/>
              <a:gd name="T80" fmla="*/ 328 w 908"/>
              <a:gd name="T81" fmla="*/ 347 h 908"/>
              <a:gd name="T82" fmla="*/ 328 w 908"/>
              <a:gd name="T83" fmla="*/ 366 h 908"/>
              <a:gd name="T84" fmla="*/ 338 w 908"/>
              <a:gd name="T85" fmla="*/ 380 h 908"/>
              <a:gd name="T86" fmla="*/ 369 w 908"/>
              <a:gd name="T87" fmla="*/ 395 h 908"/>
              <a:gd name="T88" fmla="*/ 443 w 908"/>
              <a:gd name="T89" fmla="*/ 407 h 908"/>
              <a:gd name="T90" fmla="*/ 550 w 908"/>
              <a:gd name="T91" fmla="*/ 424 h 908"/>
              <a:gd name="T92" fmla="*/ 607 w 908"/>
              <a:gd name="T93" fmla="*/ 442 h 908"/>
              <a:gd name="T94" fmla="*/ 639 w 908"/>
              <a:gd name="T95" fmla="*/ 462 h 908"/>
              <a:gd name="T96" fmla="*/ 658 w 908"/>
              <a:gd name="T97" fmla="*/ 483 h 908"/>
              <a:gd name="T98" fmla="*/ 670 w 908"/>
              <a:gd name="T99" fmla="*/ 511 h 908"/>
              <a:gd name="T100" fmla="*/ 674 w 908"/>
              <a:gd name="T101" fmla="*/ 545 h 908"/>
              <a:gd name="T102" fmla="*/ 670 w 908"/>
              <a:gd name="T103" fmla="*/ 573 h 908"/>
              <a:gd name="T104" fmla="*/ 659 w 908"/>
              <a:gd name="T105" fmla="*/ 600 h 908"/>
              <a:gd name="T106" fmla="*/ 641 w 908"/>
              <a:gd name="T107" fmla="*/ 624 h 908"/>
              <a:gd name="T108" fmla="*/ 616 w 908"/>
              <a:gd name="T109" fmla="*/ 644 h 908"/>
              <a:gd name="T110" fmla="*/ 569 w 908"/>
              <a:gd name="T111" fmla="*/ 668 h 908"/>
              <a:gd name="T112" fmla="*/ 510 w 908"/>
              <a:gd name="T113" fmla="*/ 683 h 908"/>
              <a:gd name="T114" fmla="*/ 0 w 908"/>
              <a:gd name="T115" fmla="*/ 908 h 908"/>
              <a:gd name="T116" fmla="*/ 908 w 908"/>
              <a:gd name="T117" fmla="*/ 0 h 908"/>
              <a:gd name="T118" fmla="*/ 0 w 908"/>
              <a:gd name="T119" fmla="*/ 908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466" y="685"/>
                </a:moveTo>
                <a:lnTo>
                  <a:pt x="452" y="685"/>
                </a:lnTo>
                <a:lnTo>
                  <a:pt x="438" y="684"/>
                </a:lnTo>
                <a:lnTo>
                  <a:pt x="424" y="683"/>
                </a:lnTo>
                <a:lnTo>
                  <a:pt x="410" y="681"/>
                </a:lnTo>
                <a:lnTo>
                  <a:pt x="395" y="678"/>
                </a:lnTo>
                <a:lnTo>
                  <a:pt x="380" y="675"/>
                </a:lnTo>
                <a:lnTo>
                  <a:pt x="365" y="671"/>
                </a:lnTo>
                <a:lnTo>
                  <a:pt x="350" y="666"/>
                </a:lnTo>
                <a:lnTo>
                  <a:pt x="335" y="661"/>
                </a:lnTo>
                <a:lnTo>
                  <a:pt x="319" y="654"/>
                </a:lnTo>
                <a:lnTo>
                  <a:pt x="304" y="647"/>
                </a:lnTo>
                <a:lnTo>
                  <a:pt x="290" y="639"/>
                </a:lnTo>
                <a:lnTo>
                  <a:pt x="275" y="631"/>
                </a:lnTo>
                <a:lnTo>
                  <a:pt x="261" y="621"/>
                </a:lnTo>
                <a:lnTo>
                  <a:pt x="247" y="610"/>
                </a:lnTo>
                <a:lnTo>
                  <a:pt x="240" y="605"/>
                </a:lnTo>
                <a:lnTo>
                  <a:pt x="233" y="599"/>
                </a:lnTo>
                <a:lnTo>
                  <a:pt x="283" y="533"/>
                </a:lnTo>
                <a:lnTo>
                  <a:pt x="286" y="536"/>
                </a:lnTo>
                <a:lnTo>
                  <a:pt x="296" y="544"/>
                </a:lnTo>
                <a:lnTo>
                  <a:pt x="303" y="550"/>
                </a:lnTo>
                <a:lnTo>
                  <a:pt x="311" y="556"/>
                </a:lnTo>
                <a:lnTo>
                  <a:pt x="321" y="562"/>
                </a:lnTo>
                <a:lnTo>
                  <a:pt x="332" y="569"/>
                </a:lnTo>
                <a:lnTo>
                  <a:pt x="345" y="576"/>
                </a:lnTo>
                <a:lnTo>
                  <a:pt x="358" y="582"/>
                </a:lnTo>
                <a:lnTo>
                  <a:pt x="365" y="585"/>
                </a:lnTo>
                <a:lnTo>
                  <a:pt x="373" y="588"/>
                </a:lnTo>
                <a:lnTo>
                  <a:pt x="388" y="594"/>
                </a:lnTo>
                <a:lnTo>
                  <a:pt x="396" y="596"/>
                </a:lnTo>
                <a:lnTo>
                  <a:pt x="405" y="598"/>
                </a:lnTo>
                <a:lnTo>
                  <a:pt x="414" y="600"/>
                </a:lnTo>
                <a:lnTo>
                  <a:pt x="423" y="602"/>
                </a:lnTo>
                <a:lnTo>
                  <a:pt x="432" y="603"/>
                </a:lnTo>
                <a:lnTo>
                  <a:pt x="441" y="604"/>
                </a:lnTo>
                <a:lnTo>
                  <a:pt x="460" y="605"/>
                </a:lnTo>
                <a:lnTo>
                  <a:pt x="478" y="605"/>
                </a:lnTo>
                <a:lnTo>
                  <a:pt x="494" y="604"/>
                </a:lnTo>
                <a:lnTo>
                  <a:pt x="508" y="602"/>
                </a:lnTo>
                <a:lnTo>
                  <a:pt x="521" y="599"/>
                </a:lnTo>
                <a:lnTo>
                  <a:pt x="533" y="596"/>
                </a:lnTo>
                <a:lnTo>
                  <a:pt x="543" y="593"/>
                </a:lnTo>
                <a:lnTo>
                  <a:pt x="551" y="589"/>
                </a:lnTo>
                <a:lnTo>
                  <a:pt x="559" y="585"/>
                </a:lnTo>
                <a:lnTo>
                  <a:pt x="565" y="580"/>
                </a:lnTo>
                <a:lnTo>
                  <a:pt x="568" y="578"/>
                </a:lnTo>
                <a:lnTo>
                  <a:pt x="571" y="575"/>
                </a:lnTo>
                <a:lnTo>
                  <a:pt x="575" y="571"/>
                </a:lnTo>
                <a:lnTo>
                  <a:pt x="578" y="566"/>
                </a:lnTo>
                <a:lnTo>
                  <a:pt x="580" y="561"/>
                </a:lnTo>
                <a:lnTo>
                  <a:pt x="582" y="556"/>
                </a:lnTo>
                <a:lnTo>
                  <a:pt x="583" y="552"/>
                </a:lnTo>
                <a:lnTo>
                  <a:pt x="583" y="547"/>
                </a:lnTo>
                <a:lnTo>
                  <a:pt x="583" y="543"/>
                </a:lnTo>
                <a:lnTo>
                  <a:pt x="583" y="539"/>
                </a:lnTo>
                <a:lnTo>
                  <a:pt x="582" y="536"/>
                </a:lnTo>
                <a:lnTo>
                  <a:pt x="580" y="533"/>
                </a:lnTo>
                <a:lnTo>
                  <a:pt x="577" y="526"/>
                </a:lnTo>
                <a:lnTo>
                  <a:pt x="575" y="524"/>
                </a:lnTo>
                <a:lnTo>
                  <a:pt x="572" y="521"/>
                </a:lnTo>
                <a:lnTo>
                  <a:pt x="569" y="519"/>
                </a:lnTo>
                <a:lnTo>
                  <a:pt x="566" y="516"/>
                </a:lnTo>
                <a:lnTo>
                  <a:pt x="559" y="512"/>
                </a:lnTo>
                <a:lnTo>
                  <a:pt x="551" y="509"/>
                </a:lnTo>
                <a:lnTo>
                  <a:pt x="542" y="506"/>
                </a:lnTo>
                <a:lnTo>
                  <a:pt x="532" y="503"/>
                </a:lnTo>
                <a:lnTo>
                  <a:pt x="521" y="501"/>
                </a:lnTo>
                <a:lnTo>
                  <a:pt x="498" y="497"/>
                </a:lnTo>
                <a:lnTo>
                  <a:pt x="447" y="490"/>
                </a:lnTo>
                <a:lnTo>
                  <a:pt x="412" y="485"/>
                </a:lnTo>
                <a:lnTo>
                  <a:pt x="394" y="483"/>
                </a:lnTo>
                <a:lnTo>
                  <a:pt x="376" y="479"/>
                </a:lnTo>
                <a:lnTo>
                  <a:pt x="358" y="475"/>
                </a:lnTo>
                <a:lnTo>
                  <a:pt x="341" y="471"/>
                </a:lnTo>
                <a:lnTo>
                  <a:pt x="324" y="465"/>
                </a:lnTo>
                <a:lnTo>
                  <a:pt x="308" y="459"/>
                </a:lnTo>
                <a:lnTo>
                  <a:pt x="301" y="455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8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1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2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2"/>
                </a:lnTo>
                <a:lnTo>
                  <a:pt x="327" y="356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4"/>
                </a:lnTo>
                <a:lnTo>
                  <a:pt x="443" y="407"/>
                </a:lnTo>
                <a:lnTo>
                  <a:pt x="473" y="411"/>
                </a:lnTo>
                <a:lnTo>
                  <a:pt x="513" y="417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2"/>
                </a:lnTo>
                <a:lnTo>
                  <a:pt x="645" y="467"/>
                </a:lnTo>
                <a:lnTo>
                  <a:pt x="649" y="472"/>
                </a:lnTo>
                <a:lnTo>
                  <a:pt x="654" y="478"/>
                </a:lnTo>
                <a:lnTo>
                  <a:pt x="658" y="483"/>
                </a:lnTo>
                <a:lnTo>
                  <a:pt x="662" y="490"/>
                </a:lnTo>
                <a:lnTo>
                  <a:pt x="665" y="496"/>
                </a:lnTo>
                <a:lnTo>
                  <a:pt x="668" y="503"/>
                </a:lnTo>
                <a:lnTo>
                  <a:pt x="670" y="511"/>
                </a:lnTo>
                <a:lnTo>
                  <a:pt x="672" y="518"/>
                </a:lnTo>
                <a:lnTo>
                  <a:pt x="673" y="527"/>
                </a:lnTo>
                <a:lnTo>
                  <a:pt x="674" y="535"/>
                </a:lnTo>
                <a:lnTo>
                  <a:pt x="674" y="545"/>
                </a:lnTo>
                <a:lnTo>
                  <a:pt x="674" y="552"/>
                </a:lnTo>
                <a:lnTo>
                  <a:pt x="673" y="559"/>
                </a:lnTo>
                <a:lnTo>
                  <a:pt x="672" y="566"/>
                </a:lnTo>
                <a:lnTo>
                  <a:pt x="670" y="573"/>
                </a:lnTo>
                <a:lnTo>
                  <a:pt x="668" y="580"/>
                </a:lnTo>
                <a:lnTo>
                  <a:pt x="666" y="587"/>
                </a:lnTo>
                <a:lnTo>
                  <a:pt x="663" y="593"/>
                </a:lnTo>
                <a:lnTo>
                  <a:pt x="659" y="600"/>
                </a:lnTo>
                <a:lnTo>
                  <a:pt x="655" y="606"/>
                </a:lnTo>
                <a:lnTo>
                  <a:pt x="651" y="612"/>
                </a:lnTo>
                <a:lnTo>
                  <a:pt x="646" y="618"/>
                </a:lnTo>
                <a:lnTo>
                  <a:pt x="641" y="624"/>
                </a:lnTo>
                <a:lnTo>
                  <a:pt x="635" y="629"/>
                </a:lnTo>
                <a:lnTo>
                  <a:pt x="629" y="634"/>
                </a:lnTo>
                <a:lnTo>
                  <a:pt x="623" y="639"/>
                </a:lnTo>
                <a:lnTo>
                  <a:pt x="616" y="644"/>
                </a:lnTo>
                <a:lnTo>
                  <a:pt x="609" y="649"/>
                </a:lnTo>
                <a:lnTo>
                  <a:pt x="602" y="653"/>
                </a:lnTo>
                <a:lnTo>
                  <a:pt x="586" y="661"/>
                </a:lnTo>
                <a:lnTo>
                  <a:pt x="569" y="668"/>
                </a:lnTo>
                <a:lnTo>
                  <a:pt x="560" y="672"/>
                </a:lnTo>
                <a:lnTo>
                  <a:pt x="550" y="674"/>
                </a:lnTo>
                <a:lnTo>
                  <a:pt x="531" y="679"/>
                </a:lnTo>
                <a:lnTo>
                  <a:pt x="510" y="683"/>
                </a:lnTo>
                <a:lnTo>
                  <a:pt x="499" y="684"/>
                </a:lnTo>
                <a:lnTo>
                  <a:pt x="488" y="685"/>
                </a:lnTo>
                <a:lnTo>
                  <a:pt x="466" y="685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8" name="Freeform 20"/>
          <p:cNvSpPr>
            <a:spLocks noChangeAspect="1" noEditPoints="1"/>
          </p:cNvSpPr>
          <p:nvPr userDrawn="1"/>
        </p:nvSpPr>
        <p:spPr bwMode="auto">
          <a:xfrm>
            <a:off x="5224114" y="0"/>
            <a:ext cx="1306382" cy="1285880"/>
          </a:xfrm>
          <a:custGeom>
            <a:avLst/>
            <a:gdLst>
              <a:gd name="T0" fmla="*/ 908 w 908"/>
              <a:gd name="T1" fmla="*/ 453 h 908"/>
              <a:gd name="T2" fmla="*/ 0 w 908"/>
              <a:gd name="T3" fmla="*/ 453 h 908"/>
              <a:gd name="T4" fmla="*/ 431 w 908"/>
              <a:gd name="T5" fmla="*/ 684 h 908"/>
              <a:gd name="T6" fmla="*/ 386 w 908"/>
              <a:gd name="T7" fmla="*/ 675 h 908"/>
              <a:gd name="T8" fmla="*/ 344 w 908"/>
              <a:gd name="T9" fmla="*/ 657 h 908"/>
              <a:gd name="T10" fmla="*/ 307 w 908"/>
              <a:gd name="T11" fmla="*/ 632 h 908"/>
              <a:gd name="T12" fmla="*/ 276 w 908"/>
              <a:gd name="T13" fmla="*/ 601 h 908"/>
              <a:gd name="T14" fmla="*/ 251 w 908"/>
              <a:gd name="T15" fmla="*/ 564 h 908"/>
              <a:gd name="T16" fmla="*/ 233 w 908"/>
              <a:gd name="T17" fmla="*/ 523 h 908"/>
              <a:gd name="T18" fmla="*/ 223 w 908"/>
              <a:gd name="T19" fmla="*/ 477 h 908"/>
              <a:gd name="T20" fmla="*/ 223 w 908"/>
              <a:gd name="T21" fmla="*/ 429 h 908"/>
              <a:gd name="T22" fmla="*/ 233 w 908"/>
              <a:gd name="T23" fmla="*/ 383 h 908"/>
              <a:gd name="T24" fmla="*/ 251 w 908"/>
              <a:gd name="T25" fmla="*/ 342 h 908"/>
              <a:gd name="T26" fmla="*/ 276 w 908"/>
              <a:gd name="T27" fmla="*/ 305 h 908"/>
              <a:gd name="T28" fmla="*/ 307 w 908"/>
              <a:gd name="T29" fmla="*/ 274 h 908"/>
              <a:gd name="T30" fmla="*/ 344 w 908"/>
              <a:gd name="T31" fmla="*/ 249 h 908"/>
              <a:gd name="T32" fmla="*/ 386 w 908"/>
              <a:gd name="T33" fmla="*/ 231 h 908"/>
              <a:gd name="T34" fmla="*/ 431 w 908"/>
              <a:gd name="T35" fmla="*/ 222 h 908"/>
              <a:gd name="T36" fmla="*/ 479 w 908"/>
              <a:gd name="T37" fmla="*/ 222 h 908"/>
              <a:gd name="T38" fmla="*/ 524 w 908"/>
              <a:gd name="T39" fmla="*/ 231 h 908"/>
              <a:gd name="T40" fmla="*/ 565 w 908"/>
              <a:gd name="T41" fmla="*/ 249 h 908"/>
              <a:gd name="T42" fmla="*/ 602 w 908"/>
              <a:gd name="T43" fmla="*/ 274 h 908"/>
              <a:gd name="T44" fmla="*/ 634 w 908"/>
              <a:gd name="T45" fmla="*/ 305 h 908"/>
              <a:gd name="T46" fmla="*/ 659 w 908"/>
              <a:gd name="T47" fmla="*/ 342 h 908"/>
              <a:gd name="T48" fmla="*/ 676 w 908"/>
              <a:gd name="T49" fmla="*/ 383 h 908"/>
              <a:gd name="T50" fmla="*/ 685 w 908"/>
              <a:gd name="T51" fmla="*/ 429 h 908"/>
              <a:gd name="T52" fmla="*/ 685 w 908"/>
              <a:gd name="T53" fmla="*/ 477 h 908"/>
              <a:gd name="T54" fmla="*/ 676 w 908"/>
              <a:gd name="T55" fmla="*/ 523 h 908"/>
              <a:gd name="T56" fmla="*/ 659 w 908"/>
              <a:gd name="T57" fmla="*/ 564 h 908"/>
              <a:gd name="T58" fmla="*/ 634 w 908"/>
              <a:gd name="T59" fmla="*/ 601 h 908"/>
              <a:gd name="T60" fmla="*/ 602 w 908"/>
              <a:gd name="T61" fmla="*/ 632 h 908"/>
              <a:gd name="T62" fmla="*/ 565 w 908"/>
              <a:gd name="T63" fmla="*/ 657 h 908"/>
              <a:gd name="T64" fmla="*/ 524 w 908"/>
              <a:gd name="T65" fmla="*/ 675 h 908"/>
              <a:gd name="T66" fmla="*/ 479 w 908"/>
              <a:gd name="T67" fmla="*/ 684 h 908"/>
              <a:gd name="T68" fmla="*/ 440 w 908"/>
              <a:gd name="T69" fmla="*/ 302 h 908"/>
              <a:gd name="T70" fmla="*/ 406 w 908"/>
              <a:gd name="T71" fmla="*/ 309 h 908"/>
              <a:gd name="T72" fmla="*/ 381 w 908"/>
              <a:gd name="T73" fmla="*/ 321 h 908"/>
              <a:gd name="T74" fmla="*/ 359 w 908"/>
              <a:gd name="T75" fmla="*/ 338 h 908"/>
              <a:gd name="T76" fmla="*/ 341 w 908"/>
              <a:gd name="T77" fmla="*/ 359 h 908"/>
              <a:gd name="T78" fmla="*/ 323 w 908"/>
              <a:gd name="T79" fmla="*/ 391 h 908"/>
              <a:gd name="T80" fmla="*/ 315 w 908"/>
              <a:gd name="T81" fmla="*/ 420 h 908"/>
              <a:gd name="T82" fmla="*/ 313 w 908"/>
              <a:gd name="T83" fmla="*/ 470 h 908"/>
              <a:gd name="T84" fmla="*/ 323 w 908"/>
              <a:gd name="T85" fmla="*/ 515 h 908"/>
              <a:gd name="T86" fmla="*/ 341 w 908"/>
              <a:gd name="T87" fmla="*/ 547 h 908"/>
              <a:gd name="T88" fmla="*/ 359 w 908"/>
              <a:gd name="T89" fmla="*/ 568 h 908"/>
              <a:gd name="T90" fmla="*/ 387 w 908"/>
              <a:gd name="T91" fmla="*/ 588 h 908"/>
              <a:gd name="T92" fmla="*/ 426 w 908"/>
              <a:gd name="T93" fmla="*/ 602 h 908"/>
              <a:gd name="T94" fmla="*/ 469 w 908"/>
              <a:gd name="T95" fmla="*/ 604 h 908"/>
              <a:gd name="T96" fmla="*/ 504 w 908"/>
              <a:gd name="T97" fmla="*/ 597 h 908"/>
              <a:gd name="T98" fmla="*/ 529 w 908"/>
              <a:gd name="T99" fmla="*/ 585 h 908"/>
              <a:gd name="T100" fmla="*/ 551 w 908"/>
              <a:gd name="T101" fmla="*/ 568 h 908"/>
              <a:gd name="T102" fmla="*/ 569 w 908"/>
              <a:gd name="T103" fmla="*/ 547 h 908"/>
              <a:gd name="T104" fmla="*/ 586 w 908"/>
              <a:gd name="T105" fmla="*/ 515 h 908"/>
              <a:gd name="T106" fmla="*/ 595 w 908"/>
              <a:gd name="T107" fmla="*/ 486 h 908"/>
              <a:gd name="T108" fmla="*/ 597 w 908"/>
              <a:gd name="T109" fmla="*/ 436 h 908"/>
              <a:gd name="T110" fmla="*/ 586 w 908"/>
              <a:gd name="T111" fmla="*/ 391 h 908"/>
              <a:gd name="T112" fmla="*/ 569 w 908"/>
              <a:gd name="T113" fmla="*/ 359 h 908"/>
              <a:gd name="T114" fmla="*/ 551 w 908"/>
              <a:gd name="T115" fmla="*/ 338 h 908"/>
              <a:gd name="T116" fmla="*/ 523 w 908"/>
              <a:gd name="T117" fmla="*/ 318 h 908"/>
              <a:gd name="T118" fmla="*/ 484 w 908"/>
              <a:gd name="T119" fmla="*/ 304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0" y="908"/>
                </a:moveTo>
                <a:lnTo>
                  <a:pt x="454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4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  <a:moveTo>
                  <a:pt x="455" y="685"/>
                </a:moveTo>
                <a:lnTo>
                  <a:pt x="443" y="685"/>
                </a:lnTo>
                <a:lnTo>
                  <a:pt x="431" y="684"/>
                </a:lnTo>
                <a:lnTo>
                  <a:pt x="419" y="683"/>
                </a:lnTo>
                <a:lnTo>
                  <a:pt x="408" y="681"/>
                </a:lnTo>
                <a:lnTo>
                  <a:pt x="397" y="678"/>
                </a:lnTo>
                <a:lnTo>
                  <a:pt x="386" y="675"/>
                </a:lnTo>
                <a:lnTo>
                  <a:pt x="375" y="671"/>
                </a:lnTo>
                <a:lnTo>
                  <a:pt x="364" y="667"/>
                </a:lnTo>
                <a:lnTo>
                  <a:pt x="354" y="663"/>
                </a:lnTo>
                <a:lnTo>
                  <a:pt x="344" y="657"/>
                </a:lnTo>
                <a:lnTo>
                  <a:pt x="334" y="652"/>
                </a:lnTo>
                <a:lnTo>
                  <a:pt x="325" y="646"/>
                </a:lnTo>
                <a:lnTo>
                  <a:pt x="316" y="639"/>
                </a:lnTo>
                <a:lnTo>
                  <a:pt x="307" y="632"/>
                </a:lnTo>
                <a:lnTo>
                  <a:pt x="299" y="625"/>
                </a:lnTo>
                <a:lnTo>
                  <a:pt x="291" y="618"/>
                </a:lnTo>
                <a:lnTo>
                  <a:pt x="283" y="610"/>
                </a:lnTo>
                <a:lnTo>
                  <a:pt x="276" y="601"/>
                </a:lnTo>
                <a:lnTo>
                  <a:pt x="269" y="592"/>
                </a:lnTo>
                <a:lnTo>
                  <a:pt x="263" y="583"/>
                </a:lnTo>
                <a:lnTo>
                  <a:pt x="257" y="574"/>
                </a:lnTo>
                <a:lnTo>
                  <a:pt x="251" y="564"/>
                </a:lnTo>
                <a:lnTo>
                  <a:pt x="246" y="554"/>
                </a:lnTo>
                <a:lnTo>
                  <a:pt x="241" y="544"/>
                </a:lnTo>
                <a:lnTo>
                  <a:pt x="237" y="533"/>
                </a:lnTo>
                <a:lnTo>
                  <a:pt x="233" y="523"/>
                </a:lnTo>
                <a:lnTo>
                  <a:pt x="229" y="512"/>
                </a:lnTo>
                <a:lnTo>
                  <a:pt x="227" y="500"/>
                </a:lnTo>
                <a:lnTo>
                  <a:pt x="225" y="489"/>
                </a:lnTo>
                <a:lnTo>
                  <a:pt x="223" y="477"/>
                </a:lnTo>
                <a:lnTo>
                  <a:pt x="222" y="465"/>
                </a:lnTo>
                <a:lnTo>
                  <a:pt x="222" y="453"/>
                </a:lnTo>
                <a:lnTo>
                  <a:pt x="222" y="441"/>
                </a:lnTo>
                <a:lnTo>
                  <a:pt x="223" y="429"/>
                </a:lnTo>
                <a:lnTo>
                  <a:pt x="225" y="417"/>
                </a:lnTo>
                <a:lnTo>
                  <a:pt x="227" y="406"/>
                </a:lnTo>
                <a:lnTo>
                  <a:pt x="229" y="394"/>
                </a:lnTo>
                <a:lnTo>
                  <a:pt x="233" y="383"/>
                </a:lnTo>
                <a:lnTo>
                  <a:pt x="237" y="373"/>
                </a:lnTo>
                <a:lnTo>
                  <a:pt x="241" y="362"/>
                </a:lnTo>
                <a:lnTo>
                  <a:pt x="246" y="352"/>
                </a:lnTo>
                <a:lnTo>
                  <a:pt x="251" y="342"/>
                </a:lnTo>
                <a:lnTo>
                  <a:pt x="257" y="332"/>
                </a:lnTo>
                <a:lnTo>
                  <a:pt x="263" y="323"/>
                </a:lnTo>
                <a:lnTo>
                  <a:pt x="269" y="314"/>
                </a:lnTo>
                <a:lnTo>
                  <a:pt x="276" y="305"/>
                </a:lnTo>
                <a:lnTo>
                  <a:pt x="283" y="297"/>
                </a:lnTo>
                <a:lnTo>
                  <a:pt x="291" y="288"/>
                </a:lnTo>
                <a:lnTo>
                  <a:pt x="299" y="281"/>
                </a:lnTo>
                <a:lnTo>
                  <a:pt x="307" y="274"/>
                </a:lnTo>
                <a:lnTo>
                  <a:pt x="316" y="267"/>
                </a:lnTo>
                <a:lnTo>
                  <a:pt x="325" y="260"/>
                </a:lnTo>
                <a:lnTo>
                  <a:pt x="334" y="254"/>
                </a:lnTo>
                <a:lnTo>
                  <a:pt x="344" y="249"/>
                </a:lnTo>
                <a:lnTo>
                  <a:pt x="354" y="244"/>
                </a:lnTo>
                <a:lnTo>
                  <a:pt x="364" y="239"/>
                </a:lnTo>
                <a:lnTo>
                  <a:pt x="375" y="235"/>
                </a:lnTo>
                <a:lnTo>
                  <a:pt x="386" y="231"/>
                </a:lnTo>
                <a:lnTo>
                  <a:pt x="397" y="228"/>
                </a:lnTo>
                <a:lnTo>
                  <a:pt x="408" y="225"/>
                </a:lnTo>
                <a:lnTo>
                  <a:pt x="419" y="223"/>
                </a:lnTo>
                <a:lnTo>
                  <a:pt x="431" y="222"/>
                </a:lnTo>
                <a:lnTo>
                  <a:pt x="443" y="221"/>
                </a:lnTo>
                <a:lnTo>
                  <a:pt x="455" y="221"/>
                </a:lnTo>
                <a:lnTo>
                  <a:pt x="467" y="221"/>
                </a:lnTo>
                <a:lnTo>
                  <a:pt x="479" y="222"/>
                </a:lnTo>
                <a:lnTo>
                  <a:pt x="490" y="223"/>
                </a:lnTo>
                <a:lnTo>
                  <a:pt x="502" y="225"/>
                </a:lnTo>
                <a:lnTo>
                  <a:pt x="513" y="228"/>
                </a:lnTo>
                <a:lnTo>
                  <a:pt x="524" y="231"/>
                </a:lnTo>
                <a:lnTo>
                  <a:pt x="535" y="235"/>
                </a:lnTo>
                <a:lnTo>
                  <a:pt x="545" y="239"/>
                </a:lnTo>
                <a:lnTo>
                  <a:pt x="555" y="244"/>
                </a:lnTo>
                <a:lnTo>
                  <a:pt x="565" y="249"/>
                </a:lnTo>
                <a:lnTo>
                  <a:pt x="575" y="254"/>
                </a:lnTo>
                <a:lnTo>
                  <a:pt x="585" y="260"/>
                </a:lnTo>
                <a:lnTo>
                  <a:pt x="594" y="267"/>
                </a:lnTo>
                <a:lnTo>
                  <a:pt x="602" y="274"/>
                </a:lnTo>
                <a:lnTo>
                  <a:pt x="611" y="281"/>
                </a:lnTo>
                <a:lnTo>
                  <a:pt x="619" y="288"/>
                </a:lnTo>
                <a:lnTo>
                  <a:pt x="627" y="297"/>
                </a:lnTo>
                <a:lnTo>
                  <a:pt x="634" y="305"/>
                </a:lnTo>
                <a:lnTo>
                  <a:pt x="641" y="314"/>
                </a:lnTo>
                <a:lnTo>
                  <a:pt x="647" y="323"/>
                </a:lnTo>
                <a:lnTo>
                  <a:pt x="653" y="332"/>
                </a:lnTo>
                <a:lnTo>
                  <a:pt x="659" y="342"/>
                </a:lnTo>
                <a:lnTo>
                  <a:pt x="664" y="352"/>
                </a:lnTo>
                <a:lnTo>
                  <a:pt x="668" y="362"/>
                </a:lnTo>
                <a:lnTo>
                  <a:pt x="673" y="373"/>
                </a:lnTo>
                <a:lnTo>
                  <a:pt x="676" y="383"/>
                </a:lnTo>
                <a:lnTo>
                  <a:pt x="679" y="394"/>
                </a:lnTo>
                <a:lnTo>
                  <a:pt x="682" y="406"/>
                </a:lnTo>
                <a:lnTo>
                  <a:pt x="684" y="417"/>
                </a:lnTo>
                <a:lnTo>
                  <a:pt x="685" y="429"/>
                </a:lnTo>
                <a:lnTo>
                  <a:pt x="686" y="441"/>
                </a:lnTo>
                <a:lnTo>
                  <a:pt x="687" y="453"/>
                </a:lnTo>
                <a:lnTo>
                  <a:pt x="686" y="465"/>
                </a:lnTo>
                <a:lnTo>
                  <a:pt x="685" y="477"/>
                </a:lnTo>
                <a:lnTo>
                  <a:pt x="684" y="489"/>
                </a:lnTo>
                <a:lnTo>
                  <a:pt x="682" y="500"/>
                </a:lnTo>
                <a:lnTo>
                  <a:pt x="679" y="512"/>
                </a:lnTo>
                <a:lnTo>
                  <a:pt x="676" y="523"/>
                </a:lnTo>
                <a:lnTo>
                  <a:pt x="673" y="533"/>
                </a:lnTo>
                <a:lnTo>
                  <a:pt x="668" y="544"/>
                </a:lnTo>
                <a:lnTo>
                  <a:pt x="664" y="554"/>
                </a:lnTo>
                <a:lnTo>
                  <a:pt x="659" y="564"/>
                </a:lnTo>
                <a:lnTo>
                  <a:pt x="653" y="574"/>
                </a:lnTo>
                <a:lnTo>
                  <a:pt x="647" y="583"/>
                </a:lnTo>
                <a:lnTo>
                  <a:pt x="641" y="592"/>
                </a:lnTo>
                <a:lnTo>
                  <a:pt x="634" y="601"/>
                </a:lnTo>
                <a:lnTo>
                  <a:pt x="627" y="610"/>
                </a:lnTo>
                <a:lnTo>
                  <a:pt x="619" y="618"/>
                </a:lnTo>
                <a:lnTo>
                  <a:pt x="611" y="625"/>
                </a:lnTo>
                <a:lnTo>
                  <a:pt x="602" y="632"/>
                </a:lnTo>
                <a:lnTo>
                  <a:pt x="594" y="639"/>
                </a:lnTo>
                <a:lnTo>
                  <a:pt x="585" y="646"/>
                </a:lnTo>
                <a:lnTo>
                  <a:pt x="575" y="652"/>
                </a:lnTo>
                <a:lnTo>
                  <a:pt x="565" y="657"/>
                </a:lnTo>
                <a:lnTo>
                  <a:pt x="555" y="663"/>
                </a:lnTo>
                <a:lnTo>
                  <a:pt x="545" y="667"/>
                </a:lnTo>
                <a:lnTo>
                  <a:pt x="535" y="671"/>
                </a:lnTo>
                <a:lnTo>
                  <a:pt x="524" y="675"/>
                </a:lnTo>
                <a:lnTo>
                  <a:pt x="513" y="678"/>
                </a:lnTo>
                <a:lnTo>
                  <a:pt x="502" y="681"/>
                </a:lnTo>
                <a:lnTo>
                  <a:pt x="490" y="683"/>
                </a:lnTo>
                <a:lnTo>
                  <a:pt x="479" y="684"/>
                </a:lnTo>
                <a:lnTo>
                  <a:pt x="467" y="685"/>
                </a:lnTo>
                <a:lnTo>
                  <a:pt x="455" y="685"/>
                </a:lnTo>
                <a:close/>
                <a:moveTo>
                  <a:pt x="455" y="301"/>
                </a:moveTo>
                <a:lnTo>
                  <a:pt x="440" y="302"/>
                </a:lnTo>
                <a:lnTo>
                  <a:pt x="426" y="304"/>
                </a:lnTo>
                <a:lnTo>
                  <a:pt x="419" y="305"/>
                </a:lnTo>
                <a:lnTo>
                  <a:pt x="412" y="307"/>
                </a:lnTo>
                <a:lnTo>
                  <a:pt x="406" y="309"/>
                </a:lnTo>
                <a:lnTo>
                  <a:pt x="399" y="312"/>
                </a:lnTo>
                <a:lnTo>
                  <a:pt x="393" y="315"/>
                </a:lnTo>
                <a:lnTo>
                  <a:pt x="387" y="318"/>
                </a:lnTo>
                <a:lnTo>
                  <a:pt x="381" y="321"/>
                </a:lnTo>
                <a:lnTo>
                  <a:pt x="375" y="325"/>
                </a:lnTo>
                <a:lnTo>
                  <a:pt x="369" y="329"/>
                </a:lnTo>
                <a:lnTo>
                  <a:pt x="364" y="333"/>
                </a:lnTo>
                <a:lnTo>
                  <a:pt x="359" y="338"/>
                </a:lnTo>
                <a:lnTo>
                  <a:pt x="354" y="343"/>
                </a:lnTo>
                <a:lnTo>
                  <a:pt x="349" y="348"/>
                </a:lnTo>
                <a:lnTo>
                  <a:pt x="345" y="353"/>
                </a:lnTo>
                <a:lnTo>
                  <a:pt x="341" y="359"/>
                </a:lnTo>
                <a:lnTo>
                  <a:pt x="337" y="365"/>
                </a:lnTo>
                <a:lnTo>
                  <a:pt x="329" y="377"/>
                </a:lnTo>
                <a:lnTo>
                  <a:pt x="326" y="384"/>
                </a:lnTo>
                <a:lnTo>
                  <a:pt x="323" y="391"/>
                </a:lnTo>
                <a:lnTo>
                  <a:pt x="321" y="398"/>
                </a:lnTo>
                <a:lnTo>
                  <a:pt x="319" y="405"/>
                </a:lnTo>
                <a:lnTo>
                  <a:pt x="317" y="412"/>
                </a:lnTo>
                <a:lnTo>
                  <a:pt x="315" y="420"/>
                </a:lnTo>
                <a:lnTo>
                  <a:pt x="313" y="436"/>
                </a:lnTo>
                <a:lnTo>
                  <a:pt x="312" y="453"/>
                </a:lnTo>
                <a:lnTo>
                  <a:pt x="312" y="462"/>
                </a:lnTo>
                <a:lnTo>
                  <a:pt x="313" y="470"/>
                </a:lnTo>
                <a:lnTo>
                  <a:pt x="314" y="478"/>
                </a:lnTo>
                <a:lnTo>
                  <a:pt x="315" y="486"/>
                </a:lnTo>
                <a:lnTo>
                  <a:pt x="319" y="501"/>
                </a:lnTo>
                <a:lnTo>
                  <a:pt x="323" y="515"/>
                </a:lnTo>
                <a:lnTo>
                  <a:pt x="329" y="529"/>
                </a:lnTo>
                <a:lnTo>
                  <a:pt x="333" y="535"/>
                </a:lnTo>
                <a:lnTo>
                  <a:pt x="337" y="541"/>
                </a:lnTo>
                <a:lnTo>
                  <a:pt x="341" y="547"/>
                </a:lnTo>
                <a:lnTo>
                  <a:pt x="345" y="553"/>
                </a:lnTo>
                <a:lnTo>
                  <a:pt x="349" y="558"/>
                </a:lnTo>
                <a:lnTo>
                  <a:pt x="354" y="563"/>
                </a:lnTo>
                <a:lnTo>
                  <a:pt x="359" y="568"/>
                </a:lnTo>
                <a:lnTo>
                  <a:pt x="364" y="573"/>
                </a:lnTo>
                <a:lnTo>
                  <a:pt x="369" y="577"/>
                </a:lnTo>
                <a:lnTo>
                  <a:pt x="375" y="581"/>
                </a:lnTo>
                <a:lnTo>
                  <a:pt x="387" y="588"/>
                </a:lnTo>
                <a:lnTo>
                  <a:pt x="393" y="591"/>
                </a:lnTo>
                <a:lnTo>
                  <a:pt x="399" y="594"/>
                </a:lnTo>
                <a:lnTo>
                  <a:pt x="412" y="599"/>
                </a:lnTo>
                <a:lnTo>
                  <a:pt x="426" y="602"/>
                </a:lnTo>
                <a:lnTo>
                  <a:pt x="433" y="604"/>
                </a:lnTo>
                <a:lnTo>
                  <a:pt x="440" y="604"/>
                </a:lnTo>
                <a:lnTo>
                  <a:pt x="455" y="605"/>
                </a:lnTo>
                <a:lnTo>
                  <a:pt x="469" y="604"/>
                </a:lnTo>
                <a:lnTo>
                  <a:pt x="484" y="602"/>
                </a:lnTo>
                <a:lnTo>
                  <a:pt x="490" y="601"/>
                </a:lnTo>
                <a:lnTo>
                  <a:pt x="497" y="599"/>
                </a:lnTo>
                <a:lnTo>
                  <a:pt x="504" y="597"/>
                </a:lnTo>
                <a:lnTo>
                  <a:pt x="510" y="594"/>
                </a:lnTo>
                <a:lnTo>
                  <a:pt x="517" y="591"/>
                </a:lnTo>
                <a:lnTo>
                  <a:pt x="523" y="588"/>
                </a:lnTo>
                <a:lnTo>
                  <a:pt x="529" y="585"/>
                </a:lnTo>
                <a:lnTo>
                  <a:pt x="535" y="581"/>
                </a:lnTo>
                <a:lnTo>
                  <a:pt x="540" y="577"/>
                </a:lnTo>
                <a:lnTo>
                  <a:pt x="546" y="573"/>
                </a:lnTo>
                <a:lnTo>
                  <a:pt x="551" y="568"/>
                </a:lnTo>
                <a:lnTo>
                  <a:pt x="556" y="563"/>
                </a:lnTo>
                <a:lnTo>
                  <a:pt x="560" y="558"/>
                </a:lnTo>
                <a:lnTo>
                  <a:pt x="565" y="553"/>
                </a:lnTo>
                <a:lnTo>
                  <a:pt x="569" y="547"/>
                </a:lnTo>
                <a:lnTo>
                  <a:pt x="573" y="541"/>
                </a:lnTo>
                <a:lnTo>
                  <a:pt x="580" y="529"/>
                </a:lnTo>
                <a:lnTo>
                  <a:pt x="583" y="522"/>
                </a:lnTo>
                <a:lnTo>
                  <a:pt x="586" y="515"/>
                </a:lnTo>
                <a:lnTo>
                  <a:pt x="589" y="508"/>
                </a:lnTo>
                <a:lnTo>
                  <a:pt x="591" y="501"/>
                </a:lnTo>
                <a:lnTo>
                  <a:pt x="593" y="494"/>
                </a:lnTo>
                <a:lnTo>
                  <a:pt x="595" y="486"/>
                </a:lnTo>
                <a:lnTo>
                  <a:pt x="597" y="470"/>
                </a:lnTo>
                <a:lnTo>
                  <a:pt x="597" y="453"/>
                </a:lnTo>
                <a:lnTo>
                  <a:pt x="597" y="444"/>
                </a:lnTo>
                <a:lnTo>
                  <a:pt x="597" y="436"/>
                </a:lnTo>
                <a:lnTo>
                  <a:pt x="596" y="428"/>
                </a:lnTo>
                <a:lnTo>
                  <a:pt x="595" y="420"/>
                </a:lnTo>
                <a:lnTo>
                  <a:pt x="591" y="405"/>
                </a:lnTo>
                <a:lnTo>
                  <a:pt x="586" y="391"/>
                </a:lnTo>
                <a:lnTo>
                  <a:pt x="580" y="377"/>
                </a:lnTo>
                <a:lnTo>
                  <a:pt x="577" y="371"/>
                </a:lnTo>
                <a:lnTo>
                  <a:pt x="573" y="365"/>
                </a:lnTo>
                <a:lnTo>
                  <a:pt x="569" y="359"/>
                </a:lnTo>
                <a:lnTo>
                  <a:pt x="565" y="353"/>
                </a:lnTo>
                <a:lnTo>
                  <a:pt x="560" y="348"/>
                </a:lnTo>
                <a:lnTo>
                  <a:pt x="556" y="343"/>
                </a:lnTo>
                <a:lnTo>
                  <a:pt x="551" y="338"/>
                </a:lnTo>
                <a:lnTo>
                  <a:pt x="546" y="333"/>
                </a:lnTo>
                <a:lnTo>
                  <a:pt x="540" y="329"/>
                </a:lnTo>
                <a:lnTo>
                  <a:pt x="535" y="325"/>
                </a:lnTo>
                <a:lnTo>
                  <a:pt x="523" y="318"/>
                </a:lnTo>
                <a:lnTo>
                  <a:pt x="517" y="315"/>
                </a:lnTo>
                <a:lnTo>
                  <a:pt x="510" y="312"/>
                </a:lnTo>
                <a:lnTo>
                  <a:pt x="497" y="307"/>
                </a:lnTo>
                <a:lnTo>
                  <a:pt x="484" y="304"/>
                </a:lnTo>
                <a:lnTo>
                  <a:pt x="477" y="303"/>
                </a:lnTo>
                <a:lnTo>
                  <a:pt x="469" y="302"/>
                </a:lnTo>
                <a:lnTo>
                  <a:pt x="455" y="30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9" name="Freeform 21"/>
          <p:cNvSpPr>
            <a:spLocks noEditPoints="1"/>
          </p:cNvSpPr>
          <p:nvPr userDrawn="1"/>
        </p:nvSpPr>
        <p:spPr bwMode="auto">
          <a:xfrm>
            <a:off x="2611457" y="0"/>
            <a:ext cx="1306629" cy="1285880"/>
          </a:xfrm>
          <a:custGeom>
            <a:avLst/>
            <a:gdLst>
              <a:gd name="T0" fmla="*/ 908 w 908"/>
              <a:gd name="T1" fmla="*/ 453 h 907"/>
              <a:gd name="T2" fmla="*/ 0 w 908"/>
              <a:gd name="T3" fmla="*/ 453 h 907"/>
              <a:gd name="T4" fmla="*/ 591 w 908"/>
              <a:gd name="T5" fmla="*/ 623 h 907"/>
              <a:gd name="T6" fmla="*/ 572 w 908"/>
              <a:gd name="T7" fmla="*/ 643 h 907"/>
              <a:gd name="T8" fmla="*/ 532 w 908"/>
              <a:gd name="T9" fmla="*/ 668 h 907"/>
              <a:gd name="T10" fmla="*/ 494 w 908"/>
              <a:gd name="T11" fmla="*/ 681 h 907"/>
              <a:gd name="T12" fmla="*/ 450 w 908"/>
              <a:gd name="T13" fmla="*/ 685 h 907"/>
              <a:gd name="T14" fmla="*/ 404 w 908"/>
              <a:gd name="T15" fmla="*/ 681 h 907"/>
              <a:gd name="T16" fmla="*/ 361 w 908"/>
              <a:gd name="T17" fmla="*/ 667 h 907"/>
              <a:gd name="T18" fmla="*/ 323 w 908"/>
              <a:gd name="T19" fmla="*/ 646 h 907"/>
              <a:gd name="T20" fmla="*/ 290 w 908"/>
              <a:gd name="T21" fmla="*/ 618 h 907"/>
              <a:gd name="T22" fmla="*/ 264 w 908"/>
              <a:gd name="T23" fmla="*/ 583 h 907"/>
              <a:gd name="T24" fmla="*/ 244 w 908"/>
              <a:gd name="T25" fmla="*/ 544 h 907"/>
              <a:gd name="T26" fmla="*/ 231 w 908"/>
              <a:gd name="T27" fmla="*/ 500 h 907"/>
              <a:gd name="T28" fmla="*/ 227 w 908"/>
              <a:gd name="T29" fmla="*/ 453 h 907"/>
              <a:gd name="T30" fmla="*/ 231 w 908"/>
              <a:gd name="T31" fmla="*/ 406 h 907"/>
              <a:gd name="T32" fmla="*/ 240 w 908"/>
              <a:gd name="T33" fmla="*/ 373 h 907"/>
              <a:gd name="T34" fmla="*/ 258 w 908"/>
              <a:gd name="T35" fmla="*/ 332 h 907"/>
              <a:gd name="T36" fmla="*/ 283 w 908"/>
              <a:gd name="T37" fmla="*/ 297 h 907"/>
              <a:gd name="T38" fmla="*/ 310 w 908"/>
              <a:gd name="T39" fmla="*/ 270 h 907"/>
              <a:gd name="T40" fmla="*/ 342 w 908"/>
              <a:gd name="T41" fmla="*/ 249 h 907"/>
              <a:gd name="T42" fmla="*/ 382 w 908"/>
              <a:gd name="T43" fmla="*/ 231 h 907"/>
              <a:gd name="T44" fmla="*/ 427 w 908"/>
              <a:gd name="T45" fmla="*/ 222 h 907"/>
              <a:gd name="T46" fmla="*/ 473 w 908"/>
              <a:gd name="T47" fmla="*/ 222 h 907"/>
              <a:gd name="T48" fmla="*/ 513 w 908"/>
              <a:gd name="T49" fmla="*/ 231 h 907"/>
              <a:gd name="T50" fmla="*/ 548 w 908"/>
              <a:gd name="T51" fmla="*/ 247 h 907"/>
              <a:gd name="T52" fmla="*/ 571 w 908"/>
              <a:gd name="T53" fmla="*/ 263 h 907"/>
              <a:gd name="T54" fmla="*/ 591 w 908"/>
              <a:gd name="T55" fmla="*/ 230 h 907"/>
              <a:gd name="T56" fmla="*/ 450 w 908"/>
              <a:gd name="T57" fmla="*/ 306 h 907"/>
              <a:gd name="T58" fmla="*/ 417 w 908"/>
              <a:gd name="T59" fmla="*/ 311 h 907"/>
              <a:gd name="T60" fmla="*/ 383 w 908"/>
              <a:gd name="T61" fmla="*/ 327 h 907"/>
              <a:gd name="T62" fmla="*/ 351 w 908"/>
              <a:gd name="T63" fmla="*/ 356 h 907"/>
              <a:gd name="T64" fmla="*/ 332 w 908"/>
              <a:gd name="T65" fmla="*/ 386 h 907"/>
              <a:gd name="T66" fmla="*/ 318 w 908"/>
              <a:gd name="T67" fmla="*/ 434 h 907"/>
              <a:gd name="T68" fmla="*/ 317 w 908"/>
              <a:gd name="T69" fmla="*/ 484 h 907"/>
              <a:gd name="T70" fmla="*/ 325 w 908"/>
              <a:gd name="T71" fmla="*/ 518 h 907"/>
              <a:gd name="T72" fmla="*/ 336 w 908"/>
              <a:gd name="T73" fmla="*/ 545 h 907"/>
              <a:gd name="T74" fmla="*/ 351 w 908"/>
              <a:gd name="T75" fmla="*/ 568 h 907"/>
              <a:gd name="T76" fmla="*/ 371 w 908"/>
              <a:gd name="T77" fmla="*/ 589 h 907"/>
              <a:gd name="T78" fmla="*/ 396 w 908"/>
              <a:gd name="T79" fmla="*/ 605 h 907"/>
              <a:gd name="T80" fmla="*/ 425 w 908"/>
              <a:gd name="T81" fmla="*/ 615 h 907"/>
              <a:gd name="T82" fmla="*/ 458 w 908"/>
              <a:gd name="T83" fmla="*/ 618 h 907"/>
              <a:gd name="T84" fmla="*/ 509 w 908"/>
              <a:gd name="T85" fmla="*/ 609 h 907"/>
              <a:gd name="T86" fmla="*/ 537 w 908"/>
              <a:gd name="T87" fmla="*/ 593 h 907"/>
              <a:gd name="T88" fmla="*/ 557 w 908"/>
              <a:gd name="T89" fmla="*/ 576 h 907"/>
              <a:gd name="T90" fmla="*/ 576 w 908"/>
              <a:gd name="T91" fmla="*/ 546 h 907"/>
              <a:gd name="T92" fmla="*/ 589 w 908"/>
              <a:gd name="T93" fmla="*/ 508 h 907"/>
              <a:gd name="T94" fmla="*/ 594 w 908"/>
              <a:gd name="T95" fmla="*/ 472 h 907"/>
              <a:gd name="T96" fmla="*/ 592 w 908"/>
              <a:gd name="T97" fmla="*/ 434 h 907"/>
              <a:gd name="T98" fmla="*/ 582 w 908"/>
              <a:gd name="T99" fmla="*/ 392 h 907"/>
              <a:gd name="T100" fmla="*/ 569 w 908"/>
              <a:gd name="T101" fmla="*/ 365 h 907"/>
              <a:gd name="T102" fmla="*/ 542 w 908"/>
              <a:gd name="T103" fmla="*/ 334 h 907"/>
              <a:gd name="T104" fmla="*/ 515 w 908"/>
              <a:gd name="T105" fmla="*/ 317 h 907"/>
              <a:gd name="T106" fmla="*/ 490 w 908"/>
              <a:gd name="T107" fmla="*/ 309 h 907"/>
              <a:gd name="T108" fmla="*/ 458 w 908"/>
              <a:gd name="T109" fmla="*/ 305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  <a:moveTo>
                  <a:pt x="680" y="676"/>
                </a:moveTo>
                <a:lnTo>
                  <a:pt x="591" y="676"/>
                </a:lnTo>
                <a:lnTo>
                  <a:pt x="591" y="623"/>
                </a:lnTo>
                <a:lnTo>
                  <a:pt x="588" y="627"/>
                </a:lnTo>
                <a:lnTo>
                  <a:pt x="585" y="630"/>
                </a:lnTo>
                <a:lnTo>
                  <a:pt x="579" y="636"/>
                </a:lnTo>
                <a:lnTo>
                  <a:pt x="572" y="643"/>
                </a:lnTo>
                <a:lnTo>
                  <a:pt x="564" y="649"/>
                </a:lnTo>
                <a:lnTo>
                  <a:pt x="549" y="659"/>
                </a:lnTo>
                <a:lnTo>
                  <a:pt x="541" y="664"/>
                </a:lnTo>
                <a:lnTo>
                  <a:pt x="532" y="668"/>
                </a:lnTo>
                <a:lnTo>
                  <a:pt x="523" y="672"/>
                </a:lnTo>
                <a:lnTo>
                  <a:pt x="514" y="676"/>
                </a:lnTo>
                <a:lnTo>
                  <a:pt x="504" y="678"/>
                </a:lnTo>
                <a:lnTo>
                  <a:pt x="494" y="681"/>
                </a:lnTo>
                <a:lnTo>
                  <a:pt x="484" y="683"/>
                </a:lnTo>
                <a:lnTo>
                  <a:pt x="473" y="684"/>
                </a:lnTo>
                <a:lnTo>
                  <a:pt x="462" y="685"/>
                </a:lnTo>
                <a:lnTo>
                  <a:pt x="450" y="685"/>
                </a:lnTo>
                <a:lnTo>
                  <a:pt x="439" y="685"/>
                </a:lnTo>
                <a:lnTo>
                  <a:pt x="427" y="684"/>
                </a:lnTo>
                <a:lnTo>
                  <a:pt x="415" y="683"/>
                </a:lnTo>
                <a:lnTo>
                  <a:pt x="404" y="681"/>
                </a:lnTo>
                <a:lnTo>
                  <a:pt x="393" y="678"/>
                </a:lnTo>
                <a:lnTo>
                  <a:pt x="382" y="675"/>
                </a:lnTo>
                <a:lnTo>
                  <a:pt x="372" y="671"/>
                </a:lnTo>
                <a:lnTo>
                  <a:pt x="361" y="667"/>
                </a:lnTo>
                <a:lnTo>
                  <a:pt x="351" y="663"/>
                </a:lnTo>
                <a:lnTo>
                  <a:pt x="342" y="657"/>
                </a:lnTo>
                <a:lnTo>
                  <a:pt x="332" y="652"/>
                </a:lnTo>
                <a:lnTo>
                  <a:pt x="323" y="646"/>
                </a:lnTo>
                <a:lnTo>
                  <a:pt x="315" y="639"/>
                </a:lnTo>
                <a:lnTo>
                  <a:pt x="306" y="633"/>
                </a:lnTo>
                <a:lnTo>
                  <a:pt x="298" y="625"/>
                </a:lnTo>
                <a:lnTo>
                  <a:pt x="290" y="618"/>
                </a:lnTo>
                <a:lnTo>
                  <a:pt x="283" y="609"/>
                </a:lnTo>
                <a:lnTo>
                  <a:pt x="276" y="601"/>
                </a:lnTo>
                <a:lnTo>
                  <a:pt x="270" y="592"/>
                </a:lnTo>
                <a:lnTo>
                  <a:pt x="264" y="583"/>
                </a:lnTo>
                <a:lnTo>
                  <a:pt x="258" y="574"/>
                </a:lnTo>
                <a:lnTo>
                  <a:pt x="253" y="564"/>
                </a:lnTo>
                <a:lnTo>
                  <a:pt x="248" y="554"/>
                </a:lnTo>
                <a:lnTo>
                  <a:pt x="244" y="544"/>
                </a:lnTo>
                <a:lnTo>
                  <a:pt x="240" y="533"/>
                </a:lnTo>
                <a:lnTo>
                  <a:pt x="236" y="522"/>
                </a:lnTo>
                <a:lnTo>
                  <a:pt x="233" y="511"/>
                </a:lnTo>
                <a:lnTo>
                  <a:pt x="231" y="500"/>
                </a:lnTo>
                <a:lnTo>
                  <a:pt x="229" y="488"/>
                </a:lnTo>
                <a:lnTo>
                  <a:pt x="228" y="477"/>
                </a:lnTo>
                <a:lnTo>
                  <a:pt x="227" y="465"/>
                </a:lnTo>
                <a:lnTo>
                  <a:pt x="227" y="453"/>
                </a:lnTo>
                <a:lnTo>
                  <a:pt x="227" y="441"/>
                </a:lnTo>
                <a:lnTo>
                  <a:pt x="228" y="429"/>
                </a:lnTo>
                <a:lnTo>
                  <a:pt x="229" y="417"/>
                </a:lnTo>
                <a:lnTo>
                  <a:pt x="231" y="406"/>
                </a:lnTo>
                <a:lnTo>
                  <a:pt x="233" y="395"/>
                </a:lnTo>
                <a:lnTo>
                  <a:pt x="235" y="389"/>
                </a:lnTo>
                <a:lnTo>
                  <a:pt x="236" y="384"/>
                </a:lnTo>
                <a:lnTo>
                  <a:pt x="240" y="373"/>
                </a:lnTo>
                <a:lnTo>
                  <a:pt x="244" y="362"/>
                </a:lnTo>
                <a:lnTo>
                  <a:pt x="248" y="352"/>
                </a:lnTo>
                <a:lnTo>
                  <a:pt x="253" y="342"/>
                </a:lnTo>
                <a:lnTo>
                  <a:pt x="258" y="332"/>
                </a:lnTo>
                <a:lnTo>
                  <a:pt x="264" y="323"/>
                </a:lnTo>
                <a:lnTo>
                  <a:pt x="270" y="314"/>
                </a:lnTo>
                <a:lnTo>
                  <a:pt x="276" y="305"/>
                </a:lnTo>
                <a:lnTo>
                  <a:pt x="283" y="297"/>
                </a:lnTo>
                <a:lnTo>
                  <a:pt x="290" y="289"/>
                </a:lnTo>
                <a:lnTo>
                  <a:pt x="298" y="281"/>
                </a:lnTo>
                <a:lnTo>
                  <a:pt x="306" y="274"/>
                </a:lnTo>
                <a:lnTo>
                  <a:pt x="310" y="270"/>
                </a:lnTo>
                <a:lnTo>
                  <a:pt x="315" y="267"/>
                </a:lnTo>
                <a:lnTo>
                  <a:pt x="323" y="260"/>
                </a:lnTo>
                <a:lnTo>
                  <a:pt x="332" y="254"/>
                </a:lnTo>
                <a:lnTo>
                  <a:pt x="342" y="249"/>
                </a:lnTo>
                <a:lnTo>
                  <a:pt x="351" y="244"/>
                </a:lnTo>
                <a:lnTo>
                  <a:pt x="361" y="239"/>
                </a:lnTo>
                <a:lnTo>
                  <a:pt x="372" y="235"/>
                </a:lnTo>
                <a:lnTo>
                  <a:pt x="382" y="231"/>
                </a:lnTo>
                <a:lnTo>
                  <a:pt x="393" y="228"/>
                </a:lnTo>
                <a:lnTo>
                  <a:pt x="404" y="226"/>
                </a:lnTo>
                <a:lnTo>
                  <a:pt x="415" y="224"/>
                </a:lnTo>
                <a:lnTo>
                  <a:pt x="427" y="222"/>
                </a:lnTo>
                <a:lnTo>
                  <a:pt x="439" y="221"/>
                </a:lnTo>
                <a:lnTo>
                  <a:pt x="450" y="221"/>
                </a:lnTo>
                <a:lnTo>
                  <a:pt x="462" y="221"/>
                </a:lnTo>
                <a:lnTo>
                  <a:pt x="473" y="222"/>
                </a:lnTo>
                <a:lnTo>
                  <a:pt x="483" y="223"/>
                </a:lnTo>
                <a:lnTo>
                  <a:pt x="494" y="225"/>
                </a:lnTo>
                <a:lnTo>
                  <a:pt x="504" y="228"/>
                </a:lnTo>
                <a:lnTo>
                  <a:pt x="513" y="231"/>
                </a:lnTo>
                <a:lnTo>
                  <a:pt x="523" y="234"/>
                </a:lnTo>
                <a:lnTo>
                  <a:pt x="532" y="238"/>
                </a:lnTo>
                <a:lnTo>
                  <a:pt x="540" y="242"/>
                </a:lnTo>
                <a:lnTo>
                  <a:pt x="548" y="247"/>
                </a:lnTo>
                <a:lnTo>
                  <a:pt x="556" y="252"/>
                </a:lnTo>
                <a:lnTo>
                  <a:pt x="560" y="254"/>
                </a:lnTo>
                <a:lnTo>
                  <a:pt x="564" y="257"/>
                </a:lnTo>
                <a:lnTo>
                  <a:pt x="571" y="263"/>
                </a:lnTo>
                <a:lnTo>
                  <a:pt x="578" y="269"/>
                </a:lnTo>
                <a:lnTo>
                  <a:pt x="585" y="276"/>
                </a:lnTo>
                <a:lnTo>
                  <a:pt x="591" y="282"/>
                </a:lnTo>
                <a:lnTo>
                  <a:pt x="591" y="230"/>
                </a:lnTo>
                <a:lnTo>
                  <a:pt x="680" y="230"/>
                </a:lnTo>
                <a:lnTo>
                  <a:pt x="680" y="676"/>
                </a:lnTo>
                <a:close/>
                <a:moveTo>
                  <a:pt x="458" y="305"/>
                </a:moveTo>
                <a:lnTo>
                  <a:pt x="450" y="306"/>
                </a:lnTo>
                <a:lnTo>
                  <a:pt x="441" y="306"/>
                </a:lnTo>
                <a:lnTo>
                  <a:pt x="433" y="308"/>
                </a:lnTo>
                <a:lnTo>
                  <a:pt x="425" y="309"/>
                </a:lnTo>
                <a:lnTo>
                  <a:pt x="417" y="311"/>
                </a:lnTo>
                <a:lnTo>
                  <a:pt x="410" y="314"/>
                </a:lnTo>
                <a:lnTo>
                  <a:pt x="402" y="316"/>
                </a:lnTo>
                <a:lnTo>
                  <a:pt x="396" y="319"/>
                </a:lnTo>
                <a:lnTo>
                  <a:pt x="383" y="327"/>
                </a:lnTo>
                <a:lnTo>
                  <a:pt x="371" y="335"/>
                </a:lnTo>
                <a:lnTo>
                  <a:pt x="366" y="340"/>
                </a:lnTo>
                <a:lnTo>
                  <a:pt x="361" y="345"/>
                </a:lnTo>
                <a:lnTo>
                  <a:pt x="351" y="356"/>
                </a:lnTo>
                <a:lnTo>
                  <a:pt x="347" y="362"/>
                </a:lnTo>
                <a:lnTo>
                  <a:pt x="343" y="367"/>
                </a:lnTo>
                <a:lnTo>
                  <a:pt x="336" y="380"/>
                </a:lnTo>
                <a:lnTo>
                  <a:pt x="332" y="386"/>
                </a:lnTo>
                <a:lnTo>
                  <a:pt x="330" y="393"/>
                </a:lnTo>
                <a:lnTo>
                  <a:pt x="325" y="406"/>
                </a:lnTo>
                <a:lnTo>
                  <a:pt x="321" y="420"/>
                </a:lnTo>
                <a:lnTo>
                  <a:pt x="318" y="434"/>
                </a:lnTo>
                <a:lnTo>
                  <a:pt x="316" y="448"/>
                </a:lnTo>
                <a:lnTo>
                  <a:pt x="316" y="462"/>
                </a:lnTo>
                <a:lnTo>
                  <a:pt x="316" y="476"/>
                </a:lnTo>
                <a:lnTo>
                  <a:pt x="317" y="484"/>
                </a:lnTo>
                <a:lnTo>
                  <a:pt x="318" y="491"/>
                </a:lnTo>
                <a:lnTo>
                  <a:pt x="321" y="505"/>
                </a:lnTo>
                <a:lnTo>
                  <a:pt x="323" y="511"/>
                </a:lnTo>
                <a:lnTo>
                  <a:pt x="325" y="518"/>
                </a:lnTo>
                <a:lnTo>
                  <a:pt x="327" y="525"/>
                </a:lnTo>
                <a:lnTo>
                  <a:pt x="330" y="532"/>
                </a:lnTo>
                <a:lnTo>
                  <a:pt x="332" y="538"/>
                </a:lnTo>
                <a:lnTo>
                  <a:pt x="336" y="545"/>
                </a:lnTo>
                <a:lnTo>
                  <a:pt x="339" y="551"/>
                </a:lnTo>
                <a:lnTo>
                  <a:pt x="343" y="557"/>
                </a:lnTo>
                <a:lnTo>
                  <a:pt x="347" y="563"/>
                </a:lnTo>
                <a:lnTo>
                  <a:pt x="351" y="568"/>
                </a:lnTo>
                <a:lnTo>
                  <a:pt x="356" y="574"/>
                </a:lnTo>
                <a:lnTo>
                  <a:pt x="361" y="579"/>
                </a:lnTo>
                <a:lnTo>
                  <a:pt x="366" y="584"/>
                </a:lnTo>
                <a:lnTo>
                  <a:pt x="371" y="589"/>
                </a:lnTo>
                <a:lnTo>
                  <a:pt x="377" y="593"/>
                </a:lnTo>
                <a:lnTo>
                  <a:pt x="383" y="597"/>
                </a:lnTo>
                <a:lnTo>
                  <a:pt x="389" y="601"/>
                </a:lnTo>
                <a:lnTo>
                  <a:pt x="396" y="605"/>
                </a:lnTo>
                <a:lnTo>
                  <a:pt x="402" y="608"/>
                </a:lnTo>
                <a:lnTo>
                  <a:pt x="410" y="610"/>
                </a:lnTo>
                <a:lnTo>
                  <a:pt x="417" y="613"/>
                </a:lnTo>
                <a:lnTo>
                  <a:pt x="425" y="615"/>
                </a:lnTo>
                <a:lnTo>
                  <a:pt x="433" y="616"/>
                </a:lnTo>
                <a:lnTo>
                  <a:pt x="441" y="617"/>
                </a:lnTo>
                <a:lnTo>
                  <a:pt x="450" y="618"/>
                </a:lnTo>
                <a:lnTo>
                  <a:pt x="458" y="618"/>
                </a:lnTo>
                <a:lnTo>
                  <a:pt x="471" y="618"/>
                </a:lnTo>
                <a:lnTo>
                  <a:pt x="484" y="616"/>
                </a:lnTo>
                <a:lnTo>
                  <a:pt x="496" y="613"/>
                </a:lnTo>
                <a:lnTo>
                  <a:pt x="509" y="609"/>
                </a:lnTo>
                <a:lnTo>
                  <a:pt x="515" y="607"/>
                </a:lnTo>
                <a:lnTo>
                  <a:pt x="520" y="604"/>
                </a:lnTo>
                <a:lnTo>
                  <a:pt x="532" y="597"/>
                </a:lnTo>
                <a:lnTo>
                  <a:pt x="537" y="593"/>
                </a:lnTo>
                <a:lnTo>
                  <a:pt x="542" y="589"/>
                </a:lnTo>
                <a:lnTo>
                  <a:pt x="547" y="585"/>
                </a:lnTo>
                <a:lnTo>
                  <a:pt x="552" y="580"/>
                </a:lnTo>
                <a:lnTo>
                  <a:pt x="557" y="576"/>
                </a:lnTo>
                <a:lnTo>
                  <a:pt x="561" y="570"/>
                </a:lnTo>
                <a:lnTo>
                  <a:pt x="565" y="565"/>
                </a:lnTo>
                <a:lnTo>
                  <a:pt x="569" y="559"/>
                </a:lnTo>
                <a:lnTo>
                  <a:pt x="576" y="546"/>
                </a:lnTo>
                <a:lnTo>
                  <a:pt x="580" y="539"/>
                </a:lnTo>
                <a:lnTo>
                  <a:pt x="582" y="532"/>
                </a:lnTo>
                <a:lnTo>
                  <a:pt x="587" y="516"/>
                </a:lnTo>
                <a:lnTo>
                  <a:pt x="589" y="508"/>
                </a:lnTo>
                <a:lnTo>
                  <a:pt x="591" y="500"/>
                </a:lnTo>
                <a:lnTo>
                  <a:pt x="592" y="491"/>
                </a:lnTo>
                <a:lnTo>
                  <a:pt x="593" y="482"/>
                </a:lnTo>
                <a:lnTo>
                  <a:pt x="594" y="472"/>
                </a:lnTo>
                <a:lnTo>
                  <a:pt x="594" y="462"/>
                </a:lnTo>
                <a:lnTo>
                  <a:pt x="594" y="452"/>
                </a:lnTo>
                <a:lnTo>
                  <a:pt x="593" y="443"/>
                </a:lnTo>
                <a:lnTo>
                  <a:pt x="592" y="434"/>
                </a:lnTo>
                <a:lnTo>
                  <a:pt x="591" y="425"/>
                </a:lnTo>
                <a:lnTo>
                  <a:pt x="587" y="408"/>
                </a:lnTo>
                <a:lnTo>
                  <a:pt x="585" y="400"/>
                </a:lnTo>
                <a:lnTo>
                  <a:pt x="582" y="392"/>
                </a:lnTo>
                <a:lnTo>
                  <a:pt x="580" y="385"/>
                </a:lnTo>
                <a:lnTo>
                  <a:pt x="576" y="378"/>
                </a:lnTo>
                <a:lnTo>
                  <a:pt x="573" y="372"/>
                </a:lnTo>
                <a:lnTo>
                  <a:pt x="569" y="365"/>
                </a:lnTo>
                <a:lnTo>
                  <a:pt x="565" y="359"/>
                </a:lnTo>
                <a:lnTo>
                  <a:pt x="561" y="354"/>
                </a:lnTo>
                <a:lnTo>
                  <a:pt x="552" y="343"/>
                </a:lnTo>
                <a:lnTo>
                  <a:pt x="542" y="334"/>
                </a:lnTo>
                <a:lnTo>
                  <a:pt x="532" y="327"/>
                </a:lnTo>
                <a:lnTo>
                  <a:pt x="526" y="323"/>
                </a:lnTo>
                <a:lnTo>
                  <a:pt x="520" y="320"/>
                </a:lnTo>
                <a:lnTo>
                  <a:pt x="515" y="317"/>
                </a:lnTo>
                <a:lnTo>
                  <a:pt x="509" y="315"/>
                </a:lnTo>
                <a:lnTo>
                  <a:pt x="503" y="313"/>
                </a:lnTo>
                <a:lnTo>
                  <a:pt x="496" y="311"/>
                </a:lnTo>
                <a:lnTo>
                  <a:pt x="490" y="309"/>
                </a:lnTo>
                <a:lnTo>
                  <a:pt x="484" y="308"/>
                </a:lnTo>
                <a:lnTo>
                  <a:pt x="471" y="306"/>
                </a:lnTo>
                <a:lnTo>
                  <a:pt x="465" y="306"/>
                </a:lnTo>
                <a:lnTo>
                  <a:pt x="458" y="3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00059A1-0099-4B10-A5CF-27E515FB5E4A}" type="datetime3">
              <a:rPr lang="en-US" smtClean="0"/>
              <a:pPr/>
              <a:t>3 December 2015</a:t>
            </a:fld>
            <a:endParaRPr lang="fi-FI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6889848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26920" y="3214987"/>
            <a:ext cx="4244480" cy="1286465"/>
          </a:xfrm>
        </p:spPr>
        <p:txBody>
          <a:bodyPr anchor="b" anchorCtr="0"/>
          <a:lstStyle>
            <a:lvl1pPr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42" name="Footer Placeholder 6"/>
          <p:cNvSpPr txBox="1">
            <a:spLocks/>
          </p:cNvSpPr>
          <p:nvPr userDrawn="1"/>
        </p:nvSpPr>
        <p:spPr>
          <a:xfrm>
            <a:off x="326921" y="4768705"/>
            <a:ext cx="6856536" cy="106633"/>
          </a:xfrm>
          <a:prstGeom prst="rect">
            <a:avLst/>
          </a:prstGeom>
        </p:spPr>
        <p:txBody>
          <a:bodyPr vert="horz" lIns="27040" tIns="27040" rIns="27040" bIns="2704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mtClean="0">
                <a:noFill/>
              </a:rPr>
              <a:t>Presentation name</a:t>
            </a:r>
            <a:endParaRPr lang="fi-FI" dirty="0">
              <a:noFill/>
            </a:endParaRPr>
          </a:p>
        </p:txBody>
      </p:sp>
      <p:sp>
        <p:nvSpPr>
          <p:cNvPr id="43" name="Freeform 16"/>
          <p:cNvSpPr>
            <a:spLocks noChangeAspect="1" noEditPoints="1"/>
          </p:cNvSpPr>
          <p:nvPr userDrawn="1"/>
        </p:nvSpPr>
        <p:spPr bwMode="auto">
          <a:xfrm>
            <a:off x="6530744" y="2571453"/>
            <a:ext cx="1305429" cy="1285880"/>
          </a:xfrm>
          <a:custGeom>
            <a:avLst/>
            <a:gdLst>
              <a:gd name="T0" fmla="*/ 653 w 908"/>
              <a:gd name="T1" fmla="*/ 675 h 907"/>
              <a:gd name="T2" fmla="*/ 651 w 908"/>
              <a:gd name="T3" fmla="*/ 382 h 907"/>
              <a:gd name="T4" fmla="*/ 644 w 908"/>
              <a:gd name="T5" fmla="*/ 348 h 907"/>
              <a:gd name="T6" fmla="*/ 630 w 908"/>
              <a:gd name="T7" fmla="*/ 320 h 907"/>
              <a:gd name="T8" fmla="*/ 613 w 908"/>
              <a:gd name="T9" fmla="*/ 305 h 907"/>
              <a:gd name="T10" fmla="*/ 595 w 908"/>
              <a:gd name="T11" fmla="*/ 298 h 907"/>
              <a:gd name="T12" fmla="*/ 579 w 908"/>
              <a:gd name="T13" fmla="*/ 296 h 907"/>
              <a:gd name="T14" fmla="*/ 565 w 908"/>
              <a:gd name="T15" fmla="*/ 298 h 907"/>
              <a:gd name="T16" fmla="*/ 546 w 908"/>
              <a:gd name="T17" fmla="*/ 304 h 907"/>
              <a:gd name="T18" fmla="*/ 526 w 908"/>
              <a:gd name="T19" fmla="*/ 320 h 907"/>
              <a:gd name="T20" fmla="*/ 514 w 908"/>
              <a:gd name="T21" fmla="*/ 337 h 907"/>
              <a:gd name="T22" fmla="*/ 507 w 908"/>
              <a:gd name="T23" fmla="*/ 354 h 907"/>
              <a:gd name="T24" fmla="*/ 502 w 908"/>
              <a:gd name="T25" fmla="*/ 375 h 907"/>
              <a:gd name="T26" fmla="*/ 499 w 908"/>
              <a:gd name="T27" fmla="*/ 411 h 907"/>
              <a:gd name="T28" fmla="*/ 410 w 908"/>
              <a:gd name="T29" fmla="*/ 409 h 907"/>
              <a:gd name="T30" fmla="*/ 408 w 908"/>
              <a:gd name="T31" fmla="*/ 374 h 907"/>
              <a:gd name="T32" fmla="*/ 398 w 908"/>
              <a:gd name="T33" fmla="*/ 337 h 907"/>
              <a:gd name="T34" fmla="*/ 382 w 908"/>
              <a:gd name="T35" fmla="*/ 314 h 907"/>
              <a:gd name="T36" fmla="*/ 364 w 908"/>
              <a:gd name="T37" fmla="*/ 302 h 907"/>
              <a:gd name="T38" fmla="*/ 347 w 908"/>
              <a:gd name="T39" fmla="*/ 297 h 907"/>
              <a:gd name="T40" fmla="*/ 333 w 908"/>
              <a:gd name="T41" fmla="*/ 297 h 907"/>
              <a:gd name="T42" fmla="*/ 317 w 908"/>
              <a:gd name="T43" fmla="*/ 299 h 907"/>
              <a:gd name="T44" fmla="*/ 297 w 908"/>
              <a:gd name="T45" fmla="*/ 308 h 907"/>
              <a:gd name="T46" fmla="*/ 278 w 908"/>
              <a:gd name="T47" fmla="*/ 327 h 907"/>
              <a:gd name="T48" fmla="*/ 268 w 908"/>
              <a:gd name="T49" fmla="*/ 348 h 907"/>
              <a:gd name="T50" fmla="*/ 261 w 908"/>
              <a:gd name="T51" fmla="*/ 375 h 907"/>
              <a:gd name="T52" fmla="*/ 258 w 908"/>
              <a:gd name="T53" fmla="*/ 411 h 907"/>
              <a:gd name="T54" fmla="*/ 169 w 908"/>
              <a:gd name="T55" fmla="*/ 230 h 907"/>
              <a:gd name="T56" fmla="*/ 260 w 908"/>
              <a:gd name="T57" fmla="*/ 272 h 907"/>
              <a:gd name="T58" fmla="*/ 277 w 908"/>
              <a:gd name="T59" fmla="*/ 251 h 907"/>
              <a:gd name="T60" fmla="*/ 298 w 908"/>
              <a:gd name="T61" fmla="*/ 237 h 907"/>
              <a:gd name="T62" fmla="*/ 319 w 908"/>
              <a:gd name="T63" fmla="*/ 227 h 907"/>
              <a:gd name="T64" fmla="*/ 348 w 908"/>
              <a:gd name="T65" fmla="*/ 221 h 907"/>
              <a:gd name="T66" fmla="*/ 378 w 908"/>
              <a:gd name="T67" fmla="*/ 222 h 907"/>
              <a:gd name="T68" fmla="*/ 404 w 908"/>
              <a:gd name="T69" fmla="*/ 228 h 907"/>
              <a:gd name="T70" fmla="*/ 427 w 908"/>
              <a:gd name="T71" fmla="*/ 238 h 907"/>
              <a:gd name="T72" fmla="*/ 448 w 908"/>
              <a:gd name="T73" fmla="*/ 254 h 907"/>
              <a:gd name="T74" fmla="*/ 465 w 908"/>
              <a:gd name="T75" fmla="*/ 275 h 907"/>
              <a:gd name="T76" fmla="*/ 481 w 908"/>
              <a:gd name="T77" fmla="*/ 282 h 907"/>
              <a:gd name="T78" fmla="*/ 502 w 908"/>
              <a:gd name="T79" fmla="*/ 257 h 907"/>
              <a:gd name="T80" fmla="*/ 526 w 908"/>
              <a:gd name="T81" fmla="*/ 240 h 907"/>
              <a:gd name="T82" fmla="*/ 552 w 908"/>
              <a:gd name="T83" fmla="*/ 228 h 907"/>
              <a:gd name="T84" fmla="*/ 576 w 908"/>
              <a:gd name="T85" fmla="*/ 222 h 907"/>
              <a:gd name="T86" fmla="*/ 611 w 908"/>
              <a:gd name="T87" fmla="*/ 221 h 907"/>
              <a:gd name="T88" fmla="*/ 649 w 908"/>
              <a:gd name="T89" fmla="*/ 229 h 907"/>
              <a:gd name="T90" fmla="*/ 674 w 908"/>
              <a:gd name="T91" fmla="*/ 240 h 907"/>
              <a:gd name="T92" fmla="*/ 692 w 908"/>
              <a:gd name="T93" fmla="*/ 253 h 907"/>
              <a:gd name="T94" fmla="*/ 707 w 908"/>
              <a:gd name="T95" fmla="*/ 270 h 907"/>
              <a:gd name="T96" fmla="*/ 721 w 908"/>
              <a:gd name="T97" fmla="*/ 290 h 907"/>
              <a:gd name="T98" fmla="*/ 731 w 908"/>
              <a:gd name="T99" fmla="*/ 315 h 907"/>
              <a:gd name="T100" fmla="*/ 739 w 908"/>
              <a:gd name="T101" fmla="*/ 346 h 907"/>
              <a:gd name="T102" fmla="*/ 742 w 908"/>
              <a:gd name="T103" fmla="*/ 381 h 907"/>
              <a:gd name="T104" fmla="*/ 0 w 908"/>
              <a:gd name="T105" fmla="*/ 907 h 907"/>
              <a:gd name="T106" fmla="*/ 908 w 908"/>
              <a:gd name="T107" fmla="*/ 453 h 907"/>
              <a:gd name="T108" fmla="*/ 0 w 908"/>
              <a:gd name="T109" fmla="*/ 0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743" y="408"/>
                </a:moveTo>
                <a:lnTo>
                  <a:pt x="743" y="675"/>
                </a:lnTo>
                <a:lnTo>
                  <a:pt x="653" y="675"/>
                </a:lnTo>
                <a:lnTo>
                  <a:pt x="653" y="409"/>
                </a:lnTo>
                <a:lnTo>
                  <a:pt x="652" y="390"/>
                </a:lnTo>
                <a:lnTo>
                  <a:pt x="651" y="382"/>
                </a:lnTo>
                <a:lnTo>
                  <a:pt x="650" y="374"/>
                </a:lnTo>
                <a:lnTo>
                  <a:pt x="648" y="360"/>
                </a:lnTo>
                <a:lnTo>
                  <a:pt x="644" y="348"/>
                </a:lnTo>
                <a:lnTo>
                  <a:pt x="640" y="337"/>
                </a:lnTo>
                <a:lnTo>
                  <a:pt x="636" y="328"/>
                </a:lnTo>
                <a:lnTo>
                  <a:pt x="630" y="320"/>
                </a:lnTo>
                <a:lnTo>
                  <a:pt x="625" y="314"/>
                </a:lnTo>
                <a:lnTo>
                  <a:pt x="619" y="309"/>
                </a:lnTo>
                <a:lnTo>
                  <a:pt x="613" y="305"/>
                </a:lnTo>
                <a:lnTo>
                  <a:pt x="607" y="302"/>
                </a:lnTo>
                <a:lnTo>
                  <a:pt x="601" y="299"/>
                </a:lnTo>
                <a:lnTo>
                  <a:pt x="595" y="298"/>
                </a:lnTo>
                <a:lnTo>
                  <a:pt x="589" y="297"/>
                </a:lnTo>
                <a:lnTo>
                  <a:pt x="584" y="297"/>
                </a:lnTo>
                <a:lnTo>
                  <a:pt x="579" y="296"/>
                </a:lnTo>
                <a:lnTo>
                  <a:pt x="575" y="297"/>
                </a:lnTo>
                <a:lnTo>
                  <a:pt x="571" y="297"/>
                </a:lnTo>
                <a:lnTo>
                  <a:pt x="565" y="298"/>
                </a:lnTo>
                <a:lnTo>
                  <a:pt x="559" y="299"/>
                </a:lnTo>
                <a:lnTo>
                  <a:pt x="552" y="301"/>
                </a:lnTo>
                <a:lnTo>
                  <a:pt x="546" y="304"/>
                </a:lnTo>
                <a:lnTo>
                  <a:pt x="539" y="308"/>
                </a:lnTo>
                <a:lnTo>
                  <a:pt x="532" y="313"/>
                </a:lnTo>
                <a:lnTo>
                  <a:pt x="526" y="320"/>
                </a:lnTo>
                <a:lnTo>
                  <a:pt x="520" y="327"/>
                </a:lnTo>
                <a:lnTo>
                  <a:pt x="517" y="332"/>
                </a:lnTo>
                <a:lnTo>
                  <a:pt x="514" y="337"/>
                </a:lnTo>
                <a:lnTo>
                  <a:pt x="511" y="342"/>
                </a:lnTo>
                <a:lnTo>
                  <a:pt x="509" y="348"/>
                </a:lnTo>
                <a:lnTo>
                  <a:pt x="507" y="354"/>
                </a:lnTo>
                <a:lnTo>
                  <a:pt x="505" y="360"/>
                </a:lnTo>
                <a:lnTo>
                  <a:pt x="503" y="368"/>
                </a:lnTo>
                <a:lnTo>
                  <a:pt x="502" y="375"/>
                </a:lnTo>
                <a:lnTo>
                  <a:pt x="500" y="392"/>
                </a:lnTo>
                <a:lnTo>
                  <a:pt x="499" y="402"/>
                </a:lnTo>
                <a:lnTo>
                  <a:pt x="499" y="411"/>
                </a:lnTo>
                <a:lnTo>
                  <a:pt x="499" y="675"/>
                </a:lnTo>
                <a:lnTo>
                  <a:pt x="410" y="675"/>
                </a:lnTo>
                <a:lnTo>
                  <a:pt x="410" y="409"/>
                </a:lnTo>
                <a:lnTo>
                  <a:pt x="409" y="390"/>
                </a:lnTo>
                <a:lnTo>
                  <a:pt x="409" y="382"/>
                </a:lnTo>
                <a:lnTo>
                  <a:pt x="408" y="374"/>
                </a:lnTo>
                <a:lnTo>
                  <a:pt x="405" y="360"/>
                </a:lnTo>
                <a:lnTo>
                  <a:pt x="402" y="348"/>
                </a:lnTo>
                <a:lnTo>
                  <a:pt x="398" y="337"/>
                </a:lnTo>
                <a:lnTo>
                  <a:pt x="393" y="328"/>
                </a:lnTo>
                <a:lnTo>
                  <a:pt x="388" y="320"/>
                </a:lnTo>
                <a:lnTo>
                  <a:pt x="382" y="314"/>
                </a:lnTo>
                <a:lnTo>
                  <a:pt x="376" y="309"/>
                </a:lnTo>
                <a:lnTo>
                  <a:pt x="370" y="305"/>
                </a:lnTo>
                <a:lnTo>
                  <a:pt x="364" y="302"/>
                </a:lnTo>
                <a:lnTo>
                  <a:pt x="358" y="299"/>
                </a:lnTo>
                <a:lnTo>
                  <a:pt x="352" y="298"/>
                </a:lnTo>
                <a:lnTo>
                  <a:pt x="347" y="297"/>
                </a:lnTo>
                <a:lnTo>
                  <a:pt x="342" y="297"/>
                </a:lnTo>
                <a:lnTo>
                  <a:pt x="337" y="296"/>
                </a:lnTo>
                <a:lnTo>
                  <a:pt x="333" y="297"/>
                </a:lnTo>
                <a:lnTo>
                  <a:pt x="328" y="297"/>
                </a:lnTo>
                <a:lnTo>
                  <a:pt x="323" y="298"/>
                </a:lnTo>
                <a:lnTo>
                  <a:pt x="317" y="299"/>
                </a:lnTo>
                <a:lnTo>
                  <a:pt x="310" y="301"/>
                </a:lnTo>
                <a:lnTo>
                  <a:pt x="304" y="304"/>
                </a:lnTo>
                <a:lnTo>
                  <a:pt x="297" y="308"/>
                </a:lnTo>
                <a:lnTo>
                  <a:pt x="291" y="313"/>
                </a:lnTo>
                <a:lnTo>
                  <a:pt x="284" y="320"/>
                </a:lnTo>
                <a:lnTo>
                  <a:pt x="278" y="327"/>
                </a:lnTo>
                <a:lnTo>
                  <a:pt x="276" y="332"/>
                </a:lnTo>
                <a:lnTo>
                  <a:pt x="273" y="337"/>
                </a:lnTo>
                <a:lnTo>
                  <a:pt x="268" y="348"/>
                </a:lnTo>
                <a:lnTo>
                  <a:pt x="264" y="360"/>
                </a:lnTo>
                <a:lnTo>
                  <a:pt x="262" y="368"/>
                </a:lnTo>
                <a:lnTo>
                  <a:pt x="261" y="375"/>
                </a:lnTo>
                <a:lnTo>
                  <a:pt x="259" y="392"/>
                </a:lnTo>
                <a:lnTo>
                  <a:pt x="259" y="402"/>
                </a:lnTo>
                <a:lnTo>
                  <a:pt x="258" y="411"/>
                </a:lnTo>
                <a:lnTo>
                  <a:pt x="258" y="675"/>
                </a:lnTo>
                <a:lnTo>
                  <a:pt x="169" y="675"/>
                </a:lnTo>
                <a:lnTo>
                  <a:pt x="169" y="230"/>
                </a:lnTo>
                <a:lnTo>
                  <a:pt x="255" y="230"/>
                </a:lnTo>
                <a:lnTo>
                  <a:pt x="255" y="280"/>
                </a:lnTo>
                <a:lnTo>
                  <a:pt x="260" y="272"/>
                </a:lnTo>
                <a:lnTo>
                  <a:pt x="265" y="264"/>
                </a:lnTo>
                <a:lnTo>
                  <a:pt x="271" y="257"/>
                </a:lnTo>
                <a:lnTo>
                  <a:pt x="277" y="251"/>
                </a:lnTo>
                <a:lnTo>
                  <a:pt x="284" y="246"/>
                </a:lnTo>
                <a:lnTo>
                  <a:pt x="291" y="241"/>
                </a:lnTo>
                <a:lnTo>
                  <a:pt x="298" y="237"/>
                </a:lnTo>
                <a:lnTo>
                  <a:pt x="305" y="233"/>
                </a:lnTo>
                <a:lnTo>
                  <a:pt x="312" y="230"/>
                </a:lnTo>
                <a:lnTo>
                  <a:pt x="319" y="227"/>
                </a:lnTo>
                <a:lnTo>
                  <a:pt x="334" y="223"/>
                </a:lnTo>
                <a:lnTo>
                  <a:pt x="341" y="222"/>
                </a:lnTo>
                <a:lnTo>
                  <a:pt x="348" y="221"/>
                </a:lnTo>
                <a:lnTo>
                  <a:pt x="360" y="221"/>
                </a:lnTo>
                <a:lnTo>
                  <a:pt x="369" y="221"/>
                </a:lnTo>
                <a:lnTo>
                  <a:pt x="378" y="222"/>
                </a:lnTo>
                <a:lnTo>
                  <a:pt x="387" y="223"/>
                </a:lnTo>
                <a:lnTo>
                  <a:pt x="395" y="225"/>
                </a:lnTo>
                <a:lnTo>
                  <a:pt x="404" y="228"/>
                </a:lnTo>
                <a:lnTo>
                  <a:pt x="412" y="231"/>
                </a:lnTo>
                <a:lnTo>
                  <a:pt x="419" y="234"/>
                </a:lnTo>
                <a:lnTo>
                  <a:pt x="427" y="238"/>
                </a:lnTo>
                <a:lnTo>
                  <a:pt x="434" y="243"/>
                </a:lnTo>
                <a:lnTo>
                  <a:pt x="441" y="248"/>
                </a:lnTo>
                <a:lnTo>
                  <a:pt x="448" y="254"/>
                </a:lnTo>
                <a:lnTo>
                  <a:pt x="454" y="261"/>
                </a:lnTo>
                <a:lnTo>
                  <a:pt x="460" y="268"/>
                </a:lnTo>
                <a:lnTo>
                  <a:pt x="465" y="275"/>
                </a:lnTo>
                <a:lnTo>
                  <a:pt x="470" y="283"/>
                </a:lnTo>
                <a:lnTo>
                  <a:pt x="475" y="292"/>
                </a:lnTo>
                <a:lnTo>
                  <a:pt x="481" y="282"/>
                </a:lnTo>
                <a:lnTo>
                  <a:pt x="488" y="273"/>
                </a:lnTo>
                <a:lnTo>
                  <a:pt x="495" y="265"/>
                </a:lnTo>
                <a:lnTo>
                  <a:pt x="502" y="257"/>
                </a:lnTo>
                <a:lnTo>
                  <a:pt x="510" y="251"/>
                </a:lnTo>
                <a:lnTo>
                  <a:pt x="518" y="245"/>
                </a:lnTo>
                <a:lnTo>
                  <a:pt x="526" y="240"/>
                </a:lnTo>
                <a:lnTo>
                  <a:pt x="535" y="235"/>
                </a:lnTo>
                <a:lnTo>
                  <a:pt x="543" y="232"/>
                </a:lnTo>
                <a:lnTo>
                  <a:pt x="552" y="228"/>
                </a:lnTo>
                <a:lnTo>
                  <a:pt x="560" y="226"/>
                </a:lnTo>
                <a:lnTo>
                  <a:pt x="568" y="224"/>
                </a:lnTo>
                <a:lnTo>
                  <a:pt x="576" y="222"/>
                </a:lnTo>
                <a:lnTo>
                  <a:pt x="584" y="221"/>
                </a:lnTo>
                <a:lnTo>
                  <a:pt x="598" y="221"/>
                </a:lnTo>
                <a:lnTo>
                  <a:pt x="611" y="221"/>
                </a:lnTo>
                <a:lnTo>
                  <a:pt x="624" y="223"/>
                </a:lnTo>
                <a:lnTo>
                  <a:pt x="636" y="225"/>
                </a:lnTo>
                <a:lnTo>
                  <a:pt x="649" y="229"/>
                </a:lnTo>
                <a:lnTo>
                  <a:pt x="662" y="234"/>
                </a:lnTo>
                <a:lnTo>
                  <a:pt x="668" y="237"/>
                </a:lnTo>
                <a:lnTo>
                  <a:pt x="674" y="240"/>
                </a:lnTo>
                <a:lnTo>
                  <a:pt x="680" y="244"/>
                </a:lnTo>
                <a:lnTo>
                  <a:pt x="686" y="248"/>
                </a:lnTo>
                <a:lnTo>
                  <a:pt x="692" y="253"/>
                </a:lnTo>
                <a:lnTo>
                  <a:pt x="697" y="258"/>
                </a:lnTo>
                <a:lnTo>
                  <a:pt x="702" y="264"/>
                </a:lnTo>
                <a:lnTo>
                  <a:pt x="707" y="270"/>
                </a:lnTo>
                <a:lnTo>
                  <a:pt x="712" y="276"/>
                </a:lnTo>
                <a:lnTo>
                  <a:pt x="716" y="283"/>
                </a:lnTo>
                <a:lnTo>
                  <a:pt x="721" y="290"/>
                </a:lnTo>
                <a:lnTo>
                  <a:pt x="724" y="298"/>
                </a:lnTo>
                <a:lnTo>
                  <a:pt x="728" y="307"/>
                </a:lnTo>
                <a:lnTo>
                  <a:pt x="731" y="315"/>
                </a:lnTo>
                <a:lnTo>
                  <a:pt x="734" y="325"/>
                </a:lnTo>
                <a:lnTo>
                  <a:pt x="736" y="335"/>
                </a:lnTo>
                <a:lnTo>
                  <a:pt x="739" y="346"/>
                </a:lnTo>
                <a:lnTo>
                  <a:pt x="740" y="357"/>
                </a:lnTo>
                <a:lnTo>
                  <a:pt x="741" y="369"/>
                </a:lnTo>
                <a:lnTo>
                  <a:pt x="742" y="381"/>
                </a:lnTo>
                <a:lnTo>
                  <a:pt x="743" y="394"/>
                </a:lnTo>
                <a:lnTo>
                  <a:pt x="743" y="408"/>
                </a:lnTo>
                <a:close/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4" name="Freeform 17"/>
          <p:cNvSpPr>
            <a:spLocks noChangeAspect="1" noEditPoints="1"/>
          </p:cNvSpPr>
          <p:nvPr userDrawn="1"/>
        </p:nvSpPr>
        <p:spPr bwMode="auto">
          <a:xfrm>
            <a:off x="5224114" y="2571453"/>
            <a:ext cx="1306033" cy="1285880"/>
          </a:xfrm>
          <a:custGeom>
            <a:avLst/>
            <a:gdLst>
              <a:gd name="T0" fmla="*/ 587 w 907"/>
              <a:gd name="T1" fmla="*/ 676 h 908"/>
              <a:gd name="T2" fmla="*/ 587 w 907"/>
              <a:gd name="T3" fmla="*/ 444 h 908"/>
              <a:gd name="T4" fmla="*/ 586 w 907"/>
              <a:gd name="T5" fmla="*/ 428 h 908"/>
              <a:gd name="T6" fmla="*/ 583 w 907"/>
              <a:gd name="T7" fmla="*/ 412 h 908"/>
              <a:gd name="T8" fmla="*/ 580 w 907"/>
              <a:gd name="T9" fmla="*/ 397 h 908"/>
              <a:gd name="T10" fmla="*/ 575 w 907"/>
              <a:gd name="T11" fmla="*/ 383 h 908"/>
              <a:gd name="T12" fmla="*/ 566 w 907"/>
              <a:gd name="T13" fmla="*/ 364 h 908"/>
              <a:gd name="T14" fmla="*/ 555 w 907"/>
              <a:gd name="T15" fmla="*/ 347 h 908"/>
              <a:gd name="T16" fmla="*/ 546 w 907"/>
              <a:gd name="T17" fmla="*/ 337 h 908"/>
              <a:gd name="T18" fmla="*/ 532 w 907"/>
              <a:gd name="T19" fmla="*/ 325 h 908"/>
              <a:gd name="T20" fmla="*/ 516 w 907"/>
              <a:gd name="T21" fmla="*/ 314 h 908"/>
              <a:gd name="T22" fmla="*/ 504 w 907"/>
              <a:gd name="T23" fmla="*/ 309 h 908"/>
              <a:gd name="T24" fmla="*/ 492 w 907"/>
              <a:gd name="T25" fmla="*/ 305 h 908"/>
              <a:gd name="T26" fmla="*/ 479 w 907"/>
              <a:gd name="T27" fmla="*/ 303 h 908"/>
              <a:gd name="T28" fmla="*/ 460 w 907"/>
              <a:gd name="T29" fmla="*/ 301 h 908"/>
              <a:gd name="T30" fmla="*/ 439 w 907"/>
              <a:gd name="T31" fmla="*/ 302 h 908"/>
              <a:gd name="T32" fmla="*/ 419 w 907"/>
              <a:gd name="T33" fmla="*/ 307 h 908"/>
              <a:gd name="T34" fmla="*/ 407 w 907"/>
              <a:gd name="T35" fmla="*/ 312 h 908"/>
              <a:gd name="T36" fmla="*/ 395 w 907"/>
              <a:gd name="T37" fmla="*/ 317 h 908"/>
              <a:gd name="T38" fmla="*/ 383 w 907"/>
              <a:gd name="T39" fmla="*/ 325 h 908"/>
              <a:gd name="T40" fmla="*/ 373 w 907"/>
              <a:gd name="T41" fmla="*/ 333 h 908"/>
              <a:gd name="T42" fmla="*/ 363 w 907"/>
              <a:gd name="T43" fmla="*/ 343 h 908"/>
              <a:gd name="T44" fmla="*/ 354 w 907"/>
              <a:gd name="T45" fmla="*/ 354 h 908"/>
              <a:gd name="T46" fmla="*/ 345 w 907"/>
              <a:gd name="T47" fmla="*/ 366 h 908"/>
              <a:gd name="T48" fmla="*/ 335 w 907"/>
              <a:gd name="T49" fmla="*/ 387 h 908"/>
              <a:gd name="T50" fmla="*/ 327 w 907"/>
              <a:gd name="T51" fmla="*/ 410 h 908"/>
              <a:gd name="T52" fmla="*/ 324 w 907"/>
              <a:gd name="T53" fmla="*/ 427 h 908"/>
              <a:gd name="T54" fmla="*/ 321 w 907"/>
              <a:gd name="T55" fmla="*/ 446 h 908"/>
              <a:gd name="T56" fmla="*/ 321 w 907"/>
              <a:gd name="T57" fmla="*/ 676 h 908"/>
              <a:gd name="T58" fmla="*/ 231 w 907"/>
              <a:gd name="T59" fmla="*/ 230 h 908"/>
              <a:gd name="T60" fmla="*/ 318 w 907"/>
              <a:gd name="T61" fmla="*/ 305 h 908"/>
              <a:gd name="T62" fmla="*/ 329 w 907"/>
              <a:gd name="T63" fmla="*/ 286 h 908"/>
              <a:gd name="T64" fmla="*/ 344 w 907"/>
              <a:gd name="T65" fmla="*/ 270 h 908"/>
              <a:gd name="T66" fmla="*/ 352 w 907"/>
              <a:gd name="T67" fmla="*/ 262 h 908"/>
              <a:gd name="T68" fmla="*/ 371 w 907"/>
              <a:gd name="T69" fmla="*/ 249 h 908"/>
              <a:gd name="T70" fmla="*/ 392 w 907"/>
              <a:gd name="T71" fmla="*/ 238 h 908"/>
              <a:gd name="T72" fmla="*/ 414 w 907"/>
              <a:gd name="T73" fmla="*/ 230 h 908"/>
              <a:gd name="T74" fmla="*/ 438 w 907"/>
              <a:gd name="T75" fmla="*/ 224 h 908"/>
              <a:gd name="T76" fmla="*/ 461 w 907"/>
              <a:gd name="T77" fmla="*/ 221 h 908"/>
              <a:gd name="T78" fmla="*/ 492 w 907"/>
              <a:gd name="T79" fmla="*/ 221 h 908"/>
              <a:gd name="T80" fmla="*/ 520 w 907"/>
              <a:gd name="T81" fmla="*/ 225 h 908"/>
              <a:gd name="T82" fmla="*/ 538 w 907"/>
              <a:gd name="T83" fmla="*/ 230 h 908"/>
              <a:gd name="T84" fmla="*/ 556 w 907"/>
              <a:gd name="T85" fmla="*/ 236 h 908"/>
              <a:gd name="T86" fmla="*/ 573 w 907"/>
              <a:gd name="T87" fmla="*/ 244 h 908"/>
              <a:gd name="T88" fmla="*/ 590 w 907"/>
              <a:gd name="T89" fmla="*/ 253 h 908"/>
              <a:gd name="T90" fmla="*/ 605 w 907"/>
              <a:gd name="T91" fmla="*/ 265 h 908"/>
              <a:gd name="T92" fmla="*/ 619 w 907"/>
              <a:gd name="T93" fmla="*/ 278 h 908"/>
              <a:gd name="T94" fmla="*/ 632 w 907"/>
              <a:gd name="T95" fmla="*/ 293 h 908"/>
              <a:gd name="T96" fmla="*/ 644 w 907"/>
              <a:gd name="T97" fmla="*/ 310 h 908"/>
              <a:gd name="T98" fmla="*/ 654 w 907"/>
              <a:gd name="T99" fmla="*/ 328 h 908"/>
              <a:gd name="T100" fmla="*/ 663 w 907"/>
              <a:gd name="T101" fmla="*/ 349 h 908"/>
              <a:gd name="T102" fmla="*/ 669 w 907"/>
              <a:gd name="T103" fmla="*/ 372 h 908"/>
              <a:gd name="T104" fmla="*/ 674 w 907"/>
              <a:gd name="T105" fmla="*/ 397 h 908"/>
              <a:gd name="T106" fmla="*/ 676 w 907"/>
              <a:gd name="T107" fmla="*/ 424 h 908"/>
              <a:gd name="T108" fmla="*/ 676 w 907"/>
              <a:gd name="T109" fmla="*/ 676 h 908"/>
              <a:gd name="T110" fmla="*/ 453 w 907"/>
              <a:gd name="T111" fmla="*/ 908 h 908"/>
              <a:gd name="T112" fmla="*/ 907 w 907"/>
              <a:gd name="T113" fmla="*/ 453 h 908"/>
              <a:gd name="T114" fmla="*/ 453 w 907"/>
              <a:gd name="T115" fmla="*/ 0 h 908"/>
              <a:gd name="T116" fmla="*/ 0 w 907"/>
              <a:gd name="T117" fmla="*/ 453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7" h="908">
                <a:moveTo>
                  <a:pt x="676" y="676"/>
                </a:moveTo>
                <a:lnTo>
                  <a:pt x="587" y="676"/>
                </a:lnTo>
                <a:lnTo>
                  <a:pt x="587" y="453"/>
                </a:lnTo>
                <a:lnTo>
                  <a:pt x="587" y="444"/>
                </a:lnTo>
                <a:lnTo>
                  <a:pt x="586" y="436"/>
                </a:lnTo>
                <a:lnTo>
                  <a:pt x="586" y="428"/>
                </a:lnTo>
                <a:lnTo>
                  <a:pt x="585" y="420"/>
                </a:lnTo>
                <a:lnTo>
                  <a:pt x="583" y="412"/>
                </a:lnTo>
                <a:lnTo>
                  <a:pt x="581" y="404"/>
                </a:lnTo>
                <a:lnTo>
                  <a:pt x="580" y="397"/>
                </a:lnTo>
                <a:lnTo>
                  <a:pt x="577" y="390"/>
                </a:lnTo>
                <a:lnTo>
                  <a:pt x="575" y="383"/>
                </a:lnTo>
                <a:lnTo>
                  <a:pt x="572" y="376"/>
                </a:lnTo>
                <a:lnTo>
                  <a:pt x="566" y="364"/>
                </a:lnTo>
                <a:lnTo>
                  <a:pt x="559" y="352"/>
                </a:lnTo>
                <a:lnTo>
                  <a:pt x="555" y="347"/>
                </a:lnTo>
                <a:lnTo>
                  <a:pt x="550" y="342"/>
                </a:lnTo>
                <a:lnTo>
                  <a:pt x="546" y="337"/>
                </a:lnTo>
                <a:lnTo>
                  <a:pt x="541" y="333"/>
                </a:lnTo>
                <a:lnTo>
                  <a:pt x="532" y="325"/>
                </a:lnTo>
                <a:lnTo>
                  <a:pt x="521" y="317"/>
                </a:lnTo>
                <a:lnTo>
                  <a:pt x="516" y="314"/>
                </a:lnTo>
                <a:lnTo>
                  <a:pt x="510" y="312"/>
                </a:lnTo>
                <a:lnTo>
                  <a:pt x="504" y="309"/>
                </a:lnTo>
                <a:lnTo>
                  <a:pt x="498" y="307"/>
                </a:lnTo>
                <a:lnTo>
                  <a:pt x="492" y="305"/>
                </a:lnTo>
                <a:lnTo>
                  <a:pt x="486" y="304"/>
                </a:lnTo>
                <a:lnTo>
                  <a:pt x="479" y="303"/>
                </a:lnTo>
                <a:lnTo>
                  <a:pt x="473" y="302"/>
                </a:lnTo>
                <a:lnTo>
                  <a:pt x="460" y="301"/>
                </a:lnTo>
                <a:lnTo>
                  <a:pt x="446" y="302"/>
                </a:lnTo>
                <a:lnTo>
                  <a:pt x="439" y="302"/>
                </a:lnTo>
                <a:lnTo>
                  <a:pt x="432" y="304"/>
                </a:lnTo>
                <a:lnTo>
                  <a:pt x="419" y="307"/>
                </a:lnTo>
                <a:lnTo>
                  <a:pt x="413" y="309"/>
                </a:lnTo>
                <a:lnTo>
                  <a:pt x="407" y="312"/>
                </a:lnTo>
                <a:lnTo>
                  <a:pt x="401" y="314"/>
                </a:lnTo>
                <a:lnTo>
                  <a:pt x="395" y="317"/>
                </a:lnTo>
                <a:lnTo>
                  <a:pt x="389" y="321"/>
                </a:lnTo>
                <a:lnTo>
                  <a:pt x="383" y="325"/>
                </a:lnTo>
                <a:lnTo>
                  <a:pt x="378" y="329"/>
                </a:lnTo>
                <a:lnTo>
                  <a:pt x="373" y="333"/>
                </a:lnTo>
                <a:lnTo>
                  <a:pt x="367" y="338"/>
                </a:lnTo>
                <a:lnTo>
                  <a:pt x="363" y="343"/>
                </a:lnTo>
                <a:lnTo>
                  <a:pt x="358" y="348"/>
                </a:lnTo>
                <a:lnTo>
                  <a:pt x="354" y="354"/>
                </a:lnTo>
                <a:lnTo>
                  <a:pt x="349" y="360"/>
                </a:lnTo>
                <a:lnTo>
                  <a:pt x="345" y="366"/>
                </a:lnTo>
                <a:lnTo>
                  <a:pt x="338" y="380"/>
                </a:lnTo>
                <a:lnTo>
                  <a:pt x="335" y="387"/>
                </a:lnTo>
                <a:lnTo>
                  <a:pt x="332" y="394"/>
                </a:lnTo>
                <a:lnTo>
                  <a:pt x="327" y="410"/>
                </a:lnTo>
                <a:lnTo>
                  <a:pt x="325" y="419"/>
                </a:lnTo>
                <a:lnTo>
                  <a:pt x="324" y="427"/>
                </a:lnTo>
                <a:lnTo>
                  <a:pt x="322" y="436"/>
                </a:lnTo>
                <a:lnTo>
                  <a:pt x="321" y="446"/>
                </a:lnTo>
                <a:lnTo>
                  <a:pt x="321" y="466"/>
                </a:lnTo>
                <a:lnTo>
                  <a:pt x="321" y="676"/>
                </a:lnTo>
                <a:lnTo>
                  <a:pt x="231" y="676"/>
                </a:lnTo>
                <a:lnTo>
                  <a:pt x="231" y="230"/>
                </a:lnTo>
                <a:lnTo>
                  <a:pt x="318" y="230"/>
                </a:lnTo>
                <a:lnTo>
                  <a:pt x="318" y="305"/>
                </a:lnTo>
                <a:lnTo>
                  <a:pt x="323" y="296"/>
                </a:lnTo>
                <a:lnTo>
                  <a:pt x="329" y="286"/>
                </a:lnTo>
                <a:lnTo>
                  <a:pt x="336" y="278"/>
                </a:lnTo>
                <a:lnTo>
                  <a:pt x="344" y="270"/>
                </a:lnTo>
                <a:lnTo>
                  <a:pt x="348" y="266"/>
                </a:lnTo>
                <a:lnTo>
                  <a:pt x="352" y="262"/>
                </a:lnTo>
                <a:lnTo>
                  <a:pt x="361" y="255"/>
                </a:lnTo>
                <a:lnTo>
                  <a:pt x="371" y="249"/>
                </a:lnTo>
                <a:lnTo>
                  <a:pt x="381" y="243"/>
                </a:lnTo>
                <a:lnTo>
                  <a:pt x="392" y="238"/>
                </a:lnTo>
                <a:lnTo>
                  <a:pt x="403" y="233"/>
                </a:lnTo>
                <a:lnTo>
                  <a:pt x="414" y="230"/>
                </a:lnTo>
                <a:lnTo>
                  <a:pt x="426" y="226"/>
                </a:lnTo>
                <a:lnTo>
                  <a:pt x="438" y="224"/>
                </a:lnTo>
                <a:lnTo>
                  <a:pt x="449" y="222"/>
                </a:lnTo>
                <a:lnTo>
                  <a:pt x="461" y="221"/>
                </a:lnTo>
                <a:lnTo>
                  <a:pt x="473" y="221"/>
                </a:lnTo>
                <a:lnTo>
                  <a:pt x="492" y="221"/>
                </a:lnTo>
                <a:lnTo>
                  <a:pt x="511" y="224"/>
                </a:lnTo>
                <a:lnTo>
                  <a:pt x="520" y="225"/>
                </a:lnTo>
                <a:lnTo>
                  <a:pt x="529" y="227"/>
                </a:lnTo>
                <a:lnTo>
                  <a:pt x="538" y="230"/>
                </a:lnTo>
                <a:lnTo>
                  <a:pt x="547" y="233"/>
                </a:lnTo>
                <a:lnTo>
                  <a:pt x="556" y="236"/>
                </a:lnTo>
                <a:lnTo>
                  <a:pt x="565" y="240"/>
                </a:lnTo>
                <a:lnTo>
                  <a:pt x="573" y="244"/>
                </a:lnTo>
                <a:lnTo>
                  <a:pt x="582" y="248"/>
                </a:lnTo>
                <a:lnTo>
                  <a:pt x="590" y="253"/>
                </a:lnTo>
                <a:lnTo>
                  <a:pt x="597" y="259"/>
                </a:lnTo>
                <a:lnTo>
                  <a:pt x="605" y="265"/>
                </a:lnTo>
                <a:lnTo>
                  <a:pt x="612" y="271"/>
                </a:lnTo>
                <a:lnTo>
                  <a:pt x="619" y="278"/>
                </a:lnTo>
                <a:lnTo>
                  <a:pt x="626" y="285"/>
                </a:lnTo>
                <a:lnTo>
                  <a:pt x="632" y="293"/>
                </a:lnTo>
                <a:lnTo>
                  <a:pt x="638" y="301"/>
                </a:lnTo>
                <a:lnTo>
                  <a:pt x="644" y="310"/>
                </a:lnTo>
                <a:lnTo>
                  <a:pt x="649" y="319"/>
                </a:lnTo>
                <a:lnTo>
                  <a:pt x="654" y="328"/>
                </a:lnTo>
                <a:lnTo>
                  <a:pt x="659" y="338"/>
                </a:lnTo>
                <a:lnTo>
                  <a:pt x="663" y="349"/>
                </a:lnTo>
                <a:lnTo>
                  <a:pt x="666" y="360"/>
                </a:lnTo>
                <a:lnTo>
                  <a:pt x="669" y="372"/>
                </a:lnTo>
                <a:lnTo>
                  <a:pt x="672" y="384"/>
                </a:lnTo>
                <a:lnTo>
                  <a:pt x="674" y="397"/>
                </a:lnTo>
                <a:lnTo>
                  <a:pt x="675" y="410"/>
                </a:lnTo>
                <a:lnTo>
                  <a:pt x="676" y="424"/>
                </a:lnTo>
                <a:lnTo>
                  <a:pt x="676" y="438"/>
                </a:lnTo>
                <a:lnTo>
                  <a:pt x="676" y="676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3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5" name="Freeform 18"/>
          <p:cNvSpPr>
            <a:spLocks noChangeAspect="1" noEditPoints="1"/>
          </p:cNvSpPr>
          <p:nvPr userDrawn="1"/>
        </p:nvSpPr>
        <p:spPr bwMode="auto">
          <a:xfrm>
            <a:off x="7837070" y="1285284"/>
            <a:ext cx="1306033" cy="1285880"/>
          </a:xfrm>
          <a:custGeom>
            <a:avLst/>
            <a:gdLst>
              <a:gd name="T0" fmla="*/ 433 w 907"/>
              <a:gd name="T1" fmla="*/ 300 h 908"/>
              <a:gd name="T2" fmla="*/ 403 w 907"/>
              <a:gd name="T3" fmla="*/ 308 h 908"/>
              <a:gd name="T4" fmla="*/ 366 w 907"/>
              <a:gd name="T5" fmla="*/ 332 h 908"/>
              <a:gd name="T6" fmla="*/ 343 w 907"/>
              <a:gd name="T7" fmla="*/ 360 h 908"/>
              <a:gd name="T8" fmla="*/ 325 w 907"/>
              <a:gd name="T9" fmla="*/ 398 h 908"/>
              <a:gd name="T10" fmla="*/ 316 w 907"/>
              <a:gd name="T11" fmla="*/ 455 h 908"/>
              <a:gd name="T12" fmla="*/ 321 w 907"/>
              <a:gd name="T13" fmla="*/ 497 h 908"/>
              <a:gd name="T14" fmla="*/ 330 w 907"/>
              <a:gd name="T15" fmla="*/ 524 h 908"/>
              <a:gd name="T16" fmla="*/ 343 w 907"/>
              <a:gd name="T17" fmla="*/ 549 h 908"/>
              <a:gd name="T18" fmla="*/ 361 w 907"/>
              <a:gd name="T19" fmla="*/ 571 h 908"/>
              <a:gd name="T20" fmla="*/ 383 w 907"/>
              <a:gd name="T21" fmla="*/ 589 h 908"/>
              <a:gd name="T22" fmla="*/ 410 w 907"/>
              <a:gd name="T23" fmla="*/ 603 h 908"/>
              <a:gd name="T24" fmla="*/ 441 w 907"/>
              <a:gd name="T25" fmla="*/ 610 h 908"/>
              <a:gd name="T26" fmla="*/ 484 w 907"/>
              <a:gd name="T27" fmla="*/ 608 h 908"/>
              <a:gd name="T28" fmla="*/ 520 w 907"/>
              <a:gd name="T29" fmla="*/ 596 h 908"/>
              <a:gd name="T30" fmla="*/ 547 w 907"/>
              <a:gd name="T31" fmla="*/ 577 h 908"/>
              <a:gd name="T32" fmla="*/ 565 w 907"/>
              <a:gd name="T33" fmla="*/ 557 h 908"/>
              <a:gd name="T34" fmla="*/ 583 w 907"/>
              <a:gd name="T35" fmla="*/ 524 h 908"/>
              <a:gd name="T36" fmla="*/ 592 w 907"/>
              <a:gd name="T37" fmla="*/ 483 h 908"/>
              <a:gd name="T38" fmla="*/ 594 w 907"/>
              <a:gd name="T39" fmla="*/ 445 h 908"/>
              <a:gd name="T40" fmla="*/ 587 w 907"/>
              <a:gd name="T41" fmla="*/ 400 h 908"/>
              <a:gd name="T42" fmla="*/ 577 w 907"/>
              <a:gd name="T43" fmla="*/ 370 h 908"/>
              <a:gd name="T44" fmla="*/ 561 w 907"/>
              <a:gd name="T45" fmla="*/ 346 h 908"/>
              <a:gd name="T46" fmla="*/ 526 w 907"/>
              <a:gd name="T47" fmla="*/ 315 h 908"/>
              <a:gd name="T48" fmla="*/ 503 w 907"/>
              <a:gd name="T49" fmla="*/ 305 h 908"/>
              <a:gd name="T50" fmla="*/ 471 w 907"/>
              <a:gd name="T51" fmla="*/ 298 h 908"/>
              <a:gd name="T52" fmla="*/ 453 w 907"/>
              <a:gd name="T53" fmla="*/ 908 h 908"/>
              <a:gd name="T54" fmla="*/ 453 w 907"/>
              <a:gd name="T55" fmla="*/ 0 h 908"/>
              <a:gd name="T56" fmla="*/ 681 w 907"/>
              <a:gd name="T57" fmla="*/ 676 h 908"/>
              <a:gd name="T58" fmla="*/ 585 w 907"/>
              <a:gd name="T59" fmla="*/ 631 h 908"/>
              <a:gd name="T60" fmla="*/ 549 w 907"/>
              <a:gd name="T61" fmla="*/ 660 h 908"/>
              <a:gd name="T62" fmla="*/ 514 w 907"/>
              <a:gd name="T63" fmla="*/ 676 h 908"/>
              <a:gd name="T64" fmla="*/ 473 w 907"/>
              <a:gd name="T65" fmla="*/ 685 h 908"/>
              <a:gd name="T66" fmla="*/ 427 w 907"/>
              <a:gd name="T67" fmla="*/ 685 h 908"/>
              <a:gd name="T68" fmla="*/ 382 w 907"/>
              <a:gd name="T69" fmla="*/ 676 h 908"/>
              <a:gd name="T70" fmla="*/ 342 w 907"/>
              <a:gd name="T71" fmla="*/ 658 h 908"/>
              <a:gd name="T72" fmla="*/ 306 w 907"/>
              <a:gd name="T73" fmla="*/ 633 h 908"/>
              <a:gd name="T74" fmla="*/ 276 w 907"/>
              <a:gd name="T75" fmla="*/ 602 h 908"/>
              <a:gd name="T76" fmla="*/ 253 w 907"/>
              <a:gd name="T77" fmla="*/ 565 h 908"/>
              <a:gd name="T78" fmla="*/ 236 w 907"/>
              <a:gd name="T79" fmla="*/ 523 h 908"/>
              <a:gd name="T80" fmla="*/ 228 w 907"/>
              <a:gd name="T81" fmla="*/ 478 h 908"/>
              <a:gd name="T82" fmla="*/ 228 w 907"/>
              <a:gd name="T83" fmla="*/ 430 h 908"/>
              <a:gd name="T84" fmla="*/ 235 w 907"/>
              <a:gd name="T85" fmla="*/ 390 h 908"/>
              <a:gd name="T86" fmla="*/ 248 w 907"/>
              <a:gd name="T87" fmla="*/ 353 h 908"/>
              <a:gd name="T88" fmla="*/ 270 w 907"/>
              <a:gd name="T89" fmla="*/ 315 h 908"/>
              <a:gd name="T90" fmla="*/ 298 w 907"/>
              <a:gd name="T91" fmla="*/ 282 h 908"/>
              <a:gd name="T92" fmla="*/ 323 w 907"/>
              <a:gd name="T93" fmla="*/ 261 h 908"/>
              <a:gd name="T94" fmla="*/ 361 w 907"/>
              <a:gd name="T95" fmla="*/ 240 h 908"/>
              <a:gd name="T96" fmla="*/ 404 w 907"/>
              <a:gd name="T97" fmla="*/ 227 h 908"/>
              <a:gd name="T98" fmla="*/ 451 w 907"/>
              <a:gd name="T99" fmla="*/ 222 h 908"/>
              <a:gd name="T100" fmla="*/ 494 w 907"/>
              <a:gd name="T101" fmla="*/ 226 h 908"/>
              <a:gd name="T102" fmla="*/ 532 w 907"/>
              <a:gd name="T103" fmla="*/ 239 h 908"/>
              <a:gd name="T104" fmla="*/ 560 w 907"/>
              <a:gd name="T105" fmla="*/ 255 h 908"/>
              <a:gd name="T106" fmla="*/ 585 w 907"/>
              <a:gd name="T107" fmla="*/ 277 h 908"/>
              <a:gd name="T108" fmla="*/ 681 w 907"/>
              <a:gd name="T109" fmla="*/ 676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7" h="908">
                <a:moveTo>
                  <a:pt x="459" y="298"/>
                </a:moveTo>
                <a:lnTo>
                  <a:pt x="450" y="298"/>
                </a:lnTo>
                <a:lnTo>
                  <a:pt x="441" y="299"/>
                </a:lnTo>
                <a:lnTo>
                  <a:pt x="433" y="300"/>
                </a:lnTo>
                <a:lnTo>
                  <a:pt x="425" y="301"/>
                </a:lnTo>
                <a:lnTo>
                  <a:pt x="417" y="303"/>
                </a:lnTo>
                <a:lnTo>
                  <a:pt x="410" y="306"/>
                </a:lnTo>
                <a:lnTo>
                  <a:pt x="403" y="308"/>
                </a:lnTo>
                <a:lnTo>
                  <a:pt x="396" y="312"/>
                </a:lnTo>
                <a:lnTo>
                  <a:pt x="383" y="319"/>
                </a:lnTo>
                <a:lnTo>
                  <a:pt x="371" y="328"/>
                </a:lnTo>
                <a:lnTo>
                  <a:pt x="366" y="332"/>
                </a:lnTo>
                <a:lnTo>
                  <a:pt x="361" y="337"/>
                </a:lnTo>
                <a:lnTo>
                  <a:pt x="351" y="348"/>
                </a:lnTo>
                <a:lnTo>
                  <a:pt x="347" y="354"/>
                </a:lnTo>
                <a:lnTo>
                  <a:pt x="343" y="360"/>
                </a:lnTo>
                <a:lnTo>
                  <a:pt x="336" y="372"/>
                </a:lnTo>
                <a:lnTo>
                  <a:pt x="333" y="378"/>
                </a:lnTo>
                <a:lnTo>
                  <a:pt x="330" y="385"/>
                </a:lnTo>
                <a:lnTo>
                  <a:pt x="325" y="398"/>
                </a:lnTo>
                <a:lnTo>
                  <a:pt x="321" y="412"/>
                </a:lnTo>
                <a:lnTo>
                  <a:pt x="318" y="426"/>
                </a:lnTo>
                <a:lnTo>
                  <a:pt x="316" y="440"/>
                </a:lnTo>
                <a:lnTo>
                  <a:pt x="316" y="455"/>
                </a:lnTo>
                <a:lnTo>
                  <a:pt x="316" y="469"/>
                </a:lnTo>
                <a:lnTo>
                  <a:pt x="317" y="476"/>
                </a:lnTo>
                <a:lnTo>
                  <a:pt x="318" y="483"/>
                </a:lnTo>
                <a:lnTo>
                  <a:pt x="321" y="497"/>
                </a:lnTo>
                <a:lnTo>
                  <a:pt x="323" y="504"/>
                </a:lnTo>
                <a:lnTo>
                  <a:pt x="325" y="511"/>
                </a:lnTo>
                <a:lnTo>
                  <a:pt x="327" y="517"/>
                </a:lnTo>
                <a:lnTo>
                  <a:pt x="330" y="524"/>
                </a:lnTo>
                <a:lnTo>
                  <a:pt x="333" y="530"/>
                </a:lnTo>
                <a:lnTo>
                  <a:pt x="336" y="537"/>
                </a:lnTo>
                <a:lnTo>
                  <a:pt x="339" y="543"/>
                </a:lnTo>
                <a:lnTo>
                  <a:pt x="343" y="549"/>
                </a:lnTo>
                <a:lnTo>
                  <a:pt x="347" y="555"/>
                </a:lnTo>
                <a:lnTo>
                  <a:pt x="351" y="561"/>
                </a:lnTo>
                <a:lnTo>
                  <a:pt x="356" y="566"/>
                </a:lnTo>
                <a:lnTo>
                  <a:pt x="361" y="571"/>
                </a:lnTo>
                <a:lnTo>
                  <a:pt x="366" y="576"/>
                </a:lnTo>
                <a:lnTo>
                  <a:pt x="371" y="581"/>
                </a:lnTo>
                <a:lnTo>
                  <a:pt x="377" y="585"/>
                </a:lnTo>
                <a:lnTo>
                  <a:pt x="383" y="589"/>
                </a:lnTo>
                <a:lnTo>
                  <a:pt x="389" y="593"/>
                </a:lnTo>
                <a:lnTo>
                  <a:pt x="396" y="597"/>
                </a:lnTo>
                <a:lnTo>
                  <a:pt x="403" y="600"/>
                </a:lnTo>
                <a:lnTo>
                  <a:pt x="410" y="603"/>
                </a:lnTo>
                <a:lnTo>
                  <a:pt x="417" y="605"/>
                </a:lnTo>
                <a:lnTo>
                  <a:pt x="425" y="607"/>
                </a:lnTo>
                <a:lnTo>
                  <a:pt x="433" y="608"/>
                </a:lnTo>
                <a:lnTo>
                  <a:pt x="441" y="610"/>
                </a:lnTo>
                <a:lnTo>
                  <a:pt x="450" y="610"/>
                </a:lnTo>
                <a:lnTo>
                  <a:pt x="459" y="611"/>
                </a:lnTo>
                <a:lnTo>
                  <a:pt x="471" y="610"/>
                </a:lnTo>
                <a:lnTo>
                  <a:pt x="484" y="608"/>
                </a:lnTo>
                <a:lnTo>
                  <a:pt x="497" y="605"/>
                </a:lnTo>
                <a:lnTo>
                  <a:pt x="509" y="601"/>
                </a:lnTo>
                <a:lnTo>
                  <a:pt x="515" y="599"/>
                </a:lnTo>
                <a:lnTo>
                  <a:pt x="520" y="596"/>
                </a:lnTo>
                <a:lnTo>
                  <a:pt x="532" y="589"/>
                </a:lnTo>
                <a:lnTo>
                  <a:pt x="537" y="586"/>
                </a:lnTo>
                <a:lnTo>
                  <a:pt x="542" y="582"/>
                </a:lnTo>
                <a:lnTo>
                  <a:pt x="547" y="577"/>
                </a:lnTo>
                <a:lnTo>
                  <a:pt x="552" y="573"/>
                </a:lnTo>
                <a:lnTo>
                  <a:pt x="557" y="568"/>
                </a:lnTo>
                <a:lnTo>
                  <a:pt x="561" y="562"/>
                </a:lnTo>
                <a:lnTo>
                  <a:pt x="565" y="557"/>
                </a:lnTo>
                <a:lnTo>
                  <a:pt x="569" y="551"/>
                </a:lnTo>
                <a:lnTo>
                  <a:pt x="577" y="538"/>
                </a:lnTo>
                <a:lnTo>
                  <a:pt x="580" y="531"/>
                </a:lnTo>
                <a:lnTo>
                  <a:pt x="583" y="524"/>
                </a:lnTo>
                <a:lnTo>
                  <a:pt x="587" y="509"/>
                </a:lnTo>
                <a:lnTo>
                  <a:pt x="589" y="500"/>
                </a:lnTo>
                <a:lnTo>
                  <a:pt x="591" y="492"/>
                </a:lnTo>
                <a:lnTo>
                  <a:pt x="592" y="483"/>
                </a:lnTo>
                <a:lnTo>
                  <a:pt x="593" y="474"/>
                </a:lnTo>
                <a:lnTo>
                  <a:pt x="594" y="464"/>
                </a:lnTo>
                <a:lnTo>
                  <a:pt x="594" y="455"/>
                </a:lnTo>
                <a:lnTo>
                  <a:pt x="594" y="445"/>
                </a:lnTo>
                <a:lnTo>
                  <a:pt x="593" y="435"/>
                </a:lnTo>
                <a:lnTo>
                  <a:pt x="592" y="426"/>
                </a:lnTo>
                <a:lnTo>
                  <a:pt x="591" y="417"/>
                </a:lnTo>
                <a:lnTo>
                  <a:pt x="587" y="400"/>
                </a:lnTo>
                <a:lnTo>
                  <a:pt x="585" y="392"/>
                </a:lnTo>
                <a:lnTo>
                  <a:pt x="583" y="385"/>
                </a:lnTo>
                <a:lnTo>
                  <a:pt x="580" y="377"/>
                </a:lnTo>
                <a:lnTo>
                  <a:pt x="577" y="370"/>
                </a:lnTo>
                <a:lnTo>
                  <a:pt x="573" y="364"/>
                </a:lnTo>
                <a:lnTo>
                  <a:pt x="569" y="357"/>
                </a:lnTo>
                <a:lnTo>
                  <a:pt x="565" y="352"/>
                </a:lnTo>
                <a:lnTo>
                  <a:pt x="561" y="346"/>
                </a:lnTo>
                <a:lnTo>
                  <a:pt x="552" y="336"/>
                </a:lnTo>
                <a:lnTo>
                  <a:pt x="542" y="327"/>
                </a:lnTo>
                <a:lnTo>
                  <a:pt x="532" y="319"/>
                </a:lnTo>
                <a:lnTo>
                  <a:pt x="526" y="315"/>
                </a:lnTo>
                <a:lnTo>
                  <a:pt x="520" y="312"/>
                </a:lnTo>
                <a:lnTo>
                  <a:pt x="515" y="309"/>
                </a:lnTo>
                <a:lnTo>
                  <a:pt x="509" y="307"/>
                </a:lnTo>
                <a:lnTo>
                  <a:pt x="503" y="305"/>
                </a:lnTo>
                <a:lnTo>
                  <a:pt x="497" y="303"/>
                </a:lnTo>
                <a:lnTo>
                  <a:pt x="490" y="301"/>
                </a:lnTo>
                <a:lnTo>
                  <a:pt x="484" y="300"/>
                </a:lnTo>
                <a:lnTo>
                  <a:pt x="471" y="298"/>
                </a:lnTo>
                <a:lnTo>
                  <a:pt x="465" y="298"/>
                </a:lnTo>
                <a:lnTo>
                  <a:pt x="459" y="298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4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4"/>
                </a:lnTo>
                <a:lnTo>
                  <a:pt x="0" y="908"/>
                </a:lnTo>
                <a:close/>
                <a:moveTo>
                  <a:pt x="681" y="676"/>
                </a:moveTo>
                <a:lnTo>
                  <a:pt x="591" y="676"/>
                </a:lnTo>
                <a:lnTo>
                  <a:pt x="591" y="624"/>
                </a:lnTo>
                <a:lnTo>
                  <a:pt x="588" y="627"/>
                </a:lnTo>
                <a:lnTo>
                  <a:pt x="585" y="631"/>
                </a:lnTo>
                <a:lnTo>
                  <a:pt x="579" y="637"/>
                </a:lnTo>
                <a:lnTo>
                  <a:pt x="572" y="644"/>
                </a:lnTo>
                <a:lnTo>
                  <a:pt x="565" y="649"/>
                </a:lnTo>
                <a:lnTo>
                  <a:pt x="549" y="660"/>
                </a:lnTo>
                <a:lnTo>
                  <a:pt x="541" y="665"/>
                </a:lnTo>
                <a:lnTo>
                  <a:pt x="532" y="669"/>
                </a:lnTo>
                <a:lnTo>
                  <a:pt x="523" y="673"/>
                </a:lnTo>
                <a:lnTo>
                  <a:pt x="514" y="676"/>
                </a:lnTo>
                <a:lnTo>
                  <a:pt x="504" y="679"/>
                </a:lnTo>
                <a:lnTo>
                  <a:pt x="494" y="682"/>
                </a:lnTo>
                <a:lnTo>
                  <a:pt x="484" y="684"/>
                </a:lnTo>
                <a:lnTo>
                  <a:pt x="473" y="685"/>
                </a:lnTo>
                <a:lnTo>
                  <a:pt x="462" y="686"/>
                </a:lnTo>
                <a:lnTo>
                  <a:pt x="451" y="686"/>
                </a:lnTo>
                <a:lnTo>
                  <a:pt x="439" y="686"/>
                </a:lnTo>
                <a:lnTo>
                  <a:pt x="427" y="685"/>
                </a:lnTo>
                <a:lnTo>
                  <a:pt x="415" y="684"/>
                </a:lnTo>
                <a:lnTo>
                  <a:pt x="404" y="682"/>
                </a:lnTo>
                <a:lnTo>
                  <a:pt x="393" y="679"/>
                </a:lnTo>
                <a:lnTo>
                  <a:pt x="382" y="676"/>
                </a:lnTo>
                <a:lnTo>
                  <a:pt x="372" y="672"/>
                </a:lnTo>
                <a:lnTo>
                  <a:pt x="361" y="668"/>
                </a:lnTo>
                <a:lnTo>
                  <a:pt x="351" y="663"/>
                </a:lnTo>
                <a:lnTo>
                  <a:pt x="342" y="658"/>
                </a:lnTo>
                <a:lnTo>
                  <a:pt x="332" y="653"/>
                </a:lnTo>
                <a:lnTo>
                  <a:pt x="323" y="647"/>
                </a:lnTo>
                <a:lnTo>
                  <a:pt x="315" y="640"/>
                </a:lnTo>
                <a:lnTo>
                  <a:pt x="306" y="633"/>
                </a:lnTo>
                <a:lnTo>
                  <a:pt x="298" y="626"/>
                </a:lnTo>
                <a:lnTo>
                  <a:pt x="291" y="618"/>
                </a:lnTo>
                <a:lnTo>
                  <a:pt x="283" y="610"/>
                </a:lnTo>
                <a:lnTo>
                  <a:pt x="276" y="602"/>
                </a:lnTo>
                <a:lnTo>
                  <a:pt x="270" y="593"/>
                </a:lnTo>
                <a:lnTo>
                  <a:pt x="264" y="584"/>
                </a:lnTo>
                <a:lnTo>
                  <a:pt x="258" y="575"/>
                </a:lnTo>
                <a:lnTo>
                  <a:pt x="253" y="565"/>
                </a:lnTo>
                <a:lnTo>
                  <a:pt x="248" y="555"/>
                </a:lnTo>
                <a:lnTo>
                  <a:pt x="244" y="545"/>
                </a:lnTo>
                <a:lnTo>
                  <a:pt x="240" y="534"/>
                </a:lnTo>
                <a:lnTo>
                  <a:pt x="236" y="523"/>
                </a:lnTo>
                <a:lnTo>
                  <a:pt x="234" y="512"/>
                </a:lnTo>
                <a:lnTo>
                  <a:pt x="231" y="501"/>
                </a:lnTo>
                <a:lnTo>
                  <a:pt x="229" y="489"/>
                </a:lnTo>
                <a:lnTo>
                  <a:pt x="228" y="478"/>
                </a:lnTo>
                <a:lnTo>
                  <a:pt x="227" y="466"/>
                </a:lnTo>
                <a:lnTo>
                  <a:pt x="227" y="454"/>
                </a:lnTo>
                <a:lnTo>
                  <a:pt x="227" y="442"/>
                </a:lnTo>
                <a:lnTo>
                  <a:pt x="228" y="430"/>
                </a:lnTo>
                <a:lnTo>
                  <a:pt x="229" y="418"/>
                </a:lnTo>
                <a:lnTo>
                  <a:pt x="231" y="407"/>
                </a:lnTo>
                <a:lnTo>
                  <a:pt x="234" y="396"/>
                </a:lnTo>
                <a:lnTo>
                  <a:pt x="235" y="390"/>
                </a:lnTo>
                <a:lnTo>
                  <a:pt x="236" y="385"/>
                </a:lnTo>
                <a:lnTo>
                  <a:pt x="240" y="374"/>
                </a:lnTo>
                <a:lnTo>
                  <a:pt x="244" y="363"/>
                </a:lnTo>
                <a:lnTo>
                  <a:pt x="248" y="353"/>
                </a:lnTo>
                <a:lnTo>
                  <a:pt x="253" y="343"/>
                </a:lnTo>
                <a:lnTo>
                  <a:pt x="258" y="333"/>
                </a:lnTo>
                <a:lnTo>
                  <a:pt x="264" y="324"/>
                </a:lnTo>
                <a:lnTo>
                  <a:pt x="270" y="315"/>
                </a:lnTo>
                <a:lnTo>
                  <a:pt x="276" y="306"/>
                </a:lnTo>
                <a:lnTo>
                  <a:pt x="283" y="298"/>
                </a:lnTo>
                <a:lnTo>
                  <a:pt x="291" y="290"/>
                </a:lnTo>
                <a:lnTo>
                  <a:pt x="298" y="282"/>
                </a:lnTo>
                <a:lnTo>
                  <a:pt x="306" y="275"/>
                </a:lnTo>
                <a:lnTo>
                  <a:pt x="310" y="271"/>
                </a:lnTo>
                <a:lnTo>
                  <a:pt x="315" y="268"/>
                </a:lnTo>
                <a:lnTo>
                  <a:pt x="323" y="261"/>
                </a:lnTo>
                <a:lnTo>
                  <a:pt x="332" y="255"/>
                </a:lnTo>
                <a:lnTo>
                  <a:pt x="342" y="250"/>
                </a:lnTo>
                <a:lnTo>
                  <a:pt x="351" y="245"/>
                </a:lnTo>
                <a:lnTo>
                  <a:pt x="361" y="240"/>
                </a:lnTo>
                <a:lnTo>
                  <a:pt x="372" y="236"/>
                </a:lnTo>
                <a:lnTo>
                  <a:pt x="382" y="232"/>
                </a:lnTo>
                <a:lnTo>
                  <a:pt x="393" y="229"/>
                </a:lnTo>
                <a:lnTo>
                  <a:pt x="404" y="227"/>
                </a:lnTo>
                <a:lnTo>
                  <a:pt x="415" y="225"/>
                </a:lnTo>
                <a:lnTo>
                  <a:pt x="427" y="223"/>
                </a:lnTo>
                <a:lnTo>
                  <a:pt x="439" y="222"/>
                </a:lnTo>
                <a:lnTo>
                  <a:pt x="451" y="222"/>
                </a:lnTo>
                <a:lnTo>
                  <a:pt x="462" y="222"/>
                </a:lnTo>
                <a:lnTo>
                  <a:pt x="473" y="223"/>
                </a:lnTo>
                <a:lnTo>
                  <a:pt x="484" y="224"/>
                </a:lnTo>
                <a:lnTo>
                  <a:pt x="494" y="226"/>
                </a:lnTo>
                <a:lnTo>
                  <a:pt x="504" y="229"/>
                </a:lnTo>
                <a:lnTo>
                  <a:pt x="513" y="231"/>
                </a:lnTo>
                <a:lnTo>
                  <a:pt x="523" y="235"/>
                </a:lnTo>
                <a:lnTo>
                  <a:pt x="532" y="239"/>
                </a:lnTo>
                <a:lnTo>
                  <a:pt x="540" y="243"/>
                </a:lnTo>
                <a:lnTo>
                  <a:pt x="549" y="247"/>
                </a:lnTo>
                <a:lnTo>
                  <a:pt x="557" y="253"/>
                </a:lnTo>
                <a:lnTo>
                  <a:pt x="560" y="255"/>
                </a:lnTo>
                <a:lnTo>
                  <a:pt x="564" y="258"/>
                </a:lnTo>
                <a:lnTo>
                  <a:pt x="571" y="264"/>
                </a:lnTo>
                <a:lnTo>
                  <a:pt x="578" y="270"/>
                </a:lnTo>
                <a:lnTo>
                  <a:pt x="585" y="277"/>
                </a:lnTo>
                <a:lnTo>
                  <a:pt x="591" y="283"/>
                </a:lnTo>
                <a:lnTo>
                  <a:pt x="591" y="231"/>
                </a:lnTo>
                <a:lnTo>
                  <a:pt x="681" y="231"/>
                </a:lnTo>
                <a:lnTo>
                  <a:pt x="681" y="6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6" name="Freeform 19"/>
          <p:cNvSpPr>
            <a:spLocks noChangeAspect="1" noEditPoints="1"/>
          </p:cNvSpPr>
          <p:nvPr userDrawn="1"/>
        </p:nvSpPr>
        <p:spPr bwMode="auto">
          <a:xfrm>
            <a:off x="2612060" y="-1182"/>
            <a:ext cx="1306667" cy="1286466"/>
          </a:xfrm>
          <a:custGeom>
            <a:avLst/>
            <a:gdLst>
              <a:gd name="T0" fmla="*/ 424 w 908"/>
              <a:gd name="T1" fmla="*/ 683 h 908"/>
              <a:gd name="T2" fmla="*/ 365 w 908"/>
              <a:gd name="T3" fmla="*/ 671 h 908"/>
              <a:gd name="T4" fmla="*/ 304 w 908"/>
              <a:gd name="T5" fmla="*/ 647 h 908"/>
              <a:gd name="T6" fmla="*/ 247 w 908"/>
              <a:gd name="T7" fmla="*/ 610 h 908"/>
              <a:gd name="T8" fmla="*/ 286 w 908"/>
              <a:gd name="T9" fmla="*/ 536 h 908"/>
              <a:gd name="T10" fmla="*/ 321 w 908"/>
              <a:gd name="T11" fmla="*/ 562 h 908"/>
              <a:gd name="T12" fmla="*/ 365 w 908"/>
              <a:gd name="T13" fmla="*/ 585 h 908"/>
              <a:gd name="T14" fmla="*/ 405 w 908"/>
              <a:gd name="T15" fmla="*/ 598 h 908"/>
              <a:gd name="T16" fmla="*/ 441 w 908"/>
              <a:gd name="T17" fmla="*/ 604 h 908"/>
              <a:gd name="T18" fmla="*/ 508 w 908"/>
              <a:gd name="T19" fmla="*/ 602 h 908"/>
              <a:gd name="T20" fmla="*/ 551 w 908"/>
              <a:gd name="T21" fmla="*/ 589 h 908"/>
              <a:gd name="T22" fmla="*/ 571 w 908"/>
              <a:gd name="T23" fmla="*/ 575 h 908"/>
              <a:gd name="T24" fmla="*/ 582 w 908"/>
              <a:gd name="T25" fmla="*/ 556 h 908"/>
              <a:gd name="T26" fmla="*/ 583 w 908"/>
              <a:gd name="T27" fmla="*/ 539 h 908"/>
              <a:gd name="T28" fmla="*/ 575 w 908"/>
              <a:gd name="T29" fmla="*/ 524 h 908"/>
              <a:gd name="T30" fmla="*/ 559 w 908"/>
              <a:gd name="T31" fmla="*/ 512 h 908"/>
              <a:gd name="T32" fmla="*/ 521 w 908"/>
              <a:gd name="T33" fmla="*/ 501 h 908"/>
              <a:gd name="T34" fmla="*/ 394 w 908"/>
              <a:gd name="T35" fmla="*/ 483 h 908"/>
              <a:gd name="T36" fmla="*/ 324 w 908"/>
              <a:gd name="T37" fmla="*/ 465 h 908"/>
              <a:gd name="T38" fmla="*/ 280 w 908"/>
              <a:gd name="T39" fmla="*/ 442 h 908"/>
              <a:gd name="T40" fmla="*/ 257 w 908"/>
              <a:gd name="T41" fmla="*/ 420 h 908"/>
              <a:gd name="T42" fmla="*/ 243 w 908"/>
              <a:gd name="T43" fmla="*/ 392 h 908"/>
              <a:gd name="T44" fmla="*/ 237 w 908"/>
              <a:gd name="T45" fmla="*/ 356 h 908"/>
              <a:gd name="T46" fmla="*/ 242 w 908"/>
              <a:gd name="T47" fmla="*/ 328 h 908"/>
              <a:gd name="T48" fmla="*/ 254 w 908"/>
              <a:gd name="T49" fmla="*/ 302 h 908"/>
              <a:gd name="T50" fmla="*/ 274 w 908"/>
              <a:gd name="T51" fmla="*/ 279 h 908"/>
              <a:gd name="T52" fmla="*/ 299 w 908"/>
              <a:gd name="T53" fmla="*/ 260 h 908"/>
              <a:gd name="T54" fmla="*/ 347 w 908"/>
              <a:gd name="T55" fmla="*/ 237 h 908"/>
              <a:gd name="T56" fmla="*/ 422 w 908"/>
              <a:gd name="T57" fmla="*/ 222 h 908"/>
              <a:gd name="T58" fmla="*/ 489 w 908"/>
              <a:gd name="T59" fmla="*/ 224 h 908"/>
              <a:gd name="T60" fmla="*/ 545 w 908"/>
              <a:gd name="T61" fmla="*/ 235 h 908"/>
              <a:gd name="T62" fmla="*/ 596 w 908"/>
              <a:gd name="T63" fmla="*/ 255 h 908"/>
              <a:gd name="T64" fmla="*/ 641 w 908"/>
              <a:gd name="T65" fmla="*/ 283 h 908"/>
              <a:gd name="T66" fmla="*/ 591 w 908"/>
              <a:gd name="T67" fmla="*/ 351 h 908"/>
              <a:gd name="T68" fmla="*/ 550 w 908"/>
              <a:gd name="T69" fmla="*/ 325 h 908"/>
              <a:gd name="T70" fmla="*/ 503 w 908"/>
              <a:gd name="T71" fmla="*/ 308 h 908"/>
              <a:gd name="T72" fmla="*/ 462 w 908"/>
              <a:gd name="T73" fmla="*/ 302 h 908"/>
              <a:gd name="T74" fmla="*/ 416 w 908"/>
              <a:gd name="T75" fmla="*/ 303 h 908"/>
              <a:gd name="T76" fmla="*/ 372 w 908"/>
              <a:gd name="T77" fmla="*/ 313 h 908"/>
              <a:gd name="T78" fmla="*/ 343 w 908"/>
              <a:gd name="T79" fmla="*/ 329 h 908"/>
              <a:gd name="T80" fmla="*/ 328 w 908"/>
              <a:gd name="T81" fmla="*/ 347 h 908"/>
              <a:gd name="T82" fmla="*/ 328 w 908"/>
              <a:gd name="T83" fmla="*/ 366 h 908"/>
              <a:gd name="T84" fmla="*/ 338 w 908"/>
              <a:gd name="T85" fmla="*/ 380 h 908"/>
              <a:gd name="T86" fmla="*/ 369 w 908"/>
              <a:gd name="T87" fmla="*/ 395 h 908"/>
              <a:gd name="T88" fmla="*/ 443 w 908"/>
              <a:gd name="T89" fmla="*/ 407 h 908"/>
              <a:gd name="T90" fmla="*/ 550 w 908"/>
              <a:gd name="T91" fmla="*/ 424 h 908"/>
              <a:gd name="T92" fmla="*/ 607 w 908"/>
              <a:gd name="T93" fmla="*/ 442 h 908"/>
              <a:gd name="T94" fmla="*/ 639 w 908"/>
              <a:gd name="T95" fmla="*/ 462 h 908"/>
              <a:gd name="T96" fmla="*/ 658 w 908"/>
              <a:gd name="T97" fmla="*/ 483 h 908"/>
              <a:gd name="T98" fmla="*/ 670 w 908"/>
              <a:gd name="T99" fmla="*/ 511 h 908"/>
              <a:gd name="T100" fmla="*/ 674 w 908"/>
              <a:gd name="T101" fmla="*/ 545 h 908"/>
              <a:gd name="T102" fmla="*/ 670 w 908"/>
              <a:gd name="T103" fmla="*/ 573 h 908"/>
              <a:gd name="T104" fmla="*/ 659 w 908"/>
              <a:gd name="T105" fmla="*/ 600 h 908"/>
              <a:gd name="T106" fmla="*/ 641 w 908"/>
              <a:gd name="T107" fmla="*/ 624 h 908"/>
              <a:gd name="T108" fmla="*/ 616 w 908"/>
              <a:gd name="T109" fmla="*/ 644 h 908"/>
              <a:gd name="T110" fmla="*/ 569 w 908"/>
              <a:gd name="T111" fmla="*/ 668 h 908"/>
              <a:gd name="T112" fmla="*/ 510 w 908"/>
              <a:gd name="T113" fmla="*/ 683 h 908"/>
              <a:gd name="T114" fmla="*/ 0 w 908"/>
              <a:gd name="T115" fmla="*/ 908 h 908"/>
              <a:gd name="T116" fmla="*/ 908 w 908"/>
              <a:gd name="T117" fmla="*/ 0 h 908"/>
              <a:gd name="T118" fmla="*/ 0 w 908"/>
              <a:gd name="T119" fmla="*/ 908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466" y="685"/>
                </a:moveTo>
                <a:lnTo>
                  <a:pt x="452" y="685"/>
                </a:lnTo>
                <a:lnTo>
                  <a:pt x="438" y="684"/>
                </a:lnTo>
                <a:lnTo>
                  <a:pt x="424" y="683"/>
                </a:lnTo>
                <a:lnTo>
                  <a:pt x="410" y="681"/>
                </a:lnTo>
                <a:lnTo>
                  <a:pt x="395" y="678"/>
                </a:lnTo>
                <a:lnTo>
                  <a:pt x="380" y="675"/>
                </a:lnTo>
                <a:lnTo>
                  <a:pt x="365" y="671"/>
                </a:lnTo>
                <a:lnTo>
                  <a:pt x="350" y="666"/>
                </a:lnTo>
                <a:lnTo>
                  <a:pt x="335" y="661"/>
                </a:lnTo>
                <a:lnTo>
                  <a:pt x="319" y="654"/>
                </a:lnTo>
                <a:lnTo>
                  <a:pt x="304" y="647"/>
                </a:lnTo>
                <a:lnTo>
                  <a:pt x="290" y="639"/>
                </a:lnTo>
                <a:lnTo>
                  <a:pt x="275" y="631"/>
                </a:lnTo>
                <a:lnTo>
                  <a:pt x="261" y="621"/>
                </a:lnTo>
                <a:lnTo>
                  <a:pt x="247" y="610"/>
                </a:lnTo>
                <a:lnTo>
                  <a:pt x="240" y="605"/>
                </a:lnTo>
                <a:lnTo>
                  <a:pt x="233" y="599"/>
                </a:lnTo>
                <a:lnTo>
                  <a:pt x="283" y="533"/>
                </a:lnTo>
                <a:lnTo>
                  <a:pt x="286" y="536"/>
                </a:lnTo>
                <a:lnTo>
                  <a:pt x="296" y="544"/>
                </a:lnTo>
                <a:lnTo>
                  <a:pt x="303" y="550"/>
                </a:lnTo>
                <a:lnTo>
                  <a:pt x="311" y="556"/>
                </a:lnTo>
                <a:lnTo>
                  <a:pt x="321" y="562"/>
                </a:lnTo>
                <a:lnTo>
                  <a:pt x="332" y="569"/>
                </a:lnTo>
                <a:lnTo>
                  <a:pt x="345" y="576"/>
                </a:lnTo>
                <a:lnTo>
                  <a:pt x="358" y="582"/>
                </a:lnTo>
                <a:lnTo>
                  <a:pt x="365" y="585"/>
                </a:lnTo>
                <a:lnTo>
                  <a:pt x="373" y="588"/>
                </a:lnTo>
                <a:lnTo>
                  <a:pt x="388" y="594"/>
                </a:lnTo>
                <a:lnTo>
                  <a:pt x="396" y="596"/>
                </a:lnTo>
                <a:lnTo>
                  <a:pt x="405" y="598"/>
                </a:lnTo>
                <a:lnTo>
                  <a:pt x="414" y="600"/>
                </a:lnTo>
                <a:lnTo>
                  <a:pt x="423" y="602"/>
                </a:lnTo>
                <a:lnTo>
                  <a:pt x="432" y="603"/>
                </a:lnTo>
                <a:lnTo>
                  <a:pt x="441" y="604"/>
                </a:lnTo>
                <a:lnTo>
                  <a:pt x="460" y="605"/>
                </a:lnTo>
                <a:lnTo>
                  <a:pt x="478" y="605"/>
                </a:lnTo>
                <a:lnTo>
                  <a:pt x="494" y="604"/>
                </a:lnTo>
                <a:lnTo>
                  <a:pt x="508" y="602"/>
                </a:lnTo>
                <a:lnTo>
                  <a:pt x="521" y="599"/>
                </a:lnTo>
                <a:lnTo>
                  <a:pt x="533" y="596"/>
                </a:lnTo>
                <a:lnTo>
                  <a:pt x="543" y="593"/>
                </a:lnTo>
                <a:lnTo>
                  <a:pt x="551" y="589"/>
                </a:lnTo>
                <a:lnTo>
                  <a:pt x="559" y="585"/>
                </a:lnTo>
                <a:lnTo>
                  <a:pt x="565" y="580"/>
                </a:lnTo>
                <a:lnTo>
                  <a:pt x="568" y="578"/>
                </a:lnTo>
                <a:lnTo>
                  <a:pt x="571" y="575"/>
                </a:lnTo>
                <a:lnTo>
                  <a:pt x="575" y="571"/>
                </a:lnTo>
                <a:lnTo>
                  <a:pt x="578" y="566"/>
                </a:lnTo>
                <a:lnTo>
                  <a:pt x="580" y="561"/>
                </a:lnTo>
                <a:lnTo>
                  <a:pt x="582" y="556"/>
                </a:lnTo>
                <a:lnTo>
                  <a:pt x="583" y="552"/>
                </a:lnTo>
                <a:lnTo>
                  <a:pt x="583" y="547"/>
                </a:lnTo>
                <a:lnTo>
                  <a:pt x="583" y="543"/>
                </a:lnTo>
                <a:lnTo>
                  <a:pt x="583" y="539"/>
                </a:lnTo>
                <a:lnTo>
                  <a:pt x="582" y="536"/>
                </a:lnTo>
                <a:lnTo>
                  <a:pt x="580" y="533"/>
                </a:lnTo>
                <a:lnTo>
                  <a:pt x="577" y="526"/>
                </a:lnTo>
                <a:lnTo>
                  <a:pt x="575" y="524"/>
                </a:lnTo>
                <a:lnTo>
                  <a:pt x="572" y="521"/>
                </a:lnTo>
                <a:lnTo>
                  <a:pt x="569" y="519"/>
                </a:lnTo>
                <a:lnTo>
                  <a:pt x="566" y="516"/>
                </a:lnTo>
                <a:lnTo>
                  <a:pt x="559" y="512"/>
                </a:lnTo>
                <a:lnTo>
                  <a:pt x="551" y="509"/>
                </a:lnTo>
                <a:lnTo>
                  <a:pt x="542" y="506"/>
                </a:lnTo>
                <a:lnTo>
                  <a:pt x="532" y="503"/>
                </a:lnTo>
                <a:lnTo>
                  <a:pt x="521" y="501"/>
                </a:lnTo>
                <a:lnTo>
                  <a:pt x="498" y="497"/>
                </a:lnTo>
                <a:lnTo>
                  <a:pt x="447" y="490"/>
                </a:lnTo>
                <a:lnTo>
                  <a:pt x="412" y="485"/>
                </a:lnTo>
                <a:lnTo>
                  <a:pt x="394" y="483"/>
                </a:lnTo>
                <a:lnTo>
                  <a:pt x="376" y="479"/>
                </a:lnTo>
                <a:lnTo>
                  <a:pt x="358" y="475"/>
                </a:lnTo>
                <a:lnTo>
                  <a:pt x="341" y="471"/>
                </a:lnTo>
                <a:lnTo>
                  <a:pt x="324" y="465"/>
                </a:lnTo>
                <a:lnTo>
                  <a:pt x="308" y="459"/>
                </a:lnTo>
                <a:lnTo>
                  <a:pt x="301" y="455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8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1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2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2"/>
                </a:lnTo>
                <a:lnTo>
                  <a:pt x="327" y="356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4"/>
                </a:lnTo>
                <a:lnTo>
                  <a:pt x="443" y="407"/>
                </a:lnTo>
                <a:lnTo>
                  <a:pt x="473" y="411"/>
                </a:lnTo>
                <a:lnTo>
                  <a:pt x="513" y="417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2"/>
                </a:lnTo>
                <a:lnTo>
                  <a:pt x="645" y="467"/>
                </a:lnTo>
                <a:lnTo>
                  <a:pt x="649" y="472"/>
                </a:lnTo>
                <a:lnTo>
                  <a:pt x="654" y="478"/>
                </a:lnTo>
                <a:lnTo>
                  <a:pt x="658" y="483"/>
                </a:lnTo>
                <a:lnTo>
                  <a:pt x="662" y="490"/>
                </a:lnTo>
                <a:lnTo>
                  <a:pt x="665" y="496"/>
                </a:lnTo>
                <a:lnTo>
                  <a:pt x="668" y="503"/>
                </a:lnTo>
                <a:lnTo>
                  <a:pt x="670" y="511"/>
                </a:lnTo>
                <a:lnTo>
                  <a:pt x="672" y="518"/>
                </a:lnTo>
                <a:lnTo>
                  <a:pt x="673" y="527"/>
                </a:lnTo>
                <a:lnTo>
                  <a:pt x="674" y="535"/>
                </a:lnTo>
                <a:lnTo>
                  <a:pt x="674" y="545"/>
                </a:lnTo>
                <a:lnTo>
                  <a:pt x="674" y="552"/>
                </a:lnTo>
                <a:lnTo>
                  <a:pt x="673" y="559"/>
                </a:lnTo>
                <a:lnTo>
                  <a:pt x="672" y="566"/>
                </a:lnTo>
                <a:lnTo>
                  <a:pt x="670" y="573"/>
                </a:lnTo>
                <a:lnTo>
                  <a:pt x="668" y="580"/>
                </a:lnTo>
                <a:lnTo>
                  <a:pt x="666" y="587"/>
                </a:lnTo>
                <a:lnTo>
                  <a:pt x="663" y="593"/>
                </a:lnTo>
                <a:lnTo>
                  <a:pt x="659" y="600"/>
                </a:lnTo>
                <a:lnTo>
                  <a:pt x="655" y="606"/>
                </a:lnTo>
                <a:lnTo>
                  <a:pt x="651" y="612"/>
                </a:lnTo>
                <a:lnTo>
                  <a:pt x="646" y="618"/>
                </a:lnTo>
                <a:lnTo>
                  <a:pt x="641" y="624"/>
                </a:lnTo>
                <a:lnTo>
                  <a:pt x="635" y="629"/>
                </a:lnTo>
                <a:lnTo>
                  <a:pt x="629" y="634"/>
                </a:lnTo>
                <a:lnTo>
                  <a:pt x="623" y="639"/>
                </a:lnTo>
                <a:lnTo>
                  <a:pt x="616" y="644"/>
                </a:lnTo>
                <a:lnTo>
                  <a:pt x="609" y="649"/>
                </a:lnTo>
                <a:lnTo>
                  <a:pt x="602" y="653"/>
                </a:lnTo>
                <a:lnTo>
                  <a:pt x="586" y="661"/>
                </a:lnTo>
                <a:lnTo>
                  <a:pt x="569" y="668"/>
                </a:lnTo>
                <a:lnTo>
                  <a:pt x="560" y="672"/>
                </a:lnTo>
                <a:lnTo>
                  <a:pt x="550" y="674"/>
                </a:lnTo>
                <a:lnTo>
                  <a:pt x="531" y="679"/>
                </a:lnTo>
                <a:lnTo>
                  <a:pt x="510" y="683"/>
                </a:lnTo>
                <a:lnTo>
                  <a:pt x="499" y="684"/>
                </a:lnTo>
                <a:lnTo>
                  <a:pt x="488" y="685"/>
                </a:lnTo>
                <a:lnTo>
                  <a:pt x="466" y="685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7" name="Freeform 20"/>
          <p:cNvSpPr>
            <a:spLocks noChangeAspect="1" noEditPoints="1"/>
          </p:cNvSpPr>
          <p:nvPr userDrawn="1"/>
        </p:nvSpPr>
        <p:spPr bwMode="auto">
          <a:xfrm>
            <a:off x="5224114" y="3858215"/>
            <a:ext cx="1306382" cy="1285880"/>
          </a:xfrm>
          <a:custGeom>
            <a:avLst/>
            <a:gdLst>
              <a:gd name="T0" fmla="*/ 908 w 908"/>
              <a:gd name="T1" fmla="*/ 453 h 908"/>
              <a:gd name="T2" fmla="*/ 0 w 908"/>
              <a:gd name="T3" fmla="*/ 453 h 908"/>
              <a:gd name="T4" fmla="*/ 431 w 908"/>
              <a:gd name="T5" fmla="*/ 684 h 908"/>
              <a:gd name="T6" fmla="*/ 386 w 908"/>
              <a:gd name="T7" fmla="*/ 675 h 908"/>
              <a:gd name="T8" fmla="*/ 344 w 908"/>
              <a:gd name="T9" fmla="*/ 657 h 908"/>
              <a:gd name="T10" fmla="*/ 307 w 908"/>
              <a:gd name="T11" fmla="*/ 632 h 908"/>
              <a:gd name="T12" fmla="*/ 276 w 908"/>
              <a:gd name="T13" fmla="*/ 601 h 908"/>
              <a:gd name="T14" fmla="*/ 251 w 908"/>
              <a:gd name="T15" fmla="*/ 564 h 908"/>
              <a:gd name="T16" fmla="*/ 233 w 908"/>
              <a:gd name="T17" fmla="*/ 523 h 908"/>
              <a:gd name="T18" fmla="*/ 223 w 908"/>
              <a:gd name="T19" fmla="*/ 477 h 908"/>
              <a:gd name="T20" fmla="*/ 223 w 908"/>
              <a:gd name="T21" fmla="*/ 429 h 908"/>
              <a:gd name="T22" fmla="*/ 233 w 908"/>
              <a:gd name="T23" fmla="*/ 383 h 908"/>
              <a:gd name="T24" fmla="*/ 251 w 908"/>
              <a:gd name="T25" fmla="*/ 342 h 908"/>
              <a:gd name="T26" fmla="*/ 276 w 908"/>
              <a:gd name="T27" fmla="*/ 305 h 908"/>
              <a:gd name="T28" fmla="*/ 307 w 908"/>
              <a:gd name="T29" fmla="*/ 274 h 908"/>
              <a:gd name="T30" fmla="*/ 344 w 908"/>
              <a:gd name="T31" fmla="*/ 249 h 908"/>
              <a:gd name="T32" fmla="*/ 386 w 908"/>
              <a:gd name="T33" fmla="*/ 231 h 908"/>
              <a:gd name="T34" fmla="*/ 431 w 908"/>
              <a:gd name="T35" fmla="*/ 222 h 908"/>
              <a:gd name="T36" fmla="*/ 479 w 908"/>
              <a:gd name="T37" fmla="*/ 222 h 908"/>
              <a:gd name="T38" fmla="*/ 524 w 908"/>
              <a:gd name="T39" fmla="*/ 231 h 908"/>
              <a:gd name="T40" fmla="*/ 565 w 908"/>
              <a:gd name="T41" fmla="*/ 249 h 908"/>
              <a:gd name="T42" fmla="*/ 602 w 908"/>
              <a:gd name="T43" fmla="*/ 274 h 908"/>
              <a:gd name="T44" fmla="*/ 634 w 908"/>
              <a:gd name="T45" fmla="*/ 305 h 908"/>
              <a:gd name="T46" fmla="*/ 659 w 908"/>
              <a:gd name="T47" fmla="*/ 342 h 908"/>
              <a:gd name="T48" fmla="*/ 676 w 908"/>
              <a:gd name="T49" fmla="*/ 383 h 908"/>
              <a:gd name="T50" fmla="*/ 685 w 908"/>
              <a:gd name="T51" fmla="*/ 429 h 908"/>
              <a:gd name="T52" fmla="*/ 685 w 908"/>
              <a:gd name="T53" fmla="*/ 477 h 908"/>
              <a:gd name="T54" fmla="*/ 676 w 908"/>
              <a:gd name="T55" fmla="*/ 523 h 908"/>
              <a:gd name="T56" fmla="*/ 659 w 908"/>
              <a:gd name="T57" fmla="*/ 564 h 908"/>
              <a:gd name="T58" fmla="*/ 634 w 908"/>
              <a:gd name="T59" fmla="*/ 601 h 908"/>
              <a:gd name="T60" fmla="*/ 602 w 908"/>
              <a:gd name="T61" fmla="*/ 632 h 908"/>
              <a:gd name="T62" fmla="*/ 565 w 908"/>
              <a:gd name="T63" fmla="*/ 657 h 908"/>
              <a:gd name="T64" fmla="*/ 524 w 908"/>
              <a:gd name="T65" fmla="*/ 675 h 908"/>
              <a:gd name="T66" fmla="*/ 479 w 908"/>
              <a:gd name="T67" fmla="*/ 684 h 908"/>
              <a:gd name="T68" fmla="*/ 440 w 908"/>
              <a:gd name="T69" fmla="*/ 302 h 908"/>
              <a:gd name="T70" fmla="*/ 406 w 908"/>
              <a:gd name="T71" fmla="*/ 309 h 908"/>
              <a:gd name="T72" fmla="*/ 381 w 908"/>
              <a:gd name="T73" fmla="*/ 321 h 908"/>
              <a:gd name="T74" fmla="*/ 359 w 908"/>
              <a:gd name="T75" fmla="*/ 338 h 908"/>
              <a:gd name="T76" fmla="*/ 341 w 908"/>
              <a:gd name="T77" fmla="*/ 359 h 908"/>
              <a:gd name="T78" fmla="*/ 323 w 908"/>
              <a:gd name="T79" fmla="*/ 391 h 908"/>
              <a:gd name="T80" fmla="*/ 315 w 908"/>
              <a:gd name="T81" fmla="*/ 420 h 908"/>
              <a:gd name="T82" fmla="*/ 313 w 908"/>
              <a:gd name="T83" fmla="*/ 470 h 908"/>
              <a:gd name="T84" fmla="*/ 323 w 908"/>
              <a:gd name="T85" fmla="*/ 515 h 908"/>
              <a:gd name="T86" fmla="*/ 341 w 908"/>
              <a:gd name="T87" fmla="*/ 547 h 908"/>
              <a:gd name="T88" fmla="*/ 359 w 908"/>
              <a:gd name="T89" fmla="*/ 568 h 908"/>
              <a:gd name="T90" fmla="*/ 387 w 908"/>
              <a:gd name="T91" fmla="*/ 588 h 908"/>
              <a:gd name="T92" fmla="*/ 426 w 908"/>
              <a:gd name="T93" fmla="*/ 602 h 908"/>
              <a:gd name="T94" fmla="*/ 469 w 908"/>
              <a:gd name="T95" fmla="*/ 604 h 908"/>
              <a:gd name="T96" fmla="*/ 504 w 908"/>
              <a:gd name="T97" fmla="*/ 597 h 908"/>
              <a:gd name="T98" fmla="*/ 529 w 908"/>
              <a:gd name="T99" fmla="*/ 585 h 908"/>
              <a:gd name="T100" fmla="*/ 551 w 908"/>
              <a:gd name="T101" fmla="*/ 568 h 908"/>
              <a:gd name="T102" fmla="*/ 569 w 908"/>
              <a:gd name="T103" fmla="*/ 547 h 908"/>
              <a:gd name="T104" fmla="*/ 586 w 908"/>
              <a:gd name="T105" fmla="*/ 515 h 908"/>
              <a:gd name="T106" fmla="*/ 595 w 908"/>
              <a:gd name="T107" fmla="*/ 486 h 908"/>
              <a:gd name="T108" fmla="*/ 597 w 908"/>
              <a:gd name="T109" fmla="*/ 436 h 908"/>
              <a:gd name="T110" fmla="*/ 586 w 908"/>
              <a:gd name="T111" fmla="*/ 391 h 908"/>
              <a:gd name="T112" fmla="*/ 569 w 908"/>
              <a:gd name="T113" fmla="*/ 359 h 908"/>
              <a:gd name="T114" fmla="*/ 551 w 908"/>
              <a:gd name="T115" fmla="*/ 338 h 908"/>
              <a:gd name="T116" fmla="*/ 523 w 908"/>
              <a:gd name="T117" fmla="*/ 318 h 908"/>
              <a:gd name="T118" fmla="*/ 484 w 908"/>
              <a:gd name="T119" fmla="*/ 304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0" y="908"/>
                </a:moveTo>
                <a:lnTo>
                  <a:pt x="454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4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  <a:moveTo>
                  <a:pt x="455" y="685"/>
                </a:moveTo>
                <a:lnTo>
                  <a:pt x="443" y="685"/>
                </a:lnTo>
                <a:lnTo>
                  <a:pt x="431" y="684"/>
                </a:lnTo>
                <a:lnTo>
                  <a:pt x="419" y="683"/>
                </a:lnTo>
                <a:lnTo>
                  <a:pt x="408" y="681"/>
                </a:lnTo>
                <a:lnTo>
                  <a:pt x="397" y="678"/>
                </a:lnTo>
                <a:lnTo>
                  <a:pt x="386" y="675"/>
                </a:lnTo>
                <a:lnTo>
                  <a:pt x="375" y="671"/>
                </a:lnTo>
                <a:lnTo>
                  <a:pt x="364" y="667"/>
                </a:lnTo>
                <a:lnTo>
                  <a:pt x="354" y="663"/>
                </a:lnTo>
                <a:lnTo>
                  <a:pt x="344" y="657"/>
                </a:lnTo>
                <a:lnTo>
                  <a:pt x="334" y="652"/>
                </a:lnTo>
                <a:lnTo>
                  <a:pt x="325" y="646"/>
                </a:lnTo>
                <a:lnTo>
                  <a:pt x="316" y="639"/>
                </a:lnTo>
                <a:lnTo>
                  <a:pt x="307" y="632"/>
                </a:lnTo>
                <a:lnTo>
                  <a:pt x="299" y="625"/>
                </a:lnTo>
                <a:lnTo>
                  <a:pt x="291" y="618"/>
                </a:lnTo>
                <a:lnTo>
                  <a:pt x="283" y="610"/>
                </a:lnTo>
                <a:lnTo>
                  <a:pt x="276" y="601"/>
                </a:lnTo>
                <a:lnTo>
                  <a:pt x="269" y="592"/>
                </a:lnTo>
                <a:lnTo>
                  <a:pt x="263" y="583"/>
                </a:lnTo>
                <a:lnTo>
                  <a:pt x="257" y="574"/>
                </a:lnTo>
                <a:lnTo>
                  <a:pt x="251" y="564"/>
                </a:lnTo>
                <a:lnTo>
                  <a:pt x="246" y="554"/>
                </a:lnTo>
                <a:lnTo>
                  <a:pt x="241" y="544"/>
                </a:lnTo>
                <a:lnTo>
                  <a:pt x="237" y="533"/>
                </a:lnTo>
                <a:lnTo>
                  <a:pt x="233" y="523"/>
                </a:lnTo>
                <a:lnTo>
                  <a:pt x="229" y="512"/>
                </a:lnTo>
                <a:lnTo>
                  <a:pt x="227" y="500"/>
                </a:lnTo>
                <a:lnTo>
                  <a:pt x="225" y="489"/>
                </a:lnTo>
                <a:lnTo>
                  <a:pt x="223" y="477"/>
                </a:lnTo>
                <a:lnTo>
                  <a:pt x="222" y="465"/>
                </a:lnTo>
                <a:lnTo>
                  <a:pt x="222" y="453"/>
                </a:lnTo>
                <a:lnTo>
                  <a:pt x="222" y="441"/>
                </a:lnTo>
                <a:lnTo>
                  <a:pt x="223" y="429"/>
                </a:lnTo>
                <a:lnTo>
                  <a:pt x="225" y="417"/>
                </a:lnTo>
                <a:lnTo>
                  <a:pt x="227" y="406"/>
                </a:lnTo>
                <a:lnTo>
                  <a:pt x="229" y="394"/>
                </a:lnTo>
                <a:lnTo>
                  <a:pt x="233" y="383"/>
                </a:lnTo>
                <a:lnTo>
                  <a:pt x="237" y="373"/>
                </a:lnTo>
                <a:lnTo>
                  <a:pt x="241" y="362"/>
                </a:lnTo>
                <a:lnTo>
                  <a:pt x="246" y="352"/>
                </a:lnTo>
                <a:lnTo>
                  <a:pt x="251" y="342"/>
                </a:lnTo>
                <a:lnTo>
                  <a:pt x="257" y="332"/>
                </a:lnTo>
                <a:lnTo>
                  <a:pt x="263" y="323"/>
                </a:lnTo>
                <a:lnTo>
                  <a:pt x="269" y="314"/>
                </a:lnTo>
                <a:lnTo>
                  <a:pt x="276" y="305"/>
                </a:lnTo>
                <a:lnTo>
                  <a:pt x="283" y="297"/>
                </a:lnTo>
                <a:lnTo>
                  <a:pt x="291" y="288"/>
                </a:lnTo>
                <a:lnTo>
                  <a:pt x="299" y="281"/>
                </a:lnTo>
                <a:lnTo>
                  <a:pt x="307" y="274"/>
                </a:lnTo>
                <a:lnTo>
                  <a:pt x="316" y="267"/>
                </a:lnTo>
                <a:lnTo>
                  <a:pt x="325" y="260"/>
                </a:lnTo>
                <a:lnTo>
                  <a:pt x="334" y="254"/>
                </a:lnTo>
                <a:lnTo>
                  <a:pt x="344" y="249"/>
                </a:lnTo>
                <a:lnTo>
                  <a:pt x="354" y="244"/>
                </a:lnTo>
                <a:lnTo>
                  <a:pt x="364" y="239"/>
                </a:lnTo>
                <a:lnTo>
                  <a:pt x="375" y="235"/>
                </a:lnTo>
                <a:lnTo>
                  <a:pt x="386" y="231"/>
                </a:lnTo>
                <a:lnTo>
                  <a:pt x="397" y="228"/>
                </a:lnTo>
                <a:lnTo>
                  <a:pt x="408" y="225"/>
                </a:lnTo>
                <a:lnTo>
                  <a:pt x="419" y="223"/>
                </a:lnTo>
                <a:lnTo>
                  <a:pt x="431" y="222"/>
                </a:lnTo>
                <a:lnTo>
                  <a:pt x="443" y="221"/>
                </a:lnTo>
                <a:lnTo>
                  <a:pt x="455" y="221"/>
                </a:lnTo>
                <a:lnTo>
                  <a:pt x="467" y="221"/>
                </a:lnTo>
                <a:lnTo>
                  <a:pt x="479" y="222"/>
                </a:lnTo>
                <a:lnTo>
                  <a:pt x="490" y="223"/>
                </a:lnTo>
                <a:lnTo>
                  <a:pt x="502" y="225"/>
                </a:lnTo>
                <a:lnTo>
                  <a:pt x="513" y="228"/>
                </a:lnTo>
                <a:lnTo>
                  <a:pt x="524" y="231"/>
                </a:lnTo>
                <a:lnTo>
                  <a:pt x="535" y="235"/>
                </a:lnTo>
                <a:lnTo>
                  <a:pt x="545" y="239"/>
                </a:lnTo>
                <a:lnTo>
                  <a:pt x="555" y="244"/>
                </a:lnTo>
                <a:lnTo>
                  <a:pt x="565" y="249"/>
                </a:lnTo>
                <a:lnTo>
                  <a:pt x="575" y="254"/>
                </a:lnTo>
                <a:lnTo>
                  <a:pt x="585" y="260"/>
                </a:lnTo>
                <a:lnTo>
                  <a:pt x="594" y="267"/>
                </a:lnTo>
                <a:lnTo>
                  <a:pt x="602" y="274"/>
                </a:lnTo>
                <a:lnTo>
                  <a:pt x="611" y="281"/>
                </a:lnTo>
                <a:lnTo>
                  <a:pt x="619" y="288"/>
                </a:lnTo>
                <a:lnTo>
                  <a:pt x="627" y="297"/>
                </a:lnTo>
                <a:lnTo>
                  <a:pt x="634" y="305"/>
                </a:lnTo>
                <a:lnTo>
                  <a:pt x="641" y="314"/>
                </a:lnTo>
                <a:lnTo>
                  <a:pt x="647" y="323"/>
                </a:lnTo>
                <a:lnTo>
                  <a:pt x="653" y="332"/>
                </a:lnTo>
                <a:lnTo>
                  <a:pt x="659" y="342"/>
                </a:lnTo>
                <a:lnTo>
                  <a:pt x="664" y="352"/>
                </a:lnTo>
                <a:lnTo>
                  <a:pt x="668" y="362"/>
                </a:lnTo>
                <a:lnTo>
                  <a:pt x="673" y="373"/>
                </a:lnTo>
                <a:lnTo>
                  <a:pt x="676" y="383"/>
                </a:lnTo>
                <a:lnTo>
                  <a:pt x="679" y="394"/>
                </a:lnTo>
                <a:lnTo>
                  <a:pt x="682" y="406"/>
                </a:lnTo>
                <a:lnTo>
                  <a:pt x="684" y="417"/>
                </a:lnTo>
                <a:lnTo>
                  <a:pt x="685" y="429"/>
                </a:lnTo>
                <a:lnTo>
                  <a:pt x="686" y="441"/>
                </a:lnTo>
                <a:lnTo>
                  <a:pt x="687" y="453"/>
                </a:lnTo>
                <a:lnTo>
                  <a:pt x="686" y="465"/>
                </a:lnTo>
                <a:lnTo>
                  <a:pt x="685" y="477"/>
                </a:lnTo>
                <a:lnTo>
                  <a:pt x="684" y="489"/>
                </a:lnTo>
                <a:lnTo>
                  <a:pt x="682" y="500"/>
                </a:lnTo>
                <a:lnTo>
                  <a:pt x="679" y="512"/>
                </a:lnTo>
                <a:lnTo>
                  <a:pt x="676" y="523"/>
                </a:lnTo>
                <a:lnTo>
                  <a:pt x="673" y="533"/>
                </a:lnTo>
                <a:lnTo>
                  <a:pt x="668" y="544"/>
                </a:lnTo>
                <a:lnTo>
                  <a:pt x="664" y="554"/>
                </a:lnTo>
                <a:lnTo>
                  <a:pt x="659" y="564"/>
                </a:lnTo>
                <a:lnTo>
                  <a:pt x="653" y="574"/>
                </a:lnTo>
                <a:lnTo>
                  <a:pt x="647" y="583"/>
                </a:lnTo>
                <a:lnTo>
                  <a:pt x="641" y="592"/>
                </a:lnTo>
                <a:lnTo>
                  <a:pt x="634" y="601"/>
                </a:lnTo>
                <a:lnTo>
                  <a:pt x="627" y="610"/>
                </a:lnTo>
                <a:lnTo>
                  <a:pt x="619" y="618"/>
                </a:lnTo>
                <a:lnTo>
                  <a:pt x="611" y="625"/>
                </a:lnTo>
                <a:lnTo>
                  <a:pt x="602" y="632"/>
                </a:lnTo>
                <a:lnTo>
                  <a:pt x="594" y="639"/>
                </a:lnTo>
                <a:lnTo>
                  <a:pt x="585" y="646"/>
                </a:lnTo>
                <a:lnTo>
                  <a:pt x="575" y="652"/>
                </a:lnTo>
                <a:lnTo>
                  <a:pt x="565" y="657"/>
                </a:lnTo>
                <a:lnTo>
                  <a:pt x="555" y="663"/>
                </a:lnTo>
                <a:lnTo>
                  <a:pt x="545" y="667"/>
                </a:lnTo>
                <a:lnTo>
                  <a:pt x="535" y="671"/>
                </a:lnTo>
                <a:lnTo>
                  <a:pt x="524" y="675"/>
                </a:lnTo>
                <a:lnTo>
                  <a:pt x="513" y="678"/>
                </a:lnTo>
                <a:lnTo>
                  <a:pt x="502" y="681"/>
                </a:lnTo>
                <a:lnTo>
                  <a:pt x="490" y="683"/>
                </a:lnTo>
                <a:lnTo>
                  <a:pt x="479" y="684"/>
                </a:lnTo>
                <a:lnTo>
                  <a:pt x="467" y="685"/>
                </a:lnTo>
                <a:lnTo>
                  <a:pt x="455" y="685"/>
                </a:lnTo>
                <a:close/>
                <a:moveTo>
                  <a:pt x="455" y="301"/>
                </a:moveTo>
                <a:lnTo>
                  <a:pt x="440" y="302"/>
                </a:lnTo>
                <a:lnTo>
                  <a:pt x="426" y="304"/>
                </a:lnTo>
                <a:lnTo>
                  <a:pt x="419" y="305"/>
                </a:lnTo>
                <a:lnTo>
                  <a:pt x="412" y="307"/>
                </a:lnTo>
                <a:lnTo>
                  <a:pt x="406" y="309"/>
                </a:lnTo>
                <a:lnTo>
                  <a:pt x="399" y="312"/>
                </a:lnTo>
                <a:lnTo>
                  <a:pt x="393" y="315"/>
                </a:lnTo>
                <a:lnTo>
                  <a:pt x="387" y="318"/>
                </a:lnTo>
                <a:lnTo>
                  <a:pt x="381" y="321"/>
                </a:lnTo>
                <a:lnTo>
                  <a:pt x="375" y="325"/>
                </a:lnTo>
                <a:lnTo>
                  <a:pt x="369" y="329"/>
                </a:lnTo>
                <a:lnTo>
                  <a:pt x="364" y="333"/>
                </a:lnTo>
                <a:lnTo>
                  <a:pt x="359" y="338"/>
                </a:lnTo>
                <a:lnTo>
                  <a:pt x="354" y="343"/>
                </a:lnTo>
                <a:lnTo>
                  <a:pt x="349" y="348"/>
                </a:lnTo>
                <a:lnTo>
                  <a:pt x="345" y="353"/>
                </a:lnTo>
                <a:lnTo>
                  <a:pt x="341" y="359"/>
                </a:lnTo>
                <a:lnTo>
                  <a:pt x="337" y="365"/>
                </a:lnTo>
                <a:lnTo>
                  <a:pt x="329" y="377"/>
                </a:lnTo>
                <a:lnTo>
                  <a:pt x="326" y="384"/>
                </a:lnTo>
                <a:lnTo>
                  <a:pt x="323" y="391"/>
                </a:lnTo>
                <a:lnTo>
                  <a:pt x="321" y="398"/>
                </a:lnTo>
                <a:lnTo>
                  <a:pt x="319" y="405"/>
                </a:lnTo>
                <a:lnTo>
                  <a:pt x="317" y="412"/>
                </a:lnTo>
                <a:lnTo>
                  <a:pt x="315" y="420"/>
                </a:lnTo>
                <a:lnTo>
                  <a:pt x="313" y="436"/>
                </a:lnTo>
                <a:lnTo>
                  <a:pt x="312" y="453"/>
                </a:lnTo>
                <a:lnTo>
                  <a:pt x="312" y="462"/>
                </a:lnTo>
                <a:lnTo>
                  <a:pt x="313" y="470"/>
                </a:lnTo>
                <a:lnTo>
                  <a:pt x="314" y="478"/>
                </a:lnTo>
                <a:lnTo>
                  <a:pt x="315" y="486"/>
                </a:lnTo>
                <a:lnTo>
                  <a:pt x="319" y="501"/>
                </a:lnTo>
                <a:lnTo>
                  <a:pt x="323" y="515"/>
                </a:lnTo>
                <a:lnTo>
                  <a:pt x="329" y="529"/>
                </a:lnTo>
                <a:lnTo>
                  <a:pt x="333" y="535"/>
                </a:lnTo>
                <a:lnTo>
                  <a:pt x="337" y="541"/>
                </a:lnTo>
                <a:lnTo>
                  <a:pt x="341" y="547"/>
                </a:lnTo>
                <a:lnTo>
                  <a:pt x="345" y="553"/>
                </a:lnTo>
                <a:lnTo>
                  <a:pt x="349" y="558"/>
                </a:lnTo>
                <a:lnTo>
                  <a:pt x="354" y="563"/>
                </a:lnTo>
                <a:lnTo>
                  <a:pt x="359" y="568"/>
                </a:lnTo>
                <a:lnTo>
                  <a:pt x="364" y="573"/>
                </a:lnTo>
                <a:lnTo>
                  <a:pt x="369" y="577"/>
                </a:lnTo>
                <a:lnTo>
                  <a:pt x="375" y="581"/>
                </a:lnTo>
                <a:lnTo>
                  <a:pt x="387" y="588"/>
                </a:lnTo>
                <a:lnTo>
                  <a:pt x="393" y="591"/>
                </a:lnTo>
                <a:lnTo>
                  <a:pt x="399" y="594"/>
                </a:lnTo>
                <a:lnTo>
                  <a:pt x="412" y="599"/>
                </a:lnTo>
                <a:lnTo>
                  <a:pt x="426" y="602"/>
                </a:lnTo>
                <a:lnTo>
                  <a:pt x="433" y="604"/>
                </a:lnTo>
                <a:lnTo>
                  <a:pt x="440" y="604"/>
                </a:lnTo>
                <a:lnTo>
                  <a:pt x="455" y="605"/>
                </a:lnTo>
                <a:lnTo>
                  <a:pt x="469" y="604"/>
                </a:lnTo>
                <a:lnTo>
                  <a:pt x="484" y="602"/>
                </a:lnTo>
                <a:lnTo>
                  <a:pt x="490" y="601"/>
                </a:lnTo>
                <a:lnTo>
                  <a:pt x="497" y="599"/>
                </a:lnTo>
                <a:lnTo>
                  <a:pt x="504" y="597"/>
                </a:lnTo>
                <a:lnTo>
                  <a:pt x="510" y="594"/>
                </a:lnTo>
                <a:lnTo>
                  <a:pt x="517" y="591"/>
                </a:lnTo>
                <a:lnTo>
                  <a:pt x="523" y="588"/>
                </a:lnTo>
                <a:lnTo>
                  <a:pt x="529" y="585"/>
                </a:lnTo>
                <a:lnTo>
                  <a:pt x="535" y="581"/>
                </a:lnTo>
                <a:lnTo>
                  <a:pt x="540" y="577"/>
                </a:lnTo>
                <a:lnTo>
                  <a:pt x="546" y="573"/>
                </a:lnTo>
                <a:lnTo>
                  <a:pt x="551" y="568"/>
                </a:lnTo>
                <a:lnTo>
                  <a:pt x="556" y="563"/>
                </a:lnTo>
                <a:lnTo>
                  <a:pt x="560" y="558"/>
                </a:lnTo>
                <a:lnTo>
                  <a:pt x="565" y="553"/>
                </a:lnTo>
                <a:lnTo>
                  <a:pt x="569" y="547"/>
                </a:lnTo>
                <a:lnTo>
                  <a:pt x="573" y="541"/>
                </a:lnTo>
                <a:lnTo>
                  <a:pt x="580" y="529"/>
                </a:lnTo>
                <a:lnTo>
                  <a:pt x="583" y="522"/>
                </a:lnTo>
                <a:lnTo>
                  <a:pt x="586" y="515"/>
                </a:lnTo>
                <a:lnTo>
                  <a:pt x="589" y="508"/>
                </a:lnTo>
                <a:lnTo>
                  <a:pt x="591" y="501"/>
                </a:lnTo>
                <a:lnTo>
                  <a:pt x="593" y="494"/>
                </a:lnTo>
                <a:lnTo>
                  <a:pt x="595" y="486"/>
                </a:lnTo>
                <a:lnTo>
                  <a:pt x="597" y="470"/>
                </a:lnTo>
                <a:lnTo>
                  <a:pt x="597" y="453"/>
                </a:lnTo>
                <a:lnTo>
                  <a:pt x="597" y="444"/>
                </a:lnTo>
                <a:lnTo>
                  <a:pt x="597" y="436"/>
                </a:lnTo>
                <a:lnTo>
                  <a:pt x="596" y="428"/>
                </a:lnTo>
                <a:lnTo>
                  <a:pt x="595" y="420"/>
                </a:lnTo>
                <a:lnTo>
                  <a:pt x="591" y="405"/>
                </a:lnTo>
                <a:lnTo>
                  <a:pt x="586" y="391"/>
                </a:lnTo>
                <a:lnTo>
                  <a:pt x="580" y="377"/>
                </a:lnTo>
                <a:lnTo>
                  <a:pt x="577" y="371"/>
                </a:lnTo>
                <a:lnTo>
                  <a:pt x="573" y="365"/>
                </a:lnTo>
                <a:lnTo>
                  <a:pt x="569" y="359"/>
                </a:lnTo>
                <a:lnTo>
                  <a:pt x="565" y="353"/>
                </a:lnTo>
                <a:lnTo>
                  <a:pt x="560" y="348"/>
                </a:lnTo>
                <a:lnTo>
                  <a:pt x="556" y="343"/>
                </a:lnTo>
                <a:lnTo>
                  <a:pt x="551" y="338"/>
                </a:lnTo>
                <a:lnTo>
                  <a:pt x="546" y="333"/>
                </a:lnTo>
                <a:lnTo>
                  <a:pt x="540" y="329"/>
                </a:lnTo>
                <a:lnTo>
                  <a:pt x="535" y="325"/>
                </a:lnTo>
                <a:lnTo>
                  <a:pt x="523" y="318"/>
                </a:lnTo>
                <a:lnTo>
                  <a:pt x="517" y="315"/>
                </a:lnTo>
                <a:lnTo>
                  <a:pt x="510" y="312"/>
                </a:lnTo>
                <a:lnTo>
                  <a:pt x="497" y="307"/>
                </a:lnTo>
                <a:lnTo>
                  <a:pt x="484" y="304"/>
                </a:lnTo>
                <a:lnTo>
                  <a:pt x="477" y="303"/>
                </a:lnTo>
                <a:lnTo>
                  <a:pt x="469" y="302"/>
                </a:lnTo>
                <a:lnTo>
                  <a:pt x="455" y="3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8" name="Freeform 21"/>
          <p:cNvSpPr>
            <a:spLocks noEditPoints="1"/>
          </p:cNvSpPr>
          <p:nvPr userDrawn="1"/>
        </p:nvSpPr>
        <p:spPr bwMode="auto">
          <a:xfrm>
            <a:off x="2611457" y="1283159"/>
            <a:ext cx="1306629" cy="1285880"/>
          </a:xfrm>
          <a:custGeom>
            <a:avLst/>
            <a:gdLst>
              <a:gd name="T0" fmla="*/ 908 w 908"/>
              <a:gd name="T1" fmla="*/ 453 h 907"/>
              <a:gd name="T2" fmla="*/ 0 w 908"/>
              <a:gd name="T3" fmla="*/ 453 h 907"/>
              <a:gd name="T4" fmla="*/ 591 w 908"/>
              <a:gd name="T5" fmla="*/ 623 h 907"/>
              <a:gd name="T6" fmla="*/ 572 w 908"/>
              <a:gd name="T7" fmla="*/ 643 h 907"/>
              <a:gd name="T8" fmla="*/ 532 w 908"/>
              <a:gd name="T9" fmla="*/ 668 h 907"/>
              <a:gd name="T10" fmla="*/ 494 w 908"/>
              <a:gd name="T11" fmla="*/ 681 h 907"/>
              <a:gd name="T12" fmla="*/ 450 w 908"/>
              <a:gd name="T13" fmla="*/ 685 h 907"/>
              <a:gd name="T14" fmla="*/ 404 w 908"/>
              <a:gd name="T15" fmla="*/ 681 h 907"/>
              <a:gd name="T16" fmla="*/ 361 w 908"/>
              <a:gd name="T17" fmla="*/ 667 h 907"/>
              <a:gd name="T18" fmla="*/ 323 w 908"/>
              <a:gd name="T19" fmla="*/ 646 h 907"/>
              <a:gd name="T20" fmla="*/ 290 w 908"/>
              <a:gd name="T21" fmla="*/ 618 h 907"/>
              <a:gd name="T22" fmla="*/ 264 w 908"/>
              <a:gd name="T23" fmla="*/ 583 h 907"/>
              <a:gd name="T24" fmla="*/ 244 w 908"/>
              <a:gd name="T25" fmla="*/ 544 h 907"/>
              <a:gd name="T26" fmla="*/ 231 w 908"/>
              <a:gd name="T27" fmla="*/ 500 h 907"/>
              <a:gd name="T28" fmla="*/ 227 w 908"/>
              <a:gd name="T29" fmla="*/ 453 h 907"/>
              <a:gd name="T30" fmla="*/ 231 w 908"/>
              <a:gd name="T31" fmla="*/ 406 h 907"/>
              <a:gd name="T32" fmla="*/ 240 w 908"/>
              <a:gd name="T33" fmla="*/ 373 h 907"/>
              <a:gd name="T34" fmla="*/ 258 w 908"/>
              <a:gd name="T35" fmla="*/ 332 h 907"/>
              <a:gd name="T36" fmla="*/ 283 w 908"/>
              <a:gd name="T37" fmla="*/ 297 h 907"/>
              <a:gd name="T38" fmla="*/ 310 w 908"/>
              <a:gd name="T39" fmla="*/ 270 h 907"/>
              <a:gd name="T40" fmla="*/ 342 w 908"/>
              <a:gd name="T41" fmla="*/ 249 h 907"/>
              <a:gd name="T42" fmla="*/ 382 w 908"/>
              <a:gd name="T43" fmla="*/ 231 h 907"/>
              <a:gd name="T44" fmla="*/ 427 w 908"/>
              <a:gd name="T45" fmla="*/ 222 h 907"/>
              <a:gd name="T46" fmla="*/ 473 w 908"/>
              <a:gd name="T47" fmla="*/ 222 h 907"/>
              <a:gd name="T48" fmla="*/ 513 w 908"/>
              <a:gd name="T49" fmla="*/ 231 h 907"/>
              <a:gd name="T50" fmla="*/ 548 w 908"/>
              <a:gd name="T51" fmla="*/ 247 h 907"/>
              <a:gd name="T52" fmla="*/ 571 w 908"/>
              <a:gd name="T53" fmla="*/ 263 h 907"/>
              <a:gd name="T54" fmla="*/ 591 w 908"/>
              <a:gd name="T55" fmla="*/ 230 h 907"/>
              <a:gd name="T56" fmla="*/ 450 w 908"/>
              <a:gd name="T57" fmla="*/ 306 h 907"/>
              <a:gd name="T58" fmla="*/ 417 w 908"/>
              <a:gd name="T59" fmla="*/ 311 h 907"/>
              <a:gd name="T60" fmla="*/ 383 w 908"/>
              <a:gd name="T61" fmla="*/ 327 h 907"/>
              <a:gd name="T62" fmla="*/ 351 w 908"/>
              <a:gd name="T63" fmla="*/ 356 h 907"/>
              <a:gd name="T64" fmla="*/ 332 w 908"/>
              <a:gd name="T65" fmla="*/ 386 h 907"/>
              <a:gd name="T66" fmla="*/ 318 w 908"/>
              <a:gd name="T67" fmla="*/ 434 h 907"/>
              <a:gd name="T68" fmla="*/ 317 w 908"/>
              <a:gd name="T69" fmla="*/ 484 h 907"/>
              <a:gd name="T70" fmla="*/ 325 w 908"/>
              <a:gd name="T71" fmla="*/ 518 h 907"/>
              <a:gd name="T72" fmla="*/ 336 w 908"/>
              <a:gd name="T73" fmla="*/ 545 h 907"/>
              <a:gd name="T74" fmla="*/ 351 w 908"/>
              <a:gd name="T75" fmla="*/ 568 h 907"/>
              <a:gd name="T76" fmla="*/ 371 w 908"/>
              <a:gd name="T77" fmla="*/ 589 h 907"/>
              <a:gd name="T78" fmla="*/ 396 w 908"/>
              <a:gd name="T79" fmla="*/ 605 h 907"/>
              <a:gd name="T80" fmla="*/ 425 w 908"/>
              <a:gd name="T81" fmla="*/ 615 h 907"/>
              <a:gd name="T82" fmla="*/ 458 w 908"/>
              <a:gd name="T83" fmla="*/ 618 h 907"/>
              <a:gd name="T84" fmla="*/ 509 w 908"/>
              <a:gd name="T85" fmla="*/ 609 h 907"/>
              <a:gd name="T86" fmla="*/ 537 w 908"/>
              <a:gd name="T87" fmla="*/ 593 h 907"/>
              <a:gd name="T88" fmla="*/ 557 w 908"/>
              <a:gd name="T89" fmla="*/ 576 h 907"/>
              <a:gd name="T90" fmla="*/ 576 w 908"/>
              <a:gd name="T91" fmla="*/ 546 h 907"/>
              <a:gd name="T92" fmla="*/ 589 w 908"/>
              <a:gd name="T93" fmla="*/ 508 h 907"/>
              <a:gd name="T94" fmla="*/ 594 w 908"/>
              <a:gd name="T95" fmla="*/ 472 h 907"/>
              <a:gd name="T96" fmla="*/ 592 w 908"/>
              <a:gd name="T97" fmla="*/ 434 h 907"/>
              <a:gd name="T98" fmla="*/ 582 w 908"/>
              <a:gd name="T99" fmla="*/ 392 h 907"/>
              <a:gd name="T100" fmla="*/ 569 w 908"/>
              <a:gd name="T101" fmla="*/ 365 h 907"/>
              <a:gd name="T102" fmla="*/ 542 w 908"/>
              <a:gd name="T103" fmla="*/ 334 h 907"/>
              <a:gd name="T104" fmla="*/ 515 w 908"/>
              <a:gd name="T105" fmla="*/ 317 h 907"/>
              <a:gd name="T106" fmla="*/ 490 w 908"/>
              <a:gd name="T107" fmla="*/ 309 h 907"/>
              <a:gd name="T108" fmla="*/ 458 w 908"/>
              <a:gd name="T109" fmla="*/ 305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  <a:moveTo>
                  <a:pt x="680" y="676"/>
                </a:moveTo>
                <a:lnTo>
                  <a:pt x="591" y="676"/>
                </a:lnTo>
                <a:lnTo>
                  <a:pt x="591" y="623"/>
                </a:lnTo>
                <a:lnTo>
                  <a:pt x="588" y="627"/>
                </a:lnTo>
                <a:lnTo>
                  <a:pt x="585" y="630"/>
                </a:lnTo>
                <a:lnTo>
                  <a:pt x="579" y="636"/>
                </a:lnTo>
                <a:lnTo>
                  <a:pt x="572" y="643"/>
                </a:lnTo>
                <a:lnTo>
                  <a:pt x="564" y="649"/>
                </a:lnTo>
                <a:lnTo>
                  <a:pt x="549" y="659"/>
                </a:lnTo>
                <a:lnTo>
                  <a:pt x="541" y="664"/>
                </a:lnTo>
                <a:lnTo>
                  <a:pt x="532" y="668"/>
                </a:lnTo>
                <a:lnTo>
                  <a:pt x="523" y="672"/>
                </a:lnTo>
                <a:lnTo>
                  <a:pt x="514" y="676"/>
                </a:lnTo>
                <a:lnTo>
                  <a:pt x="504" y="678"/>
                </a:lnTo>
                <a:lnTo>
                  <a:pt x="494" y="681"/>
                </a:lnTo>
                <a:lnTo>
                  <a:pt x="484" y="683"/>
                </a:lnTo>
                <a:lnTo>
                  <a:pt x="473" y="684"/>
                </a:lnTo>
                <a:lnTo>
                  <a:pt x="462" y="685"/>
                </a:lnTo>
                <a:lnTo>
                  <a:pt x="450" y="685"/>
                </a:lnTo>
                <a:lnTo>
                  <a:pt x="439" y="685"/>
                </a:lnTo>
                <a:lnTo>
                  <a:pt x="427" y="684"/>
                </a:lnTo>
                <a:lnTo>
                  <a:pt x="415" y="683"/>
                </a:lnTo>
                <a:lnTo>
                  <a:pt x="404" y="681"/>
                </a:lnTo>
                <a:lnTo>
                  <a:pt x="393" y="678"/>
                </a:lnTo>
                <a:lnTo>
                  <a:pt x="382" y="675"/>
                </a:lnTo>
                <a:lnTo>
                  <a:pt x="372" y="671"/>
                </a:lnTo>
                <a:lnTo>
                  <a:pt x="361" y="667"/>
                </a:lnTo>
                <a:lnTo>
                  <a:pt x="351" y="663"/>
                </a:lnTo>
                <a:lnTo>
                  <a:pt x="342" y="657"/>
                </a:lnTo>
                <a:lnTo>
                  <a:pt x="332" y="652"/>
                </a:lnTo>
                <a:lnTo>
                  <a:pt x="323" y="646"/>
                </a:lnTo>
                <a:lnTo>
                  <a:pt x="315" y="639"/>
                </a:lnTo>
                <a:lnTo>
                  <a:pt x="306" y="633"/>
                </a:lnTo>
                <a:lnTo>
                  <a:pt x="298" y="625"/>
                </a:lnTo>
                <a:lnTo>
                  <a:pt x="290" y="618"/>
                </a:lnTo>
                <a:lnTo>
                  <a:pt x="283" y="609"/>
                </a:lnTo>
                <a:lnTo>
                  <a:pt x="276" y="601"/>
                </a:lnTo>
                <a:lnTo>
                  <a:pt x="270" y="592"/>
                </a:lnTo>
                <a:lnTo>
                  <a:pt x="264" y="583"/>
                </a:lnTo>
                <a:lnTo>
                  <a:pt x="258" y="574"/>
                </a:lnTo>
                <a:lnTo>
                  <a:pt x="253" y="564"/>
                </a:lnTo>
                <a:lnTo>
                  <a:pt x="248" y="554"/>
                </a:lnTo>
                <a:lnTo>
                  <a:pt x="244" y="544"/>
                </a:lnTo>
                <a:lnTo>
                  <a:pt x="240" y="533"/>
                </a:lnTo>
                <a:lnTo>
                  <a:pt x="236" y="522"/>
                </a:lnTo>
                <a:lnTo>
                  <a:pt x="233" y="511"/>
                </a:lnTo>
                <a:lnTo>
                  <a:pt x="231" y="500"/>
                </a:lnTo>
                <a:lnTo>
                  <a:pt x="229" y="488"/>
                </a:lnTo>
                <a:lnTo>
                  <a:pt x="228" y="477"/>
                </a:lnTo>
                <a:lnTo>
                  <a:pt x="227" y="465"/>
                </a:lnTo>
                <a:lnTo>
                  <a:pt x="227" y="453"/>
                </a:lnTo>
                <a:lnTo>
                  <a:pt x="227" y="441"/>
                </a:lnTo>
                <a:lnTo>
                  <a:pt x="228" y="429"/>
                </a:lnTo>
                <a:lnTo>
                  <a:pt x="229" y="417"/>
                </a:lnTo>
                <a:lnTo>
                  <a:pt x="231" y="406"/>
                </a:lnTo>
                <a:lnTo>
                  <a:pt x="233" y="395"/>
                </a:lnTo>
                <a:lnTo>
                  <a:pt x="235" y="389"/>
                </a:lnTo>
                <a:lnTo>
                  <a:pt x="236" y="384"/>
                </a:lnTo>
                <a:lnTo>
                  <a:pt x="240" y="373"/>
                </a:lnTo>
                <a:lnTo>
                  <a:pt x="244" y="362"/>
                </a:lnTo>
                <a:lnTo>
                  <a:pt x="248" y="352"/>
                </a:lnTo>
                <a:lnTo>
                  <a:pt x="253" y="342"/>
                </a:lnTo>
                <a:lnTo>
                  <a:pt x="258" y="332"/>
                </a:lnTo>
                <a:lnTo>
                  <a:pt x="264" y="323"/>
                </a:lnTo>
                <a:lnTo>
                  <a:pt x="270" y="314"/>
                </a:lnTo>
                <a:lnTo>
                  <a:pt x="276" y="305"/>
                </a:lnTo>
                <a:lnTo>
                  <a:pt x="283" y="297"/>
                </a:lnTo>
                <a:lnTo>
                  <a:pt x="290" y="289"/>
                </a:lnTo>
                <a:lnTo>
                  <a:pt x="298" y="281"/>
                </a:lnTo>
                <a:lnTo>
                  <a:pt x="306" y="274"/>
                </a:lnTo>
                <a:lnTo>
                  <a:pt x="310" y="270"/>
                </a:lnTo>
                <a:lnTo>
                  <a:pt x="315" y="267"/>
                </a:lnTo>
                <a:lnTo>
                  <a:pt x="323" y="260"/>
                </a:lnTo>
                <a:lnTo>
                  <a:pt x="332" y="254"/>
                </a:lnTo>
                <a:lnTo>
                  <a:pt x="342" y="249"/>
                </a:lnTo>
                <a:lnTo>
                  <a:pt x="351" y="244"/>
                </a:lnTo>
                <a:lnTo>
                  <a:pt x="361" y="239"/>
                </a:lnTo>
                <a:lnTo>
                  <a:pt x="372" y="235"/>
                </a:lnTo>
                <a:lnTo>
                  <a:pt x="382" y="231"/>
                </a:lnTo>
                <a:lnTo>
                  <a:pt x="393" y="228"/>
                </a:lnTo>
                <a:lnTo>
                  <a:pt x="404" y="226"/>
                </a:lnTo>
                <a:lnTo>
                  <a:pt x="415" y="224"/>
                </a:lnTo>
                <a:lnTo>
                  <a:pt x="427" y="222"/>
                </a:lnTo>
                <a:lnTo>
                  <a:pt x="439" y="221"/>
                </a:lnTo>
                <a:lnTo>
                  <a:pt x="450" y="221"/>
                </a:lnTo>
                <a:lnTo>
                  <a:pt x="462" y="221"/>
                </a:lnTo>
                <a:lnTo>
                  <a:pt x="473" y="222"/>
                </a:lnTo>
                <a:lnTo>
                  <a:pt x="483" y="223"/>
                </a:lnTo>
                <a:lnTo>
                  <a:pt x="494" y="225"/>
                </a:lnTo>
                <a:lnTo>
                  <a:pt x="504" y="228"/>
                </a:lnTo>
                <a:lnTo>
                  <a:pt x="513" y="231"/>
                </a:lnTo>
                <a:lnTo>
                  <a:pt x="523" y="234"/>
                </a:lnTo>
                <a:lnTo>
                  <a:pt x="532" y="238"/>
                </a:lnTo>
                <a:lnTo>
                  <a:pt x="540" y="242"/>
                </a:lnTo>
                <a:lnTo>
                  <a:pt x="548" y="247"/>
                </a:lnTo>
                <a:lnTo>
                  <a:pt x="556" y="252"/>
                </a:lnTo>
                <a:lnTo>
                  <a:pt x="560" y="254"/>
                </a:lnTo>
                <a:lnTo>
                  <a:pt x="564" y="257"/>
                </a:lnTo>
                <a:lnTo>
                  <a:pt x="571" y="263"/>
                </a:lnTo>
                <a:lnTo>
                  <a:pt x="578" y="269"/>
                </a:lnTo>
                <a:lnTo>
                  <a:pt x="585" y="276"/>
                </a:lnTo>
                <a:lnTo>
                  <a:pt x="591" y="282"/>
                </a:lnTo>
                <a:lnTo>
                  <a:pt x="591" y="230"/>
                </a:lnTo>
                <a:lnTo>
                  <a:pt x="680" y="230"/>
                </a:lnTo>
                <a:lnTo>
                  <a:pt x="680" y="676"/>
                </a:lnTo>
                <a:close/>
                <a:moveTo>
                  <a:pt x="458" y="305"/>
                </a:moveTo>
                <a:lnTo>
                  <a:pt x="450" y="306"/>
                </a:lnTo>
                <a:lnTo>
                  <a:pt x="441" y="306"/>
                </a:lnTo>
                <a:lnTo>
                  <a:pt x="433" y="308"/>
                </a:lnTo>
                <a:lnTo>
                  <a:pt x="425" y="309"/>
                </a:lnTo>
                <a:lnTo>
                  <a:pt x="417" y="311"/>
                </a:lnTo>
                <a:lnTo>
                  <a:pt x="410" y="314"/>
                </a:lnTo>
                <a:lnTo>
                  <a:pt x="402" y="316"/>
                </a:lnTo>
                <a:lnTo>
                  <a:pt x="396" y="319"/>
                </a:lnTo>
                <a:lnTo>
                  <a:pt x="383" y="327"/>
                </a:lnTo>
                <a:lnTo>
                  <a:pt x="371" y="335"/>
                </a:lnTo>
                <a:lnTo>
                  <a:pt x="366" y="340"/>
                </a:lnTo>
                <a:lnTo>
                  <a:pt x="361" y="345"/>
                </a:lnTo>
                <a:lnTo>
                  <a:pt x="351" y="356"/>
                </a:lnTo>
                <a:lnTo>
                  <a:pt x="347" y="362"/>
                </a:lnTo>
                <a:lnTo>
                  <a:pt x="343" y="367"/>
                </a:lnTo>
                <a:lnTo>
                  <a:pt x="336" y="380"/>
                </a:lnTo>
                <a:lnTo>
                  <a:pt x="332" y="386"/>
                </a:lnTo>
                <a:lnTo>
                  <a:pt x="330" y="393"/>
                </a:lnTo>
                <a:lnTo>
                  <a:pt x="325" y="406"/>
                </a:lnTo>
                <a:lnTo>
                  <a:pt x="321" y="420"/>
                </a:lnTo>
                <a:lnTo>
                  <a:pt x="318" y="434"/>
                </a:lnTo>
                <a:lnTo>
                  <a:pt x="316" y="448"/>
                </a:lnTo>
                <a:lnTo>
                  <a:pt x="316" y="462"/>
                </a:lnTo>
                <a:lnTo>
                  <a:pt x="316" y="476"/>
                </a:lnTo>
                <a:lnTo>
                  <a:pt x="317" y="484"/>
                </a:lnTo>
                <a:lnTo>
                  <a:pt x="318" y="491"/>
                </a:lnTo>
                <a:lnTo>
                  <a:pt x="321" y="505"/>
                </a:lnTo>
                <a:lnTo>
                  <a:pt x="323" y="511"/>
                </a:lnTo>
                <a:lnTo>
                  <a:pt x="325" y="518"/>
                </a:lnTo>
                <a:lnTo>
                  <a:pt x="327" y="525"/>
                </a:lnTo>
                <a:lnTo>
                  <a:pt x="330" y="532"/>
                </a:lnTo>
                <a:lnTo>
                  <a:pt x="332" y="538"/>
                </a:lnTo>
                <a:lnTo>
                  <a:pt x="336" y="545"/>
                </a:lnTo>
                <a:lnTo>
                  <a:pt x="339" y="551"/>
                </a:lnTo>
                <a:lnTo>
                  <a:pt x="343" y="557"/>
                </a:lnTo>
                <a:lnTo>
                  <a:pt x="347" y="563"/>
                </a:lnTo>
                <a:lnTo>
                  <a:pt x="351" y="568"/>
                </a:lnTo>
                <a:lnTo>
                  <a:pt x="356" y="574"/>
                </a:lnTo>
                <a:lnTo>
                  <a:pt x="361" y="579"/>
                </a:lnTo>
                <a:lnTo>
                  <a:pt x="366" y="584"/>
                </a:lnTo>
                <a:lnTo>
                  <a:pt x="371" y="589"/>
                </a:lnTo>
                <a:lnTo>
                  <a:pt x="377" y="593"/>
                </a:lnTo>
                <a:lnTo>
                  <a:pt x="383" y="597"/>
                </a:lnTo>
                <a:lnTo>
                  <a:pt x="389" y="601"/>
                </a:lnTo>
                <a:lnTo>
                  <a:pt x="396" y="605"/>
                </a:lnTo>
                <a:lnTo>
                  <a:pt x="402" y="608"/>
                </a:lnTo>
                <a:lnTo>
                  <a:pt x="410" y="610"/>
                </a:lnTo>
                <a:lnTo>
                  <a:pt x="417" y="613"/>
                </a:lnTo>
                <a:lnTo>
                  <a:pt x="425" y="615"/>
                </a:lnTo>
                <a:lnTo>
                  <a:pt x="433" y="616"/>
                </a:lnTo>
                <a:lnTo>
                  <a:pt x="441" y="617"/>
                </a:lnTo>
                <a:lnTo>
                  <a:pt x="450" y="618"/>
                </a:lnTo>
                <a:lnTo>
                  <a:pt x="458" y="618"/>
                </a:lnTo>
                <a:lnTo>
                  <a:pt x="471" y="618"/>
                </a:lnTo>
                <a:lnTo>
                  <a:pt x="484" y="616"/>
                </a:lnTo>
                <a:lnTo>
                  <a:pt x="496" y="613"/>
                </a:lnTo>
                <a:lnTo>
                  <a:pt x="509" y="609"/>
                </a:lnTo>
                <a:lnTo>
                  <a:pt x="515" y="607"/>
                </a:lnTo>
                <a:lnTo>
                  <a:pt x="520" y="604"/>
                </a:lnTo>
                <a:lnTo>
                  <a:pt x="532" y="597"/>
                </a:lnTo>
                <a:lnTo>
                  <a:pt x="537" y="593"/>
                </a:lnTo>
                <a:lnTo>
                  <a:pt x="542" y="589"/>
                </a:lnTo>
                <a:lnTo>
                  <a:pt x="547" y="585"/>
                </a:lnTo>
                <a:lnTo>
                  <a:pt x="552" y="580"/>
                </a:lnTo>
                <a:lnTo>
                  <a:pt x="557" y="576"/>
                </a:lnTo>
                <a:lnTo>
                  <a:pt x="561" y="570"/>
                </a:lnTo>
                <a:lnTo>
                  <a:pt x="565" y="565"/>
                </a:lnTo>
                <a:lnTo>
                  <a:pt x="569" y="559"/>
                </a:lnTo>
                <a:lnTo>
                  <a:pt x="576" y="546"/>
                </a:lnTo>
                <a:lnTo>
                  <a:pt x="580" y="539"/>
                </a:lnTo>
                <a:lnTo>
                  <a:pt x="582" y="532"/>
                </a:lnTo>
                <a:lnTo>
                  <a:pt x="587" y="516"/>
                </a:lnTo>
                <a:lnTo>
                  <a:pt x="589" y="508"/>
                </a:lnTo>
                <a:lnTo>
                  <a:pt x="591" y="500"/>
                </a:lnTo>
                <a:lnTo>
                  <a:pt x="592" y="491"/>
                </a:lnTo>
                <a:lnTo>
                  <a:pt x="593" y="482"/>
                </a:lnTo>
                <a:lnTo>
                  <a:pt x="594" y="472"/>
                </a:lnTo>
                <a:lnTo>
                  <a:pt x="594" y="462"/>
                </a:lnTo>
                <a:lnTo>
                  <a:pt x="594" y="452"/>
                </a:lnTo>
                <a:lnTo>
                  <a:pt x="593" y="443"/>
                </a:lnTo>
                <a:lnTo>
                  <a:pt x="592" y="434"/>
                </a:lnTo>
                <a:lnTo>
                  <a:pt x="591" y="425"/>
                </a:lnTo>
                <a:lnTo>
                  <a:pt x="587" y="408"/>
                </a:lnTo>
                <a:lnTo>
                  <a:pt x="585" y="400"/>
                </a:lnTo>
                <a:lnTo>
                  <a:pt x="582" y="392"/>
                </a:lnTo>
                <a:lnTo>
                  <a:pt x="580" y="385"/>
                </a:lnTo>
                <a:lnTo>
                  <a:pt x="576" y="378"/>
                </a:lnTo>
                <a:lnTo>
                  <a:pt x="573" y="372"/>
                </a:lnTo>
                <a:lnTo>
                  <a:pt x="569" y="365"/>
                </a:lnTo>
                <a:lnTo>
                  <a:pt x="565" y="359"/>
                </a:lnTo>
                <a:lnTo>
                  <a:pt x="561" y="354"/>
                </a:lnTo>
                <a:lnTo>
                  <a:pt x="552" y="343"/>
                </a:lnTo>
                <a:lnTo>
                  <a:pt x="542" y="334"/>
                </a:lnTo>
                <a:lnTo>
                  <a:pt x="532" y="327"/>
                </a:lnTo>
                <a:lnTo>
                  <a:pt x="526" y="323"/>
                </a:lnTo>
                <a:lnTo>
                  <a:pt x="520" y="320"/>
                </a:lnTo>
                <a:lnTo>
                  <a:pt x="515" y="317"/>
                </a:lnTo>
                <a:lnTo>
                  <a:pt x="509" y="315"/>
                </a:lnTo>
                <a:lnTo>
                  <a:pt x="503" y="313"/>
                </a:lnTo>
                <a:lnTo>
                  <a:pt x="496" y="311"/>
                </a:lnTo>
                <a:lnTo>
                  <a:pt x="490" y="309"/>
                </a:lnTo>
                <a:lnTo>
                  <a:pt x="484" y="308"/>
                </a:lnTo>
                <a:lnTo>
                  <a:pt x="471" y="306"/>
                </a:lnTo>
                <a:lnTo>
                  <a:pt x="465" y="306"/>
                </a:lnTo>
                <a:lnTo>
                  <a:pt x="458" y="3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00059A1-0099-4B10-A5CF-27E515FB5E4A}" type="datetime3">
              <a:rPr lang="en-US" smtClean="0"/>
              <a:pPr/>
              <a:t>3 December 2015</a:t>
            </a:fld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2" y="4776939"/>
            <a:ext cx="1306178" cy="15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456388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Divider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26925" y="3219703"/>
            <a:ext cx="4244479" cy="1286465"/>
          </a:xfrm>
        </p:spPr>
        <p:txBody>
          <a:bodyPr anchor="b" anchorCtr="0"/>
          <a:lstStyle>
            <a:lvl1pPr>
              <a:defRPr sz="2300" b="1"/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14" name="Freeform 16"/>
          <p:cNvSpPr>
            <a:spLocks noChangeAspect="1" noEditPoints="1"/>
          </p:cNvSpPr>
          <p:nvPr userDrawn="1"/>
        </p:nvSpPr>
        <p:spPr bwMode="auto">
          <a:xfrm>
            <a:off x="5224116" y="2570211"/>
            <a:ext cx="1305429" cy="1285880"/>
          </a:xfrm>
          <a:custGeom>
            <a:avLst/>
            <a:gdLst>
              <a:gd name="T0" fmla="*/ 653 w 908"/>
              <a:gd name="T1" fmla="*/ 675 h 907"/>
              <a:gd name="T2" fmla="*/ 651 w 908"/>
              <a:gd name="T3" fmla="*/ 382 h 907"/>
              <a:gd name="T4" fmla="*/ 644 w 908"/>
              <a:gd name="T5" fmla="*/ 348 h 907"/>
              <a:gd name="T6" fmla="*/ 630 w 908"/>
              <a:gd name="T7" fmla="*/ 320 h 907"/>
              <a:gd name="T8" fmla="*/ 613 w 908"/>
              <a:gd name="T9" fmla="*/ 305 h 907"/>
              <a:gd name="T10" fmla="*/ 595 w 908"/>
              <a:gd name="T11" fmla="*/ 298 h 907"/>
              <a:gd name="T12" fmla="*/ 579 w 908"/>
              <a:gd name="T13" fmla="*/ 296 h 907"/>
              <a:gd name="T14" fmla="*/ 565 w 908"/>
              <a:gd name="T15" fmla="*/ 298 h 907"/>
              <a:gd name="T16" fmla="*/ 546 w 908"/>
              <a:gd name="T17" fmla="*/ 304 h 907"/>
              <a:gd name="T18" fmla="*/ 526 w 908"/>
              <a:gd name="T19" fmla="*/ 320 h 907"/>
              <a:gd name="T20" fmla="*/ 514 w 908"/>
              <a:gd name="T21" fmla="*/ 337 h 907"/>
              <a:gd name="T22" fmla="*/ 507 w 908"/>
              <a:gd name="T23" fmla="*/ 354 h 907"/>
              <a:gd name="T24" fmla="*/ 502 w 908"/>
              <a:gd name="T25" fmla="*/ 375 h 907"/>
              <a:gd name="T26" fmla="*/ 499 w 908"/>
              <a:gd name="T27" fmla="*/ 411 h 907"/>
              <a:gd name="T28" fmla="*/ 410 w 908"/>
              <a:gd name="T29" fmla="*/ 409 h 907"/>
              <a:gd name="T30" fmla="*/ 408 w 908"/>
              <a:gd name="T31" fmla="*/ 374 h 907"/>
              <a:gd name="T32" fmla="*/ 398 w 908"/>
              <a:gd name="T33" fmla="*/ 337 h 907"/>
              <a:gd name="T34" fmla="*/ 382 w 908"/>
              <a:gd name="T35" fmla="*/ 314 h 907"/>
              <a:gd name="T36" fmla="*/ 364 w 908"/>
              <a:gd name="T37" fmla="*/ 302 h 907"/>
              <a:gd name="T38" fmla="*/ 347 w 908"/>
              <a:gd name="T39" fmla="*/ 297 h 907"/>
              <a:gd name="T40" fmla="*/ 333 w 908"/>
              <a:gd name="T41" fmla="*/ 297 h 907"/>
              <a:gd name="T42" fmla="*/ 317 w 908"/>
              <a:gd name="T43" fmla="*/ 299 h 907"/>
              <a:gd name="T44" fmla="*/ 297 w 908"/>
              <a:gd name="T45" fmla="*/ 308 h 907"/>
              <a:gd name="T46" fmla="*/ 278 w 908"/>
              <a:gd name="T47" fmla="*/ 327 h 907"/>
              <a:gd name="T48" fmla="*/ 268 w 908"/>
              <a:gd name="T49" fmla="*/ 348 h 907"/>
              <a:gd name="T50" fmla="*/ 261 w 908"/>
              <a:gd name="T51" fmla="*/ 375 h 907"/>
              <a:gd name="T52" fmla="*/ 258 w 908"/>
              <a:gd name="T53" fmla="*/ 411 h 907"/>
              <a:gd name="T54" fmla="*/ 169 w 908"/>
              <a:gd name="T55" fmla="*/ 230 h 907"/>
              <a:gd name="T56" fmla="*/ 260 w 908"/>
              <a:gd name="T57" fmla="*/ 272 h 907"/>
              <a:gd name="T58" fmla="*/ 277 w 908"/>
              <a:gd name="T59" fmla="*/ 251 h 907"/>
              <a:gd name="T60" fmla="*/ 298 w 908"/>
              <a:gd name="T61" fmla="*/ 237 h 907"/>
              <a:gd name="T62" fmla="*/ 319 w 908"/>
              <a:gd name="T63" fmla="*/ 227 h 907"/>
              <a:gd name="T64" fmla="*/ 348 w 908"/>
              <a:gd name="T65" fmla="*/ 221 h 907"/>
              <a:gd name="T66" fmla="*/ 378 w 908"/>
              <a:gd name="T67" fmla="*/ 222 h 907"/>
              <a:gd name="T68" fmla="*/ 404 w 908"/>
              <a:gd name="T69" fmla="*/ 228 h 907"/>
              <a:gd name="T70" fmla="*/ 427 w 908"/>
              <a:gd name="T71" fmla="*/ 238 h 907"/>
              <a:gd name="T72" fmla="*/ 448 w 908"/>
              <a:gd name="T73" fmla="*/ 254 h 907"/>
              <a:gd name="T74" fmla="*/ 465 w 908"/>
              <a:gd name="T75" fmla="*/ 275 h 907"/>
              <a:gd name="T76" fmla="*/ 481 w 908"/>
              <a:gd name="T77" fmla="*/ 282 h 907"/>
              <a:gd name="T78" fmla="*/ 502 w 908"/>
              <a:gd name="T79" fmla="*/ 257 h 907"/>
              <a:gd name="T80" fmla="*/ 526 w 908"/>
              <a:gd name="T81" fmla="*/ 240 h 907"/>
              <a:gd name="T82" fmla="*/ 552 w 908"/>
              <a:gd name="T83" fmla="*/ 228 h 907"/>
              <a:gd name="T84" fmla="*/ 576 w 908"/>
              <a:gd name="T85" fmla="*/ 222 h 907"/>
              <a:gd name="T86" fmla="*/ 611 w 908"/>
              <a:gd name="T87" fmla="*/ 221 h 907"/>
              <a:gd name="T88" fmla="*/ 649 w 908"/>
              <a:gd name="T89" fmla="*/ 229 h 907"/>
              <a:gd name="T90" fmla="*/ 674 w 908"/>
              <a:gd name="T91" fmla="*/ 240 h 907"/>
              <a:gd name="T92" fmla="*/ 692 w 908"/>
              <a:gd name="T93" fmla="*/ 253 h 907"/>
              <a:gd name="T94" fmla="*/ 707 w 908"/>
              <a:gd name="T95" fmla="*/ 270 h 907"/>
              <a:gd name="T96" fmla="*/ 721 w 908"/>
              <a:gd name="T97" fmla="*/ 290 h 907"/>
              <a:gd name="T98" fmla="*/ 731 w 908"/>
              <a:gd name="T99" fmla="*/ 315 h 907"/>
              <a:gd name="T100" fmla="*/ 739 w 908"/>
              <a:gd name="T101" fmla="*/ 346 h 907"/>
              <a:gd name="T102" fmla="*/ 742 w 908"/>
              <a:gd name="T103" fmla="*/ 381 h 907"/>
              <a:gd name="T104" fmla="*/ 0 w 908"/>
              <a:gd name="T105" fmla="*/ 907 h 907"/>
              <a:gd name="T106" fmla="*/ 908 w 908"/>
              <a:gd name="T107" fmla="*/ 453 h 907"/>
              <a:gd name="T108" fmla="*/ 0 w 908"/>
              <a:gd name="T109" fmla="*/ 0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743" y="408"/>
                </a:moveTo>
                <a:lnTo>
                  <a:pt x="743" y="675"/>
                </a:lnTo>
                <a:lnTo>
                  <a:pt x="653" y="675"/>
                </a:lnTo>
                <a:lnTo>
                  <a:pt x="653" y="409"/>
                </a:lnTo>
                <a:lnTo>
                  <a:pt x="652" y="390"/>
                </a:lnTo>
                <a:lnTo>
                  <a:pt x="651" y="382"/>
                </a:lnTo>
                <a:lnTo>
                  <a:pt x="650" y="374"/>
                </a:lnTo>
                <a:lnTo>
                  <a:pt x="648" y="360"/>
                </a:lnTo>
                <a:lnTo>
                  <a:pt x="644" y="348"/>
                </a:lnTo>
                <a:lnTo>
                  <a:pt x="640" y="337"/>
                </a:lnTo>
                <a:lnTo>
                  <a:pt x="636" y="328"/>
                </a:lnTo>
                <a:lnTo>
                  <a:pt x="630" y="320"/>
                </a:lnTo>
                <a:lnTo>
                  <a:pt x="625" y="314"/>
                </a:lnTo>
                <a:lnTo>
                  <a:pt x="619" y="309"/>
                </a:lnTo>
                <a:lnTo>
                  <a:pt x="613" y="305"/>
                </a:lnTo>
                <a:lnTo>
                  <a:pt x="607" y="302"/>
                </a:lnTo>
                <a:lnTo>
                  <a:pt x="601" y="299"/>
                </a:lnTo>
                <a:lnTo>
                  <a:pt x="595" y="298"/>
                </a:lnTo>
                <a:lnTo>
                  <a:pt x="589" y="297"/>
                </a:lnTo>
                <a:lnTo>
                  <a:pt x="584" y="297"/>
                </a:lnTo>
                <a:lnTo>
                  <a:pt x="579" y="296"/>
                </a:lnTo>
                <a:lnTo>
                  <a:pt x="575" y="297"/>
                </a:lnTo>
                <a:lnTo>
                  <a:pt x="571" y="297"/>
                </a:lnTo>
                <a:lnTo>
                  <a:pt x="565" y="298"/>
                </a:lnTo>
                <a:lnTo>
                  <a:pt x="559" y="299"/>
                </a:lnTo>
                <a:lnTo>
                  <a:pt x="552" y="301"/>
                </a:lnTo>
                <a:lnTo>
                  <a:pt x="546" y="304"/>
                </a:lnTo>
                <a:lnTo>
                  <a:pt x="539" y="308"/>
                </a:lnTo>
                <a:lnTo>
                  <a:pt x="532" y="313"/>
                </a:lnTo>
                <a:lnTo>
                  <a:pt x="526" y="320"/>
                </a:lnTo>
                <a:lnTo>
                  <a:pt x="520" y="327"/>
                </a:lnTo>
                <a:lnTo>
                  <a:pt x="517" y="332"/>
                </a:lnTo>
                <a:lnTo>
                  <a:pt x="514" y="337"/>
                </a:lnTo>
                <a:lnTo>
                  <a:pt x="511" y="342"/>
                </a:lnTo>
                <a:lnTo>
                  <a:pt x="509" y="348"/>
                </a:lnTo>
                <a:lnTo>
                  <a:pt x="507" y="354"/>
                </a:lnTo>
                <a:lnTo>
                  <a:pt x="505" y="360"/>
                </a:lnTo>
                <a:lnTo>
                  <a:pt x="503" y="368"/>
                </a:lnTo>
                <a:lnTo>
                  <a:pt x="502" y="375"/>
                </a:lnTo>
                <a:lnTo>
                  <a:pt x="500" y="392"/>
                </a:lnTo>
                <a:lnTo>
                  <a:pt x="499" y="402"/>
                </a:lnTo>
                <a:lnTo>
                  <a:pt x="499" y="411"/>
                </a:lnTo>
                <a:lnTo>
                  <a:pt x="499" y="675"/>
                </a:lnTo>
                <a:lnTo>
                  <a:pt x="410" y="675"/>
                </a:lnTo>
                <a:lnTo>
                  <a:pt x="410" y="409"/>
                </a:lnTo>
                <a:lnTo>
                  <a:pt x="409" y="390"/>
                </a:lnTo>
                <a:lnTo>
                  <a:pt x="409" y="382"/>
                </a:lnTo>
                <a:lnTo>
                  <a:pt x="408" y="374"/>
                </a:lnTo>
                <a:lnTo>
                  <a:pt x="405" y="360"/>
                </a:lnTo>
                <a:lnTo>
                  <a:pt x="402" y="348"/>
                </a:lnTo>
                <a:lnTo>
                  <a:pt x="398" y="337"/>
                </a:lnTo>
                <a:lnTo>
                  <a:pt x="393" y="328"/>
                </a:lnTo>
                <a:lnTo>
                  <a:pt x="388" y="320"/>
                </a:lnTo>
                <a:lnTo>
                  <a:pt x="382" y="314"/>
                </a:lnTo>
                <a:lnTo>
                  <a:pt x="376" y="309"/>
                </a:lnTo>
                <a:lnTo>
                  <a:pt x="370" y="305"/>
                </a:lnTo>
                <a:lnTo>
                  <a:pt x="364" y="302"/>
                </a:lnTo>
                <a:lnTo>
                  <a:pt x="358" y="299"/>
                </a:lnTo>
                <a:lnTo>
                  <a:pt x="352" y="298"/>
                </a:lnTo>
                <a:lnTo>
                  <a:pt x="347" y="297"/>
                </a:lnTo>
                <a:lnTo>
                  <a:pt x="342" y="297"/>
                </a:lnTo>
                <a:lnTo>
                  <a:pt x="337" y="296"/>
                </a:lnTo>
                <a:lnTo>
                  <a:pt x="333" y="297"/>
                </a:lnTo>
                <a:lnTo>
                  <a:pt x="328" y="297"/>
                </a:lnTo>
                <a:lnTo>
                  <a:pt x="323" y="298"/>
                </a:lnTo>
                <a:lnTo>
                  <a:pt x="317" y="299"/>
                </a:lnTo>
                <a:lnTo>
                  <a:pt x="310" y="301"/>
                </a:lnTo>
                <a:lnTo>
                  <a:pt x="304" y="304"/>
                </a:lnTo>
                <a:lnTo>
                  <a:pt x="297" y="308"/>
                </a:lnTo>
                <a:lnTo>
                  <a:pt x="291" y="313"/>
                </a:lnTo>
                <a:lnTo>
                  <a:pt x="284" y="320"/>
                </a:lnTo>
                <a:lnTo>
                  <a:pt x="278" y="327"/>
                </a:lnTo>
                <a:lnTo>
                  <a:pt x="276" y="332"/>
                </a:lnTo>
                <a:lnTo>
                  <a:pt x="273" y="337"/>
                </a:lnTo>
                <a:lnTo>
                  <a:pt x="268" y="348"/>
                </a:lnTo>
                <a:lnTo>
                  <a:pt x="264" y="360"/>
                </a:lnTo>
                <a:lnTo>
                  <a:pt x="262" y="368"/>
                </a:lnTo>
                <a:lnTo>
                  <a:pt x="261" y="375"/>
                </a:lnTo>
                <a:lnTo>
                  <a:pt x="259" y="392"/>
                </a:lnTo>
                <a:lnTo>
                  <a:pt x="259" y="402"/>
                </a:lnTo>
                <a:lnTo>
                  <a:pt x="258" y="411"/>
                </a:lnTo>
                <a:lnTo>
                  <a:pt x="258" y="675"/>
                </a:lnTo>
                <a:lnTo>
                  <a:pt x="169" y="675"/>
                </a:lnTo>
                <a:lnTo>
                  <a:pt x="169" y="230"/>
                </a:lnTo>
                <a:lnTo>
                  <a:pt x="255" y="230"/>
                </a:lnTo>
                <a:lnTo>
                  <a:pt x="255" y="280"/>
                </a:lnTo>
                <a:lnTo>
                  <a:pt x="260" y="272"/>
                </a:lnTo>
                <a:lnTo>
                  <a:pt x="265" y="264"/>
                </a:lnTo>
                <a:lnTo>
                  <a:pt x="271" y="257"/>
                </a:lnTo>
                <a:lnTo>
                  <a:pt x="277" y="251"/>
                </a:lnTo>
                <a:lnTo>
                  <a:pt x="284" y="246"/>
                </a:lnTo>
                <a:lnTo>
                  <a:pt x="291" y="241"/>
                </a:lnTo>
                <a:lnTo>
                  <a:pt x="298" y="237"/>
                </a:lnTo>
                <a:lnTo>
                  <a:pt x="305" y="233"/>
                </a:lnTo>
                <a:lnTo>
                  <a:pt x="312" y="230"/>
                </a:lnTo>
                <a:lnTo>
                  <a:pt x="319" y="227"/>
                </a:lnTo>
                <a:lnTo>
                  <a:pt x="334" y="223"/>
                </a:lnTo>
                <a:lnTo>
                  <a:pt x="341" y="222"/>
                </a:lnTo>
                <a:lnTo>
                  <a:pt x="348" y="221"/>
                </a:lnTo>
                <a:lnTo>
                  <a:pt x="360" y="221"/>
                </a:lnTo>
                <a:lnTo>
                  <a:pt x="369" y="221"/>
                </a:lnTo>
                <a:lnTo>
                  <a:pt x="378" y="222"/>
                </a:lnTo>
                <a:lnTo>
                  <a:pt x="387" y="223"/>
                </a:lnTo>
                <a:lnTo>
                  <a:pt x="395" y="225"/>
                </a:lnTo>
                <a:lnTo>
                  <a:pt x="404" y="228"/>
                </a:lnTo>
                <a:lnTo>
                  <a:pt x="412" y="231"/>
                </a:lnTo>
                <a:lnTo>
                  <a:pt x="419" y="234"/>
                </a:lnTo>
                <a:lnTo>
                  <a:pt x="427" y="238"/>
                </a:lnTo>
                <a:lnTo>
                  <a:pt x="434" y="243"/>
                </a:lnTo>
                <a:lnTo>
                  <a:pt x="441" y="248"/>
                </a:lnTo>
                <a:lnTo>
                  <a:pt x="448" y="254"/>
                </a:lnTo>
                <a:lnTo>
                  <a:pt x="454" y="261"/>
                </a:lnTo>
                <a:lnTo>
                  <a:pt x="460" y="268"/>
                </a:lnTo>
                <a:lnTo>
                  <a:pt x="465" y="275"/>
                </a:lnTo>
                <a:lnTo>
                  <a:pt x="470" y="283"/>
                </a:lnTo>
                <a:lnTo>
                  <a:pt x="475" y="292"/>
                </a:lnTo>
                <a:lnTo>
                  <a:pt x="481" y="282"/>
                </a:lnTo>
                <a:lnTo>
                  <a:pt x="488" y="273"/>
                </a:lnTo>
                <a:lnTo>
                  <a:pt x="495" y="265"/>
                </a:lnTo>
                <a:lnTo>
                  <a:pt x="502" y="257"/>
                </a:lnTo>
                <a:lnTo>
                  <a:pt x="510" y="251"/>
                </a:lnTo>
                <a:lnTo>
                  <a:pt x="518" y="245"/>
                </a:lnTo>
                <a:lnTo>
                  <a:pt x="526" y="240"/>
                </a:lnTo>
                <a:lnTo>
                  <a:pt x="535" y="235"/>
                </a:lnTo>
                <a:lnTo>
                  <a:pt x="543" y="232"/>
                </a:lnTo>
                <a:lnTo>
                  <a:pt x="552" y="228"/>
                </a:lnTo>
                <a:lnTo>
                  <a:pt x="560" y="226"/>
                </a:lnTo>
                <a:lnTo>
                  <a:pt x="568" y="224"/>
                </a:lnTo>
                <a:lnTo>
                  <a:pt x="576" y="222"/>
                </a:lnTo>
                <a:lnTo>
                  <a:pt x="584" y="221"/>
                </a:lnTo>
                <a:lnTo>
                  <a:pt x="598" y="221"/>
                </a:lnTo>
                <a:lnTo>
                  <a:pt x="611" y="221"/>
                </a:lnTo>
                <a:lnTo>
                  <a:pt x="624" y="223"/>
                </a:lnTo>
                <a:lnTo>
                  <a:pt x="636" y="225"/>
                </a:lnTo>
                <a:lnTo>
                  <a:pt x="649" y="229"/>
                </a:lnTo>
                <a:lnTo>
                  <a:pt x="662" y="234"/>
                </a:lnTo>
                <a:lnTo>
                  <a:pt x="668" y="237"/>
                </a:lnTo>
                <a:lnTo>
                  <a:pt x="674" y="240"/>
                </a:lnTo>
                <a:lnTo>
                  <a:pt x="680" y="244"/>
                </a:lnTo>
                <a:lnTo>
                  <a:pt x="686" y="248"/>
                </a:lnTo>
                <a:lnTo>
                  <a:pt x="692" y="253"/>
                </a:lnTo>
                <a:lnTo>
                  <a:pt x="697" y="258"/>
                </a:lnTo>
                <a:lnTo>
                  <a:pt x="702" y="264"/>
                </a:lnTo>
                <a:lnTo>
                  <a:pt x="707" y="270"/>
                </a:lnTo>
                <a:lnTo>
                  <a:pt x="712" y="276"/>
                </a:lnTo>
                <a:lnTo>
                  <a:pt x="716" y="283"/>
                </a:lnTo>
                <a:lnTo>
                  <a:pt x="721" y="290"/>
                </a:lnTo>
                <a:lnTo>
                  <a:pt x="724" y="298"/>
                </a:lnTo>
                <a:lnTo>
                  <a:pt x="728" y="307"/>
                </a:lnTo>
                <a:lnTo>
                  <a:pt x="731" y="315"/>
                </a:lnTo>
                <a:lnTo>
                  <a:pt x="734" y="325"/>
                </a:lnTo>
                <a:lnTo>
                  <a:pt x="736" y="335"/>
                </a:lnTo>
                <a:lnTo>
                  <a:pt x="739" y="346"/>
                </a:lnTo>
                <a:lnTo>
                  <a:pt x="740" y="357"/>
                </a:lnTo>
                <a:lnTo>
                  <a:pt x="741" y="369"/>
                </a:lnTo>
                <a:lnTo>
                  <a:pt x="742" y="381"/>
                </a:lnTo>
                <a:lnTo>
                  <a:pt x="743" y="394"/>
                </a:lnTo>
                <a:lnTo>
                  <a:pt x="743" y="408"/>
                </a:lnTo>
                <a:close/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5" name="Freeform 17"/>
          <p:cNvSpPr>
            <a:spLocks noChangeAspect="1" noEditPoints="1"/>
          </p:cNvSpPr>
          <p:nvPr userDrawn="1"/>
        </p:nvSpPr>
        <p:spPr bwMode="auto">
          <a:xfrm>
            <a:off x="3913911" y="-595"/>
            <a:ext cx="1306033" cy="1285880"/>
          </a:xfrm>
          <a:custGeom>
            <a:avLst/>
            <a:gdLst>
              <a:gd name="T0" fmla="*/ 587 w 907"/>
              <a:gd name="T1" fmla="*/ 676 h 908"/>
              <a:gd name="T2" fmla="*/ 587 w 907"/>
              <a:gd name="T3" fmla="*/ 444 h 908"/>
              <a:gd name="T4" fmla="*/ 586 w 907"/>
              <a:gd name="T5" fmla="*/ 428 h 908"/>
              <a:gd name="T6" fmla="*/ 583 w 907"/>
              <a:gd name="T7" fmla="*/ 412 h 908"/>
              <a:gd name="T8" fmla="*/ 580 w 907"/>
              <a:gd name="T9" fmla="*/ 397 h 908"/>
              <a:gd name="T10" fmla="*/ 575 w 907"/>
              <a:gd name="T11" fmla="*/ 383 h 908"/>
              <a:gd name="T12" fmla="*/ 566 w 907"/>
              <a:gd name="T13" fmla="*/ 364 h 908"/>
              <a:gd name="T14" fmla="*/ 555 w 907"/>
              <a:gd name="T15" fmla="*/ 347 h 908"/>
              <a:gd name="T16" fmla="*/ 546 w 907"/>
              <a:gd name="T17" fmla="*/ 337 h 908"/>
              <a:gd name="T18" fmla="*/ 532 w 907"/>
              <a:gd name="T19" fmla="*/ 325 h 908"/>
              <a:gd name="T20" fmla="*/ 516 w 907"/>
              <a:gd name="T21" fmla="*/ 314 h 908"/>
              <a:gd name="T22" fmla="*/ 504 w 907"/>
              <a:gd name="T23" fmla="*/ 309 h 908"/>
              <a:gd name="T24" fmla="*/ 492 w 907"/>
              <a:gd name="T25" fmla="*/ 305 h 908"/>
              <a:gd name="T26" fmla="*/ 479 w 907"/>
              <a:gd name="T27" fmla="*/ 303 h 908"/>
              <a:gd name="T28" fmla="*/ 460 w 907"/>
              <a:gd name="T29" fmla="*/ 301 h 908"/>
              <a:gd name="T30" fmla="*/ 439 w 907"/>
              <a:gd name="T31" fmla="*/ 302 h 908"/>
              <a:gd name="T32" fmla="*/ 419 w 907"/>
              <a:gd name="T33" fmla="*/ 307 h 908"/>
              <a:gd name="T34" fmla="*/ 407 w 907"/>
              <a:gd name="T35" fmla="*/ 312 h 908"/>
              <a:gd name="T36" fmla="*/ 395 w 907"/>
              <a:gd name="T37" fmla="*/ 317 h 908"/>
              <a:gd name="T38" fmla="*/ 383 w 907"/>
              <a:gd name="T39" fmla="*/ 325 h 908"/>
              <a:gd name="T40" fmla="*/ 373 w 907"/>
              <a:gd name="T41" fmla="*/ 333 h 908"/>
              <a:gd name="T42" fmla="*/ 363 w 907"/>
              <a:gd name="T43" fmla="*/ 343 h 908"/>
              <a:gd name="T44" fmla="*/ 354 w 907"/>
              <a:gd name="T45" fmla="*/ 354 h 908"/>
              <a:gd name="T46" fmla="*/ 345 w 907"/>
              <a:gd name="T47" fmla="*/ 366 h 908"/>
              <a:gd name="T48" fmla="*/ 335 w 907"/>
              <a:gd name="T49" fmla="*/ 387 h 908"/>
              <a:gd name="T50" fmla="*/ 327 w 907"/>
              <a:gd name="T51" fmla="*/ 410 h 908"/>
              <a:gd name="T52" fmla="*/ 324 w 907"/>
              <a:gd name="T53" fmla="*/ 427 h 908"/>
              <a:gd name="T54" fmla="*/ 321 w 907"/>
              <a:gd name="T55" fmla="*/ 446 h 908"/>
              <a:gd name="T56" fmla="*/ 321 w 907"/>
              <a:gd name="T57" fmla="*/ 676 h 908"/>
              <a:gd name="T58" fmla="*/ 231 w 907"/>
              <a:gd name="T59" fmla="*/ 230 h 908"/>
              <a:gd name="T60" fmla="*/ 318 w 907"/>
              <a:gd name="T61" fmla="*/ 305 h 908"/>
              <a:gd name="T62" fmla="*/ 329 w 907"/>
              <a:gd name="T63" fmla="*/ 286 h 908"/>
              <a:gd name="T64" fmla="*/ 344 w 907"/>
              <a:gd name="T65" fmla="*/ 270 h 908"/>
              <a:gd name="T66" fmla="*/ 352 w 907"/>
              <a:gd name="T67" fmla="*/ 262 h 908"/>
              <a:gd name="T68" fmla="*/ 371 w 907"/>
              <a:gd name="T69" fmla="*/ 249 h 908"/>
              <a:gd name="T70" fmla="*/ 392 w 907"/>
              <a:gd name="T71" fmla="*/ 238 h 908"/>
              <a:gd name="T72" fmla="*/ 414 w 907"/>
              <a:gd name="T73" fmla="*/ 230 h 908"/>
              <a:gd name="T74" fmla="*/ 438 w 907"/>
              <a:gd name="T75" fmla="*/ 224 h 908"/>
              <a:gd name="T76" fmla="*/ 461 w 907"/>
              <a:gd name="T77" fmla="*/ 221 h 908"/>
              <a:gd name="T78" fmla="*/ 492 w 907"/>
              <a:gd name="T79" fmla="*/ 221 h 908"/>
              <a:gd name="T80" fmla="*/ 520 w 907"/>
              <a:gd name="T81" fmla="*/ 225 h 908"/>
              <a:gd name="T82" fmla="*/ 538 w 907"/>
              <a:gd name="T83" fmla="*/ 230 h 908"/>
              <a:gd name="T84" fmla="*/ 556 w 907"/>
              <a:gd name="T85" fmla="*/ 236 h 908"/>
              <a:gd name="T86" fmla="*/ 573 w 907"/>
              <a:gd name="T87" fmla="*/ 244 h 908"/>
              <a:gd name="T88" fmla="*/ 590 w 907"/>
              <a:gd name="T89" fmla="*/ 253 h 908"/>
              <a:gd name="T90" fmla="*/ 605 w 907"/>
              <a:gd name="T91" fmla="*/ 265 h 908"/>
              <a:gd name="T92" fmla="*/ 619 w 907"/>
              <a:gd name="T93" fmla="*/ 278 h 908"/>
              <a:gd name="T94" fmla="*/ 632 w 907"/>
              <a:gd name="T95" fmla="*/ 293 h 908"/>
              <a:gd name="T96" fmla="*/ 644 w 907"/>
              <a:gd name="T97" fmla="*/ 310 h 908"/>
              <a:gd name="T98" fmla="*/ 654 w 907"/>
              <a:gd name="T99" fmla="*/ 328 h 908"/>
              <a:gd name="T100" fmla="*/ 663 w 907"/>
              <a:gd name="T101" fmla="*/ 349 h 908"/>
              <a:gd name="T102" fmla="*/ 669 w 907"/>
              <a:gd name="T103" fmla="*/ 372 h 908"/>
              <a:gd name="T104" fmla="*/ 674 w 907"/>
              <a:gd name="T105" fmla="*/ 397 h 908"/>
              <a:gd name="T106" fmla="*/ 676 w 907"/>
              <a:gd name="T107" fmla="*/ 424 h 908"/>
              <a:gd name="T108" fmla="*/ 676 w 907"/>
              <a:gd name="T109" fmla="*/ 676 h 908"/>
              <a:gd name="T110" fmla="*/ 453 w 907"/>
              <a:gd name="T111" fmla="*/ 908 h 908"/>
              <a:gd name="T112" fmla="*/ 907 w 907"/>
              <a:gd name="T113" fmla="*/ 453 h 908"/>
              <a:gd name="T114" fmla="*/ 453 w 907"/>
              <a:gd name="T115" fmla="*/ 0 h 908"/>
              <a:gd name="T116" fmla="*/ 0 w 907"/>
              <a:gd name="T117" fmla="*/ 453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7" h="908">
                <a:moveTo>
                  <a:pt x="676" y="676"/>
                </a:moveTo>
                <a:lnTo>
                  <a:pt x="587" y="676"/>
                </a:lnTo>
                <a:lnTo>
                  <a:pt x="587" y="453"/>
                </a:lnTo>
                <a:lnTo>
                  <a:pt x="587" y="444"/>
                </a:lnTo>
                <a:lnTo>
                  <a:pt x="586" y="436"/>
                </a:lnTo>
                <a:lnTo>
                  <a:pt x="586" y="428"/>
                </a:lnTo>
                <a:lnTo>
                  <a:pt x="585" y="420"/>
                </a:lnTo>
                <a:lnTo>
                  <a:pt x="583" y="412"/>
                </a:lnTo>
                <a:lnTo>
                  <a:pt x="581" y="404"/>
                </a:lnTo>
                <a:lnTo>
                  <a:pt x="580" y="397"/>
                </a:lnTo>
                <a:lnTo>
                  <a:pt x="577" y="390"/>
                </a:lnTo>
                <a:lnTo>
                  <a:pt x="575" y="383"/>
                </a:lnTo>
                <a:lnTo>
                  <a:pt x="572" y="376"/>
                </a:lnTo>
                <a:lnTo>
                  <a:pt x="566" y="364"/>
                </a:lnTo>
                <a:lnTo>
                  <a:pt x="559" y="352"/>
                </a:lnTo>
                <a:lnTo>
                  <a:pt x="555" y="347"/>
                </a:lnTo>
                <a:lnTo>
                  <a:pt x="550" y="342"/>
                </a:lnTo>
                <a:lnTo>
                  <a:pt x="546" y="337"/>
                </a:lnTo>
                <a:lnTo>
                  <a:pt x="541" y="333"/>
                </a:lnTo>
                <a:lnTo>
                  <a:pt x="532" y="325"/>
                </a:lnTo>
                <a:lnTo>
                  <a:pt x="521" y="317"/>
                </a:lnTo>
                <a:lnTo>
                  <a:pt x="516" y="314"/>
                </a:lnTo>
                <a:lnTo>
                  <a:pt x="510" y="312"/>
                </a:lnTo>
                <a:lnTo>
                  <a:pt x="504" y="309"/>
                </a:lnTo>
                <a:lnTo>
                  <a:pt x="498" y="307"/>
                </a:lnTo>
                <a:lnTo>
                  <a:pt x="492" y="305"/>
                </a:lnTo>
                <a:lnTo>
                  <a:pt x="486" y="304"/>
                </a:lnTo>
                <a:lnTo>
                  <a:pt x="479" y="303"/>
                </a:lnTo>
                <a:lnTo>
                  <a:pt x="473" y="302"/>
                </a:lnTo>
                <a:lnTo>
                  <a:pt x="460" y="301"/>
                </a:lnTo>
                <a:lnTo>
                  <a:pt x="446" y="302"/>
                </a:lnTo>
                <a:lnTo>
                  <a:pt x="439" y="302"/>
                </a:lnTo>
                <a:lnTo>
                  <a:pt x="432" y="304"/>
                </a:lnTo>
                <a:lnTo>
                  <a:pt x="419" y="307"/>
                </a:lnTo>
                <a:lnTo>
                  <a:pt x="413" y="309"/>
                </a:lnTo>
                <a:lnTo>
                  <a:pt x="407" y="312"/>
                </a:lnTo>
                <a:lnTo>
                  <a:pt x="401" y="314"/>
                </a:lnTo>
                <a:lnTo>
                  <a:pt x="395" y="317"/>
                </a:lnTo>
                <a:lnTo>
                  <a:pt x="389" y="321"/>
                </a:lnTo>
                <a:lnTo>
                  <a:pt x="383" y="325"/>
                </a:lnTo>
                <a:lnTo>
                  <a:pt x="378" y="329"/>
                </a:lnTo>
                <a:lnTo>
                  <a:pt x="373" y="333"/>
                </a:lnTo>
                <a:lnTo>
                  <a:pt x="367" y="338"/>
                </a:lnTo>
                <a:lnTo>
                  <a:pt x="363" y="343"/>
                </a:lnTo>
                <a:lnTo>
                  <a:pt x="358" y="348"/>
                </a:lnTo>
                <a:lnTo>
                  <a:pt x="354" y="354"/>
                </a:lnTo>
                <a:lnTo>
                  <a:pt x="349" y="360"/>
                </a:lnTo>
                <a:lnTo>
                  <a:pt x="345" y="366"/>
                </a:lnTo>
                <a:lnTo>
                  <a:pt x="338" y="380"/>
                </a:lnTo>
                <a:lnTo>
                  <a:pt x="335" y="387"/>
                </a:lnTo>
                <a:lnTo>
                  <a:pt x="332" y="394"/>
                </a:lnTo>
                <a:lnTo>
                  <a:pt x="327" y="410"/>
                </a:lnTo>
                <a:lnTo>
                  <a:pt x="325" y="419"/>
                </a:lnTo>
                <a:lnTo>
                  <a:pt x="324" y="427"/>
                </a:lnTo>
                <a:lnTo>
                  <a:pt x="322" y="436"/>
                </a:lnTo>
                <a:lnTo>
                  <a:pt x="321" y="446"/>
                </a:lnTo>
                <a:lnTo>
                  <a:pt x="321" y="466"/>
                </a:lnTo>
                <a:lnTo>
                  <a:pt x="321" y="676"/>
                </a:lnTo>
                <a:lnTo>
                  <a:pt x="231" y="676"/>
                </a:lnTo>
                <a:lnTo>
                  <a:pt x="231" y="230"/>
                </a:lnTo>
                <a:lnTo>
                  <a:pt x="318" y="230"/>
                </a:lnTo>
                <a:lnTo>
                  <a:pt x="318" y="305"/>
                </a:lnTo>
                <a:lnTo>
                  <a:pt x="323" y="296"/>
                </a:lnTo>
                <a:lnTo>
                  <a:pt x="329" y="286"/>
                </a:lnTo>
                <a:lnTo>
                  <a:pt x="336" y="278"/>
                </a:lnTo>
                <a:lnTo>
                  <a:pt x="344" y="270"/>
                </a:lnTo>
                <a:lnTo>
                  <a:pt x="348" y="266"/>
                </a:lnTo>
                <a:lnTo>
                  <a:pt x="352" y="262"/>
                </a:lnTo>
                <a:lnTo>
                  <a:pt x="361" y="255"/>
                </a:lnTo>
                <a:lnTo>
                  <a:pt x="371" y="249"/>
                </a:lnTo>
                <a:lnTo>
                  <a:pt x="381" y="243"/>
                </a:lnTo>
                <a:lnTo>
                  <a:pt x="392" y="238"/>
                </a:lnTo>
                <a:lnTo>
                  <a:pt x="403" y="233"/>
                </a:lnTo>
                <a:lnTo>
                  <a:pt x="414" y="230"/>
                </a:lnTo>
                <a:lnTo>
                  <a:pt x="426" y="226"/>
                </a:lnTo>
                <a:lnTo>
                  <a:pt x="438" y="224"/>
                </a:lnTo>
                <a:lnTo>
                  <a:pt x="449" y="222"/>
                </a:lnTo>
                <a:lnTo>
                  <a:pt x="461" y="221"/>
                </a:lnTo>
                <a:lnTo>
                  <a:pt x="473" y="221"/>
                </a:lnTo>
                <a:lnTo>
                  <a:pt x="492" y="221"/>
                </a:lnTo>
                <a:lnTo>
                  <a:pt x="511" y="224"/>
                </a:lnTo>
                <a:lnTo>
                  <a:pt x="520" y="225"/>
                </a:lnTo>
                <a:lnTo>
                  <a:pt x="529" y="227"/>
                </a:lnTo>
                <a:lnTo>
                  <a:pt x="538" y="230"/>
                </a:lnTo>
                <a:lnTo>
                  <a:pt x="547" y="233"/>
                </a:lnTo>
                <a:lnTo>
                  <a:pt x="556" y="236"/>
                </a:lnTo>
                <a:lnTo>
                  <a:pt x="565" y="240"/>
                </a:lnTo>
                <a:lnTo>
                  <a:pt x="573" y="244"/>
                </a:lnTo>
                <a:lnTo>
                  <a:pt x="582" y="248"/>
                </a:lnTo>
                <a:lnTo>
                  <a:pt x="590" y="253"/>
                </a:lnTo>
                <a:lnTo>
                  <a:pt x="597" y="259"/>
                </a:lnTo>
                <a:lnTo>
                  <a:pt x="605" y="265"/>
                </a:lnTo>
                <a:lnTo>
                  <a:pt x="612" y="271"/>
                </a:lnTo>
                <a:lnTo>
                  <a:pt x="619" y="278"/>
                </a:lnTo>
                <a:lnTo>
                  <a:pt x="626" y="285"/>
                </a:lnTo>
                <a:lnTo>
                  <a:pt x="632" y="293"/>
                </a:lnTo>
                <a:lnTo>
                  <a:pt x="638" y="301"/>
                </a:lnTo>
                <a:lnTo>
                  <a:pt x="644" y="310"/>
                </a:lnTo>
                <a:lnTo>
                  <a:pt x="649" y="319"/>
                </a:lnTo>
                <a:lnTo>
                  <a:pt x="654" y="328"/>
                </a:lnTo>
                <a:lnTo>
                  <a:pt x="659" y="338"/>
                </a:lnTo>
                <a:lnTo>
                  <a:pt x="663" y="349"/>
                </a:lnTo>
                <a:lnTo>
                  <a:pt x="666" y="360"/>
                </a:lnTo>
                <a:lnTo>
                  <a:pt x="669" y="372"/>
                </a:lnTo>
                <a:lnTo>
                  <a:pt x="672" y="384"/>
                </a:lnTo>
                <a:lnTo>
                  <a:pt x="674" y="397"/>
                </a:lnTo>
                <a:lnTo>
                  <a:pt x="675" y="410"/>
                </a:lnTo>
                <a:lnTo>
                  <a:pt x="676" y="424"/>
                </a:lnTo>
                <a:lnTo>
                  <a:pt x="676" y="438"/>
                </a:lnTo>
                <a:lnTo>
                  <a:pt x="676" y="676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3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6" name="Freeform 18"/>
          <p:cNvSpPr>
            <a:spLocks noChangeAspect="1" noEditPoints="1"/>
          </p:cNvSpPr>
          <p:nvPr userDrawn="1"/>
        </p:nvSpPr>
        <p:spPr bwMode="auto">
          <a:xfrm>
            <a:off x="7837070" y="-595"/>
            <a:ext cx="1306033" cy="1285880"/>
          </a:xfrm>
          <a:custGeom>
            <a:avLst/>
            <a:gdLst>
              <a:gd name="T0" fmla="*/ 433 w 907"/>
              <a:gd name="T1" fmla="*/ 300 h 908"/>
              <a:gd name="T2" fmla="*/ 403 w 907"/>
              <a:gd name="T3" fmla="*/ 308 h 908"/>
              <a:gd name="T4" fmla="*/ 366 w 907"/>
              <a:gd name="T5" fmla="*/ 332 h 908"/>
              <a:gd name="T6" fmla="*/ 343 w 907"/>
              <a:gd name="T7" fmla="*/ 360 h 908"/>
              <a:gd name="T8" fmla="*/ 325 w 907"/>
              <a:gd name="T9" fmla="*/ 398 h 908"/>
              <a:gd name="T10" fmla="*/ 316 w 907"/>
              <a:gd name="T11" fmla="*/ 455 h 908"/>
              <a:gd name="T12" fmla="*/ 321 w 907"/>
              <a:gd name="T13" fmla="*/ 497 h 908"/>
              <a:gd name="T14" fmla="*/ 330 w 907"/>
              <a:gd name="T15" fmla="*/ 524 h 908"/>
              <a:gd name="T16" fmla="*/ 343 w 907"/>
              <a:gd name="T17" fmla="*/ 549 h 908"/>
              <a:gd name="T18" fmla="*/ 361 w 907"/>
              <a:gd name="T19" fmla="*/ 571 h 908"/>
              <a:gd name="T20" fmla="*/ 383 w 907"/>
              <a:gd name="T21" fmla="*/ 589 h 908"/>
              <a:gd name="T22" fmla="*/ 410 w 907"/>
              <a:gd name="T23" fmla="*/ 603 h 908"/>
              <a:gd name="T24" fmla="*/ 441 w 907"/>
              <a:gd name="T25" fmla="*/ 610 h 908"/>
              <a:gd name="T26" fmla="*/ 484 w 907"/>
              <a:gd name="T27" fmla="*/ 608 h 908"/>
              <a:gd name="T28" fmla="*/ 520 w 907"/>
              <a:gd name="T29" fmla="*/ 596 h 908"/>
              <a:gd name="T30" fmla="*/ 547 w 907"/>
              <a:gd name="T31" fmla="*/ 577 h 908"/>
              <a:gd name="T32" fmla="*/ 565 w 907"/>
              <a:gd name="T33" fmla="*/ 557 h 908"/>
              <a:gd name="T34" fmla="*/ 583 w 907"/>
              <a:gd name="T35" fmla="*/ 524 h 908"/>
              <a:gd name="T36" fmla="*/ 592 w 907"/>
              <a:gd name="T37" fmla="*/ 483 h 908"/>
              <a:gd name="T38" fmla="*/ 594 w 907"/>
              <a:gd name="T39" fmla="*/ 445 h 908"/>
              <a:gd name="T40" fmla="*/ 587 w 907"/>
              <a:gd name="T41" fmla="*/ 400 h 908"/>
              <a:gd name="T42" fmla="*/ 577 w 907"/>
              <a:gd name="T43" fmla="*/ 370 h 908"/>
              <a:gd name="T44" fmla="*/ 561 w 907"/>
              <a:gd name="T45" fmla="*/ 346 h 908"/>
              <a:gd name="T46" fmla="*/ 526 w 907"/>
              <a:gd name="T47" fmla="*/ 315 h 908"/>
              <a:gd name="T48" fmla="*/ 503 w 907"/>
              <a:gd name="T49" fmla="*/ 305 h 908"/>
              <a:gd name="T50" fmla="*/ 471 w 907"/>
              <a:gd name="T51" fmla="*/ 298 h 908"/>
              <a:gd name="T52" fmla="*/ 453 w 907"/>
              <a:gd name="T53" fmla="*/ 908 h 908"/>
              <a:gd name="T54" fmla="*/ 453 w 907"/>
              <a:gd name="T55" fmla="*/ 0 h 908"/>
              <a:gd name="T56" fmla="*/ 681 w 907"/>
              <a:gd name="T57" fmla="*/ 676 h 908"/>
              <a:gd name="T58" fmla="*/ 585 w 907"/>
              <a:gd name="T59" fmla="*/ 631 h 908"/>
              <a:gd name="T60" fmla="*/ 549 w 907"/>
              <a:gd name="T61" fmla="*/ 660 h 908"/>
              <a:gd name="T62" fmla="*/ 514 w 907"/>
              <a:gd name="T63" fmla="*/ 676 h 908"/>
              <a:gd name="T64" fmla="*/ 473 w 907"/>
              <a:gd name="T65" fmla="*/ 685 h 908"/>
              <a:gd name="T66" fmla="*/ 427 w 907"/>
              <a:gd name="T67" fmla="*/ 685 h 908"/>
              <a:gd name="T68" fmla="*/ 382 w 907"/>
              <a:gd name="T69" fmla="*/ 676 h 908"/>
              <a:gd name="T70" fmla="*/ 342 w 907"/>
              <a:gd name="T71" fmla="*/ 658 h 908"/>
              <a:gd name="T72" fmla="*/ 306 w 907"/>
              <a:gd name="T73" fmla="*/ 633 h 908"/>
              <a:gd name="T74" fmla="*/ 276 w 907"/>
              <a:gd name="T75" fmla="*/ 602 h 908"/>
              <a:gd name="T76" fmla="*/ 253 w 907"/>
              <a:gd name="T77" fmla="*/ 565 h 908"/>
              <a:gd name="T78" fmla="*/ 236 w 907"/>
              <a:gd name="T79" fmla="*/ 523 h 908"/>
              <a:gd name="T80" fmla="*/ 228 w 907"/>
              <a:gd name="T81" fmla="*/ 478 h 908"/>
              <a:gd name="T82" fmla="*/ 228 w 907"/>
              <a:gd name="T83" fmla="*/ 430 h 908"/>
              <a:gd name="T84" fmla="*/ 235 w 907"/>
              <a:gd name="T85" fmla="*/ 390 h 908"/>
              <a:gd name="T86" fmla="*/ 248 w 907"/>
              <a:gd name="T87" fmla="*/ 353 h 908"/>
              <a:gd name="T88" fmla="*/ 270 w 907"/>
              <a:gd name="T89" fmla="*/ 315 h 908"/>
              <a:gd name="T90" fmla="*/ 298 w 907"/>
              <a:gd name="T91" fmla="*/ 282 h 908"/>
              <a:gd name="T92" fmla="*/ 323 w 907"/>
              <a:gd name="T93" fmla="*/ 261 h 908"/>
              <a:gd name="T94" fmla="*/ 361 w 907"/>
              <a:gd name="T95" fmla="*/ 240 h 908"/>
              <a:gd name="T96" fmla="*/ 404 w 907"/>
              <a:gd name="T97" fmla="*/ 227 h 908"/>
              <a:gd name="T98" fmla="*/ 451 w 907"/>
              <a:gd name="T99" fmla="*/ 222 h 908"/>
              <a:gd name="T100" fmla="*/ 494 w 907"/>
              <a:gd name="T101" fmla="*/ 226 h 908"/>
              <a:gd name="T102" fmla="*/ 532 w 907"/>
              <a:gd name="T103" fmla="*/ 239 h 908"/>
              <a:gd name="T104" fmla="*/ 560 w 907"/>
              <a:gd name="T105" fmla="*/ 255 h 908"/>
              <a:gd name="T106" fmla="*/ 585 w 907"/>
              <a:gd name="T107" fmla="*/ 277 h 908"/>
              <a:gd name="T108" fmla="*/ 681 w 907"/>
              <a:gd name="T109" fmla="*/ 676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7" h="908">
                <a:moveTo>
                  <a:pt x="459" y="298"/>
                </a:moveTo>
                <a:lnTo>
                  <a:pt x="450" y="298"/>
                </a:lnTo>
                <a:lnTo>
                  <a:pt x="441" y="299"/>
                </a:lnTo>
                <a:lnTo>
                  <a:pt x="433" y="300"/>
                </a:lnTo>
                <a:lnTo>
                  <a:pt x="425" y="301"/>
                </a:lnTo>
                <a:lnTo>
                  <a:pt x="417" y="303"/>
                </a:lnTo>
                <a:lnTo>
                  <a:pt x="410" y="306"/>
                </a:lnTo>
                <a:lnTo>
                  <a:pt x="403" y="308"/>
                </a:lnTo>
                <a:lnTo>
                  <a:pt x="396" y="312"/>
                </a:lnTo>
                <a:lnTo>
                  <a:pt x="383" y="319"/>
                </a:lnTo>
                <a:lnTo>
                  <a:pt x="371" y="328"/>
                </a:lnTo>
                <a:lnTo>
                  <a:pt x="366" y="332"/>
                </a:lnTo>
                <a:lnTo>
                  <a:pt x="361" y="337"/>
                </a:lnTo>
                <a:lnTo>
                  <a:pt x="351" y="348"/>
                </a:lnTo>
                <a:lnTo>
                  <a:pt x="347" y="354"/>
                </a:lnTo>
                <a:lnTo>
                  <a:pt x="343" y="360"/>
                </a:lnTo>
                <a:lnTo>
                  <a:pt x="336" y="372"/>
                </a:lnTo>
                <a:lnTo>
                  <a:pt x="333" y="378"/>
                </a:lnTo>
                <a:lnTo>
                  <a:pt x="330" y="385"/>
                </a:lnTo>
                <a:lnTo>
                  <a:pt x="325" y="398"/>
                </a:lnTo>
                <a:lnTo>
                  <a:pt x="321" y="412"/>
                </a:lnTo>
                <a:lnTo>
                  <a:pt x="318" y="426"/>
                </a:lnTo>
                <a:lnTo>
                  <a:pt x="316" y="440"/>
                </a:lnTo>
                <a:lnTo>
                  <a:pt x="316" y="455"/>
                </a:lnTo>
                <a:lnTo>
                  <a:pt x="316" y="469"/>
                </a:lnTo>
                <a:lnTo>
                  <a:pt x="317" y="476"/>
                </a:lnTo>
                <a:lnTo>
                  <a:pt x="318" y="483"/>
                </a:lnTo>
                <a:lnTo>
                  <a:pt x="321" y="497"/>
                </a:lnTo>
                <a:lnTo>
                  <a:pt x="323" y="504"/>
                </a:lnTo>
                <a:lnTo>
                  <a:pt x="325" y="511"/>
                </a:lnTo>
                <a:lnTo>
                  <a:pt x="327" y="517"/>
                </a:lnTo>
                <a:lnTo>
                  <a:pt x="330" y="524"/>
                </a:lnTo>
                <a:lnTo>
                  <a:pt x="333" y="530"/>
                </a:lnTo>
                <a:lnTo>
                  <a:pt x="336" y="537"/>
                </a:lnTo>
                <a:lnTo>
                  <a:pt x="339" y="543"/>
                </a:lnTo>
                <a:lnTo>
                  <a:pt x="343" y="549"/>
                </a:lnTo>
                <a:lnTo>
                  <a:pt x="347" y="555"/>
                </a:lnTo>
                <a:lnTo>
                  <a:pt x="351" y="561"/>
                </a:lnTo>
                <a:lnTo>
                  <a:pt x="356" y="566"/>
                </a:lnTo>
                <a:lnTo>
                  <a:pt x="361" y="571"/>
                </a:lnTo>
                <a:lnTo>
                  <a:pt x="366" y="576"/>
                </a:lnTo>
                <a:lnTo>
                  <a:pt x="371" y="581"/>
                </a:lnTo>
                <a:lnTo>
                  <a:pt x="377" y="585"/>
                </a:lnTo>
                <a:lnTo>
                  <a:pt x="383" y="589"/>
                </a:lnTo>
                <a:lnTo>
                  <a:pt x="389" y="593"/>
                </a:lnTo>
                <a:lnTo>
                  <a:pt x="396" y="597"/>
                </a:lnTo>
                <a:lnTo>
                  <a:pt x="403" y="600"/>
                </a:lnTo>
                <a:lnTo>
                  <a:pt x="410" y="603"/>
                </a:lnTo>
                <a:lnTo>
                  <a:pt x="417" y="605"/>
                </a:lnTo>
                <a:lnTo>
                  <a:pt x="425" y="607"/>
                </a:lnTo>
                <a:lnTo>
                  <a:pt x="433" y="608"/>
                </a:lnTo>
                <a:lnTo>
                  <a:pt x="441" y="610"/>
                </a:lnTo>
                <a:lnTo>
                  <a:pt x="450" y="610"/>
                </a:lnTo>
                <a:lnTo>
                  <a:pt x="459" y="611"/>
                </a:lnTo>
                <a:lnTo>
                  <a:pt x="471" y="610"/>
                </a:lnTo>
                <a:lnTo>
                  <a:pt x="484" y="608"/>
                </a:lnTo>
                <a:lnTo>
                  <a:pt x="497" y="605"/>
                </a:lnTo>
                <a:lnTo>
                  <a:pt x="509" y="601"/>
                </a:lnTo>
                <a:lnTo>
                  <a:pt x="515" y="599"/>
                </a:lnTo>
                <a:lnTo>
                  <a:pt x="520" y="596"/>
                </a:lnTo>
                <a:lnTo>
                  <a:pt x="532" y="589"/>
                </a:lnTo>
                <a:lnTo>
                  <a:pt x="537" y="586"/>
                </a:lnTo>
                <a:lnTo>
                  <a:pt x="542" y="582"/>
                </a:lnTo>
                <a:lnTo>
                  <a:pt x="547" y="577"/>
                </a:lnTo>
                <a:lnTo>
                  <a:pt x="552" y="573"/>
                </a:lnTo>
                <a:lnTo>
                  <a:pt x="557" y="568"/>
                </a:lnTo>
                <a:lnTo>
                  <a:pt x="561" y="562"/>
                </a:lnTo>
                <a:lnTo>
                  <a:pt x="565" y="557"/>
                </a:lnTo>
                <a:lnTo>
                  <a:pt x="569" y="551"/>
                </a:lnTo>
                <a:lnTo>
                  <a:pt x="577" y="538"/>
                </a:lnTo>
                <a:lnTo>
                  <a:pt x="580" y="531"/>
                </a:lnTo>
                <a:lnTo>
                  <a:pt x="583" y="524"/>
                </a:lnTo>
                <a:lnTo>
                  <a:pt x="587" y="509"/>
                </a:lnTo>
                <a:lnTo>
                  <a:pt x="589" y="500"/>
                </a:lnTo>
                <a:lnTo>
                  <a:pt x="591" y="492"/>
                </a:lnTo>
                <a:lnTo>
                  <a:pt x="592" y="483"/>
                </a:lnTo>
                <a:lnTo>
                  <a:pt x="593" y="474"/>
                </a:lnTo>
                <a:lnTo>
                  <a:pt x="594" y="464"/>
                </a:lnTo>
                <a:lnTo>
                  <a:pt x="594" y="455"/>
                </a:lnTo>
                <a:lnTo>
                  <a:pt x="594" y="445"/>
                </a:lnTo>
                <a:lnTo>
                  <a:pt x="593" y="435"/>
                </a:lnTo>
                <a:lnTo>
                  <a:pt x="592" y="426"/>
                </a:lnTo>
                <a:lnTo>
                  <a:pt x="591" y="417"/>
                </a:lnTo>
                <a:lnTo>
                  <a:pt x="587" y="400"/>
                </a:lnTo>
                <a:lnTo>
                  <a:pt x="585" y="392"/>
                </a:lnTo>
                <a:lnTo>
                  <a:pt x="583" y="385"/>
                </a:lnTo>
                <a:lnTo>
                  <a:pt x="580" y="377"/>
                </a:lnTo>
                <a:lnTo>
                  <a:pt x="577" y="370"/>
                </a:lnTo>
                <a:lnTo>
                  <a:pt x="573" y="364"/>
                </a:lnTo>
                <a:lnTo>
                  <a:pt x="569" y="357"/>
                </a:lnTo>
                <a:lnTo>
                  <a:pt x="565" y="352"/>
                </a:lnTo>
                <a:lnTo>
                  <a:pt x="561" y="346"/>
                </a:lnTo>
                <a:lnTo>
                  <a:pt x="552" y="336"/>
                </a:lnTo>
                <a:lnTo>
                  <a:pt x="542" y="327"/>
                </a:lnTo>
                <a:lnTo>
                  <a:pt x="532" y="319"/>
                </a:lnTo>
                <a:lnTo>
                  <a:pt x="526" y="315"/>
                </a:lnTo>
                <a:lnTo>
                  <a:pt x="520" y="312"/>
                </a:lnTo>
                <a:lnTo>
                  <a:pt x="515" y="309"/>
                </a:lnTo>
                <a:lnTo>
                  <a:pt x="509" y="307"/>
                </a:lnTo>
                <a:lnTo>
                  <a:pt x="503" y="305"/>
                </a:lnTo>
                <a:lnTo>
                  <a:pt x="497" y="303"/>
                </a:lnTo>
                <a:lnTo>
                  <a:pt x="490" y="301"/>
                </a:lnTo>
                <a:lnTo>
                  <a:pt x="484" y="300"/>
                </a:lnTo>
                <a:lnTo>
                  <a:pt x="471" y="298"/>
                </a:lnTo>
                <a:lnTo>
                  <a:pt x="465" y="298"/>
                </a:lnTo>
                <a:lnTo>
                  <a:pt x="459" y="298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4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4"/>
                </a:lnTo>
                <a:lnTo>
                  <a:pt x="0" y="908"/>
                </a:lnTo>
                <a:close/>
                <a:moveTo>
                  <a:pt x="681" y="676"/>
                </a:moveTo>
                <a:lnTo>
                  <a:pt x="591" y="676"/>
                </a:lnTo>
                <a:lnTo>
                  <a:pt x="591" y="624"/>
                </a:lnTo>
                <a:lnTo>
                  <a:pt x="588" y="627"/>
                </a:lnTo>
                <a:lnTo>
                  <a:pt x="585" y="631"/>
                </a:lnTo>
                <a:lnTo>
                  <a:pt x="579" y="637"/>
                </a:lnTo>
                <a:lnTo>
                  <a:pt x="572" y="644"/>
                </a:lnTo>
                <a:lnTo>
                  <a:pt x="565" y="649"/>
                </a:lnTo>
                <a:lnTo>
                  <a:pt x="549" y="660"/>
                </a:lnTo>
                <a:lnTo>
                  <a:pt x="541" y="665"/>
                </a:lnTo>
                <a:lnTo>
                  <a:pt x="532" y="669"/>
                </a:lnTo>
                <a:lnTo>
                  <a:pt x="523" y="673"/>
                </a:lnTo>
                <a:lnTo>
                  <a:pt x="514" y="676"/>
                </a:lnTo>
                <a:lnTo>
                  <a:pt x="504" y="679"/>
                </a:lnTo>
                <a:lnTo>
                  <a:pt x="494" y="682"/>
                </a:lnTo>
                <a:lnTo>
                  <a:pt x="484" y="684"/>
                </a:lnTo>
                <a:lnTo>
                  <a:pt x="473" y="685"/>
                </a:lnTo>
                <a:lnTo>
                  <a:pt x="462" y="686"/>
                </a:lnTo>
                <a:lnTo>
                  <a:pt x="451" y="686"/>
                </a:lnTo>
                <a:lnTo>
                  <a:pt x="439" y="686"/>
                </a:lnTo>
                <a:lnTo>
                  <a:pt x="427" y="685"/>
                </a:lnTo>
                <a:lnTo>
                  <a:pt x="415" y="684"/>
                </a:lnTo>
                <a:lnTo>
                  <a:pt x="404" y="682"/>
                </a:lnTo>
                <a:lnTo>
                  <a:pt x="393" y="679"/>
                </a:lnTo>
                <a:lnTo>
                  <a:pt x="382" y="676"/>
                </a:lnTo>
                <a:lnTo>
                  <a:pt x="372" y="672"/>
                </a:lnTo>
                <a:lnTo>
                  <a:pt x="361" y="668"/>
                </a:lnTo>
                <a:lnTo>
                  <a:pt x="351" y="663"/>
                </a:lnTo>
                <a:lnTo>
                  <a:pt x="342" y="658"/>
                </a:lnTo>
                <a:lnTo>
                  <a:pt x="332" y="653"/>
                </a:lnTo>
                <a:lnTo>
                  <a:pt x="323" y="647"/>
                </a:lnTo>
                <a:lnTo>
                  <a:pt x="315" y="640"/>
                </a:lnTo>
                <a:lnTo>
                  <a:pt x="306" y="633"/>
                </a:lnTo>
                <a:lnTo>
                  <a:pt x="298" y="626"/>
                </a:lnTo>
                <a:lnTo>
                  <a:pt x="291" y="618"/>
                </a:lnTo>
                <a:lnTo>
                  <a:pt x="283" y="610"/>
                </a:lnTo>
                <a:lnTo>
                  <a:pt x="276" y="602"/>
                </a:lnTo>
                <a:lnTo>
                  <a:pt x="270" y="593"/>
                </a:lnTo>
                <a:lnTo>
                  <a:pt x="264" y="584"/>
                </a:lnTo>
                <a:lnTo>
                  <a:pt x="258" y="575"/>
                </a:lnTo>
                <a:lnTo>
                  <a:pt x="253" y="565"/>
                </a:lnTo>
                <a:lnTo>
                  <a:pt x="248" y="555"/>
                </a:lnTo>
                <a:lnTo>
                  <a:pt x="244" y="545"/>
                </a:lnTo>
                <a:lnTo>
                  <a:pt x="240" y="534"/>
                </a:lnTo>
                <a:lnTo>
                  <a:pt x="236" y="523"/>
                </a:lnTo>
                <a:lnTo>
                  <a:pt x="234" y="512"/>
                </a:lnTo>
                <a:lnTo>
                  <a:pt x="231" y="501"/>
                </a:lnTo>
                <a:lnTo>
                  <a:pt x="229" y="489"/>
                </a:lnTo>
                <a:lnTo>
                  <a:pt x="228" y="478"/>
                </a:lnTo>
                <a:lnTo>
                  <a:pt x="227" y="466"/>
                </a:lnTo>
                <a:lnTo>
                  <a:pt x="227" y="454"/>
                </a:lnTo>
                <a:lnTo>
                  <a:pt x="227" y="442"/>
                </a:lnTo>
                <a:lnTo>
                  <a:pt x="228" y="430"/>
                </a:lnTo>
                <a:lnTo>
                  <a:pt x="229" y="418"/>
                </a:lnTo>
                <a:lnTo>
                  <a:pt x="231" y="407"/>
                </a:lnTo>
                <a:lnTo>
                  <a:pt x="234" y="396"/>
                </a:lnTo>
                <a:lnTo>
                  <a:pt x="235" y="390"/>
                </a:lnTo>
                <a:lnTo>
                  <a:pt x="236" y="385"/>
                </a:lnTo>
                <a:lnTo>
                  <a:pt x="240" y="374"/>
                </a:lnTo>
                <a:lnTo>
                  <a:pt x="244" y="363"/>
                </a:lnTo>
                <a:lnTo>
                  <a:pt x="248" y="353"/>
                </a:lnTo>
                <a:lnTo>
                  <a:pt x="253" y="343"/>
                </a:lnTo>
                <a:lnTo>
                  <a:pt x="258" y="333"/>
                </a:lnTo>
                <a:lnTo>
                  <a:pt x="264" y="324"/>
                </a:lnTo>
                <a:lnTo>
                  <a:pt x="270" y="315"/>
                </a:lnTo>
                <a:lnTo>
                  <a:pt x="276" y="306"/>
                </a:lnTo>
                <a:lnTo>
                  <a:pt x="283" y="298"/>
                </a:lnTo>
                <a:lnTo>
                  <a:pt x="291" y="290"/>
                </a:lnTo>
                <a:lnTo>
                  <a:pt x="298" y="282"/>
                </a:lnTo>
                <a:lnTo>
                  <a:pt x="306" y="275"/>
                </a:lnTo>
                <a:lnTo>
                  <a:pt x="310" y="271"/>
                </a:lnTo>
                <a:lnTo>
                  <a:pt x="315" y="268"/>
                </a:lnTo>
                <a:lnTo>
                  <a:pt x="323" y="261"/>
                </a:lnTo>
                <a:lnTo>
                  <a:pt x="332" y="255"/>
                </a:lnTo>
                <a:lnTo>
                  <a:pt x="342" y="250"/>
                </a:lnTo>
                <a:lnTo>
                  <a:pt x="351" y="245"/>
                </a:lnTo>
                <a:lnTo>
                  <a:pt x="361" y="240"/>
                </a:lnTo>
                <a:lnTo>
                  <a:pt x="372" y="236"/>
                </a:lnTo>
                <a:lnTo>
                  <a:pt x="382" y="232"/>
                </a:lnTo>
                <a:lnTo>
                  <a:pt x="393" y="229"/>
                </a:lnTo>
                <a:lnTo>
                  <a:pt x="404" y="227"/>
                </a:lnTo>
                <a:lnTo>
                  <a:pt x="415" y="225"/>
                </a:lnTo>
                <a:lnTo>
                  <a:pt x="427" y="223"/>
                </a:lnTo>
                <a:lnTo>
                  <a:pt x="439" y="222"/>
                </a:lnTo>
                <a:lnTo>
                  <a:pt x="451" y="222"/>
                </a:lnTo>
                <a:lnTo>
                  <a:pt x="462" y="222"/>
                </a:lnTo>
                <a:lnTo>
                  <a:pt x="473" y="223"/>
                </a:lnTo>
                <a:lnTo>
                  <a:pt x="484" y="224"/>
                </a:lnTo>
                <a:lnTo>
                  <a:pt x="494" y="226"/>
                </a:lnTo>
                <a:lnTo>
                  <a:pt x="504" y="229"/>
                </a:lnTo>
                <a:lnTo>
                  <a:pt x="513" y="231"/>
                </a:lnTo>
                <a:lnTo>
                  <a:pt x="523" y="235"/>
                </a:lnTo>
                <a:lnTo>
                  <a:pt x="532" y="239"/>
                </a:lnTo>
                <a:lnTo>
                  <a:pt x="540" y="243"/>
                </a:lnTo>
                <a:lnTo>
                  <a:pt x="549" y="247"/>
                </a:lnTo>
                <a:lnTo>
                  <a:pt x="557" y="253"/>
                </a:lnTo>
                <a:lnTo>
                  <a:pt x="560" y="255"/>
                </a:lnTo>
                <a:lnTo>
                  <a:pt x="564" y="258"/>
                </a:lnTo>
                <a:lnTo>
                  <a:pt x="571" y="264"/>
                </a:lnTo>
                <a:lnTo>
                  <a:pt x="578" y="270"/>
                </a:lnTo>
                <a:lnTo>
                  <a:pt x="585" y="277"/>
                </a:lnTo>
                <a:lnTo>
                  <a:pt x="591" y="283"/>
                </a:lnTo>
                <a:lnTo>
                  <a:pt x="591" y="231"/>
                </a:lnTo>
                <a:lnTo>
                  <a:pt x="681" y="231"/>
                </a:lnTo>
                <a:lnTo>
                  <a:pt x="681" y="67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7" name="Freeform 19"/>
          <p:cNvSpPr>
            <a:spLocks noChangeAspect="1" noEditPoints="1"/>
          </p:cNvSpPr>
          <p:nvPr userDrawn="1"/>
        </p:nvSpPr>
        <p:spPr bwMode="auto">
          <a:xfrm>
            <a:off x="-1237" y="1285284"/>
            <a:ext cx="1306667" cy="1286466"/>
          </a:xfrm>
          <a:custGeom>
            <a:avLst/>
            <a:gdLst>
              <a:gd name="T0" fmla="*/ 424 w 908"/>
              <a:gd name="T1" fmla="*/ 683 h 908"/>
              <a:gd name="T2" fmla="*/ 365 w 908"/>
              <a:gd name="T3" fmla="*/ 671 h 908"/>
              <a:gd name="T4" fmla="*/ 304 w 908"/>
              <a:gd name="T5" fmla="*/ 647 h 908"/>
              <a:gd name="T6" fmla="*/ 247 w 908"/>
              <a:gd name="T7" fmla="*/ 610 h 908"/>
              <a:gd name="T8" fmla="*/ 286 w 908"/>
              <a:gd name="T9" fmla="*/ 536 h 908"/>
              <a:gd name="T10" fmla="*/ 321 w 908"/>
              <a:gd name="T11" fmla="*/ 562 h 908"/>
              <a:gd name="T12" fmla="*/ 365 w 908"/>
              <a:gd name="T13" fmla="*/ 585 h 908"/>
              <a:gd name="T14" fmla="*/ 405 w 908"/>
              <a:gd name="T15" fmla="*/ 598 h 908"/>
              <a:gd name="T16" fmla="*/ 441 w 908"/>
              <a:gd name="T17" fmla="*/ 604 h 908"/>
              <a:gd name="T18" fmla="*/ 508 w 908"/>
              <a:gd name="T19" fmla="*/ 602 h 908"/>
              <a:gd name="T20" fmla="*/ 551 w 908"/>
              <a:gd name="T21" fmla="*/ 589 h 908"/>
              <a:gd name="T22" fmla="*/ 571 w 908"/>
              <a:gd name="T23" fmla="*/ 575 h 908"/>
              <a:gd name="T24" fmla="*/ 582 w 908"/>
              <a:gd name="T25" fmla="*/ 556 h 908"/>
              <a:gd name="T26" fmla="*/ 583 w 908"/>
              <a:gd name="T27" fmla="*/ 539 h 908"/>
              <a:gd name="T28" fmla="*/ 575 w 908"/>
              <a:gd name="T29" fmla="*/ 524 h 908"/>
              <a:gd name="T30" fmla="*/ 559 w 908"/>
              <a:gd name="T31" fmla="*/ 512 h 908"/>
              <a:gd name="T32" fmla="*/ 521 w 908"/>
              <a:gd name="T33" fmla="*/ 501 h 908"/>
              <a:gd name="T34" fmla="*/ 394 w 908"/>
              <a:gd name="T35" fmla="*/ 483 h 908"/>
              <a:gd name="T36" fmla="*/ 324 w 908"/>
              <a:gd name="T37" fmla="*/ 465 h 908"/>
              <a:gd name="T38" fmla="*/ 280 w 908"/>
              <a:gd name="T39" fmla="*/ 442 h 908"/>
              <a:gd name="T40" fmla="*/ 257 w 908"/>
              <a:gd name="T41" fmla="*/ 420 h 908"/>
              <a:gd name="T42" fmla="*/ 243 w 908"/>
              <a:gd name="T43" fmla="*/ 392 h 908"/>
              <a:gd name="T44" fmla="*/ 237 w 908"/>
              <a:gd name="T45" fmla="*/ 356 h 908"/>
              <a:gd name="T46" fmla="*/ 242 w 908"/>
              <a:gd name="T47" fmla="*/ 328 h 908"/>
              <a:gd name="T48" fmla="*/ 254 w 908"/>
              <a:gd name="T49" fmla="*/ 302 h 908"/>
              <a:gd name="T50" fmla="*/ 274 w 908"/>
              <a:gd name="T51" fmla="*/ 279 h 908"/>
              <a:gd name="T52" fmla="*/ 299 w 908"/>
              <a:gd name="T53" fmla="*/ 260 h 908"/>
              <a:gd name="T54" fmla="*/ 347 w 908"/>
              <a:gd name="T55" fmla="*/ 237 h 908"/>
              <a:gd name="T56" fmla="*/ 422 w 908"/>
              <a:gd name="T57" fmla="*/ 222 h 908"/>
              <a:gd name="T58" fmla="*/ 489 w 908"/>
              <a:gd name="T59" fmla="*/ 224 h 908"/>
              <a:gd name="T60" fmla="*/ 545 w 908"/>
              <a:gd name="T61" fmla="*/ 235 h 908"/>
              <a:gd name="T62" fmla="*/ 596 w 908"/>
              <a:gd name="T63" fmla="*/ 255 h 908"/>
              <a:gd name="T64" fmla="*/ 641 w 908"/>
              <a:gd name="T65" fmla="*/ 283 h 908"/>
              <a:gd name="T66" fmla="*/ 591 w 908"/>
              <a:gd name="T67" fmla="*/ 351 h 908"/>
              <a:gd name="T68" fmla="*/ 550 w 908"/>
              <a:gd name="T69" fmla="*/ 325 h 908"/>
              <a:gd name="T70" fmla="*/ 503 w 908"/>
              <a:gd name="T71" fmla="*/ 308 h 908"/>
              <a:gd name="T72" fmla="*/ 462 w 908"/>
              <a:gd name="T73" fmla="*/ 302 h 908"/>
              <a:gd name="T74" fmla="*/ 416 w 908"/>
              <a:gd name="T75" fmla="*/ 303 h 908"/>
              <a:gd name="T76" fmla="*/ 372 w 908"/>
              <a:gd name="T77" fmla="*/ 313 h 908"/>
              <a:gd name="T78" fmla="*/ 343 w 908"/>
              <a:gd name="T79" fmla="*/ 329 h 908"/>
              <a:gd name="T80" fmla="*/ 328 w 908"/>
              <a:gd name="T81" fmla="*/ 347 h 908"/>
              <a:gd name="T82" fmla="*/ 328 w 908"/>
              <a:gd name="T83" fmla="*/ 366 h 908"/>
              <a:gd name="T84" fmla="*/ 338 w 908"/>
              <a:gd name="T85" fmla="*/ 380 h 908"/>
              <a:gd name="T86" fmla="*/ 369 w 908"/>
              <a:gd name="T87" fmla="*/ 395 h 908"/>
              <a:gd name="T88" fmla="*/ 443 w 908"/>
              <a:gd name="T89" fmla="*/ 407 h 908"/>
              <a:gd name="T90" fmla="*/ 550 w 908"/>
              <a:gd name="T91" fmla="*/ 424 h 908"/>
              <a:gd name="T92" fmla="*/ 607 w 908"/>
              <a:gd name="T93" fmla="*/ 442 h 908"/>
              <a:gd name="T94" fmla="*/ 639 w 908"/>
              <a:gd name="T95" fmla="*/ 462 h 908"/>
              <a:gd name="T96" fmla="*/ 658 w 908"/>
              <a:gd name="T97" fmla="*/ 483 h 908"/>
              <a:gd name="T98" fmla="*/ 670 w 908"/>
              <a:gd name="T99" fmla="*/ 511 h 908"/>
              <a:gd name="T100" fmla="*/ 674 w 908"/>
              <a:gd name="T101" fmla="*/ 545 h 908"/>
              <a:gd name="T102" fmla="*/ 670 w 908"/>
              <a:gd name="T103" fmla="*/ 573 h 908"/>
              <a:gd name="T104" fmla="*/ 659 w 908"/>
              <a:gd name="T105" fmla="*/ 600 h 908"/>
              <a:gd name="T106" fmla="*/ 641 w 908"/>
              <a:gd name="T107" fmla="*/ 624 h 908"/>
              <a:gd name="T108" fmla="*/ 616 w 908"/>
              <a:gd name="T109" fmla="*/ 644 h 908"/>
              <a:gd name="T110" fmla="*/ 569 w 908"/>
              <a:gd name="T111" fmla="*/ 668 h 908"/>
              <a:gd name="T112" fmla="*/ 510 w 908"/>
              <a:gd name="T113" fmla="*/ 683 h 908"/>
              <a:gd name="T114" fmla="*/ 0 w 908"/>
              <a:gd name="T115" fmla="*/ 908 h 908"/>
              <a:gd name="T116" fmla="*/ 908 w 908"/>
              <a:gd name="T117" fmla="*/ 0 h 908"/>
              <a:gd name="T118" fmla="*/ 0 w 908"/>
              <a:gd name="T119" fmla="*/ 908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466" y="685"/>
                </a:moveTo>
                <a:lnTo>
                  <a:pt x="452" y="685"/>
                </a:lnTo>
                <a:lnTo>
                  <a:pt x="438" y="684"/>
                </a:lnTo>
                <a:lnTo>
                  <a:pt x="424" y="683"/>
                </a:lnTo>
                <a:lnTo>
                  <a:pt x="410" y="681"/>
                </a:lnTo>
                <a:lnTo>
                  <a:pt x="395" y="678"/>
                </a:lnTo>
                <a:lnTo>
                  <a:pt x="380" y="675"/>
                </a:lnTo>
                <a:lnTo>
                  <a:pt x="365" y="671"/>
                </a:lnTo>
                <a:lnTo>
                  <a:pt x="350" y="666"/>
                </a:lnTo>
                <a:lnTo>
                  <a:pt x="335" y="661"/>
                </a:lnTo>
                <a:lnTo>
                  <a:pt x="319" y="654"/>
                </a:lnTo>
                <a:lnTo>
                  <a:pt x="304" y="647"/>
                </a:lnTo>
                <a:lnTo>
                  <a:pt x="290" y="639"/>
                </a:lnTo>
                <a:lnTo>
                  <a:pt x="275" y="631"/>
                </a:lnTo>
                <a:lnTo>
                  <a:pt x="261" y="621"/>
                </a:lnTo>
                <a:lnTo>
                  <a:pt x="247" y="610"/>
                </a:lnTo>
                <a:lnTo>
                  <a:pt x="240" y="605"/>
                </a:lnTo>
                <a:lnTo>
                  <a:pt x="233" y="599"/>
                </a:lnTo>
                <a:lnTo>
                  <a:pt x="283" y="533"/>
                </a:lnTo>
                <a:lnTo>
                  <a:pt x="286" y="536"/>
                </a:lnTo>
                <a:lnTo>
                  <a:pt x="296" y="544"/>
                </a:lnTo>
                <a:lnTo>
                  <a:pt x="303" y="550"/>
                </a:lnTo>
                <a:lnTo>
                  <a:pt x="311" y="556"/>
                </a:lnTo>
                <a:lnTo>
                  <a:pt x="321" y="562"/>
                </a:lnTo>
                <a:lnTo>
                  <a:pt x="332" y="569"/>
                </a:lnTo>
                <a:lnTo>
                  <a:pt x="345" y="576"/>
                </a:lnTo>
                <a:lnTo>
                  <a:pt x="358" y="582"/>
                </a:lnTo>
                <a:lnTo>
                  <a:pt x="365" y="585"/>
                </a:lnTo>
                <a:lnTo>
                  <a:pt x="373" y="588"/>
                </a:lnTo>
                <a:lnTo>
                  <a:pt x="388" y="594"/>
                </a:lnTo>
                <a:lnTo>
                  <a:pt x="396" y="596"/>
                </a:lnTo>
                <a:lnTo>
                  <a:pt x="405" y="598"/>
                </a:lnTo>
                <a:lnTo>
                  <a:pt x="414" y="600"/>
                </a:lnTo>
                <a:lnTo>
                  <a:pt x="423" y="602"/>
                </a:lnTo>
                <a:lnTo>
                  <a:pt x="432" y="603"/>
                </a:lnTo>
                <a:lnTo>
                  <a:pt x="441" y="604"/>
                </a:lnTo>
                <a:lnTo>
                  <a:pt x="460" y="605"/>
                </a:lnTo>
                <a:lnTo>
                  <a:pt x="478" y="605"/>
                </a:lnTo>
                <a:lnTo>
                  <a:pt x="494" y="604"/>
                </a:lnTo>
                <a:lnTo>
                  <a:pt x="508" y="602"/>
                </a:lnTo>
                <a:lnTo>
                  <a:pt x="521" y="599"/>
                </a:lnTo>
                <a:lnTo>
                  <a:pt x="533" y="596"/>
                </a:lnTo>
                <a:lnTo>
                  <a:pt x="543" y="593"/>
                </a:lnTo>
                <a:lnTo>
                  <a:pt x="551" y="589"/>
                </a:lnTo>
                <a:lnTo>
                  <a:pt x="559" y="585"/>
                </a:lnTo>
                <a:lnTo>
                  <a:pt x="565" y="580"/>
                </a:lnTo>
                <a:lnTo>
                  <a:pt x="568" y="578"/>
                </a:lnTo>
                <a:lnTo>
                  <a:pt x="571" y="575"/>
                </a:lnTo>
                <a:lnTo>
                  <a:pt x="575" y="571"/>
                </a:lnTo>
                <a:lnTo>
                  <a:pt x="578" y="566"/>
                </a:lnTo>
                <a:lnTo>
                  <a:pt x="580" y="561"/>
                </a:lnTo>
                <a:lnTo>
                  <a:pt x="582" y="556"/>
                </a:lnTo>
                <a:lnTo>
                  <a:pt x="583" y="552"/>
                </a:lnTo>
                <a:lnTo>
                  <a:pt x="583" y="547"/>
                </a:lnTo>
                <a:lnTo>
                  <a:pt x="583" y="543"/>
                </a:lnTo>
                <a:lnTo>
                  <a:pt x="583" y="539"/>
                </a:lnTo>
                <a:lnTo>
                  <a:pt x="582" y="536"/>
                </a:lnTo>
                <a:lnTo>
                  <a:pt x="580" y="533"/>
                </a:lnTo>
                <a:lnTo>
                  <a:pt x="577" y="526"/>
                </a:lnTo>
                <a:lnTo>
                  <a:pt x="575" y="524"/>
                </a:lnTo>
                <a:lnTo>
                  <a:pt x="572" y="521"/>
                </a:lnTo>
                <a:lnTo>
                  <a:pt x="569" y="519"/>
                </a:lnTo>
                <a:lnTo>
                  <a:pt x="566" y="516"/>
                </a:lnTo>
                <a:lnTo>
                  <a:pt x="559" y="512"/>
                </a:lnTo>
                <a:lnTo>
                  <a:pt x="551" y="509"/>
                </a:lnTo>
                <a:lnTo>
                  <a:pt x="542" y="506"/>
                </a:lnTo>
                <a:lnTo>
                  <a:pt x="532" y="503"/>
                </a:lnTo>
                <a:lnTo>
                  <a:pt x="521" y="501"/>
                </a:lnTo>
                <a:lnTo>
                  <a:pt x="498" y="497"/>
                </a:lnTo>
                <a:lnTo>
                  <a:pt x="447" y="490"/>
                </a:lnTo>
                <a:lnTo>
                  <a:pt x="412" y="485"/>
                </a:lnTo>
                <a:lnTo>
                  <a:pt x="394" y="483"/>
                </a:lnTo>
                <a:lnTo>
                  <a:pt x="376" y="479"/>
                </a:lnTo>
                <a:lnTo>
                  <a:pt x="358" y="475"/>
                </a:lnTo>
                <a:lnTo>
                  <a:pt x="341" y="471"/>
                </a:lnTo>
                <a:lnTo>
                  <a:pt x="324" y="465"/>
                </a:lnTo>
                <a:lnTo>
                  <a:pt x="308" y="459"/>
                </a:lnTo>
                <a:lnTo>
                  <a:pt x="301" y="455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8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1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2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2"/>
                </a:lnTo>
                <a:lnTo>
                  <a:pt x="327" y="356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4"/>
                </a:lnTo>
                <a:lnTo>
                  <a:pt x="443" y="407"/>
                </a:lnTo>
                <a:lnTo>
                  <a:pt x="473" y="411"/>
                </a:lnTo>
                <a:lnTo>
                  <a:pt x="513" y="417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2"/>
                </a:lnTo>
                <a:lnTo>
                  <a:pt x="645" y="467"/>
                </a:lnTo>
                <a:lnTo>
                  <a:pt x="649" y="472"/>
                </a:lnTo>
                <a:lnTo>
                  <a:pt x="654" y="478"/>
                </a:lnTo>
                <a:lnTo>
                  <a:pt x="658" y="483"/>
                </a:lnTo>
                <a:lnTo>
                  <a:pt x="662" y="490"/>
                </a:lnTo>
                <a:lnTo>
                  <a:pt x="665" y="496"/>
                </a:lnTo>
                <a:lnTo>
                  <a:pt x="668" y="503"/>
                </a:lnTo>
                <a:lnTo>
                  <a:pt x="670" y="511"/>
                </a:lnTo>
                <a:lnTo>
                  <a:pt x="672" y="518"/>
                </a:lnTo>
                <a:lnTo>
                  <a:pt x="673" y="527"/>
                </a:lnTo>
                <a:lnTo>
                  <a:pt x="674" y="535"/>
                </a:lnTo>
                <a:lnTo>
                  <a:pt x="674" y="545"/>
                </a:lnTo>
                <a:lnTo>
                  <a:pt x="674" y="552"/>
                </a:lnTo>
                <a:lnTo>
                  <a:pt x="673" y="559"/>
                </a:lnTo>
                <a:lnTo>
                  <a:pt x="672" y="566"/>
                </a:lnTo>
                <a:lnTo>
                  <a:pt x="670" y="573"/>
                </a:lnTo>
                <a:lnTo>
                  <a:pt x="668" y="580"/>
                </a:lnTo>
                <a:lnTo>
                  <a:pt x="666" y="587"/>
                </a:lnTo>
                <a:lnTo>
                  <a:pt x="663" y="593"/>
                </a:lnTo>
                <a:lnTo>
                  <a:pt x="659" y="600"/>
                </a:lnTo>
                <a:lnTo>
                  <a:pt x="655" y="606"/>
                </a:lnTo>
                <a:lnTo>
                  <a:pt x="651" y="612"/>
                </a:lnTo>
                <a:lnTo>
                  <a:pt x="646" y="618"/>
                </a:lnTo>
                <a:lnTo>
                  <a:pt x="641" y="624"/>
                </a:lnTo>
                <a:lnTo>
                  <a:pt x="635" y="629"/>
                </a:lnTo>
                <a:lnTo>
                  <a:pt x="629" y="634"/>
                </a:lnTo>
                <a:lnTo>
                  <a:pt x="623" y="639"/>
                </a:lnTo>
                <a:lnTo>
                  <a:pt x="616" y="644"/>
                </a:lnTo>
                <a:lnTo>
                  <a:pt x="609" y="649"/>
                </a:lnTo>
                <a:lnTo>
                  <a:pt x="602" y="653"/>
                </a:lnTo>
                <a:lnTo>
                  <a:pt x="586" y="661"/>
                </a:lnTo>
                <a:lnTo>
                  <a:pt x="569" y="668"/>
                </a:lnTo>
                <a:lnTo>
                  <a:pt x="560" y="672"/>
                </a:lnTo>
                <a:lnTo>
                  <a:pt x="550" y="674"/>
                </a:lnTo>
                <a:lnTo>
                  <a:pt x="531" y="679"/>
                </a:lnTo>
                <a:lnTo>
                  <a:pt x="510" y="683"/>
                </a:lnTo>
                <a:lnTo>
                  <a:pt x="499" y="684"/>
                </a:lnTo>
                <a:lnTo>
                  <a:pt x="488" y="685"/>
                </a:lnTo>
                <a:lnTo>
                  <a:pt x="466" y="685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8" name="Freeform 20"/>
          <p:cNvSpPr>
            <a:spLocks noChangeAspect="1" noEditPoints="1"/>
          </p:cNvSpPr>
          <p:nvPr userDrawn="1"/>
        </p:nvSpPr>
        <p:spPr bwMode="auto">
          <a:xfrm>
            <a:off x="3917733" y="1285284"/>
            <a:ext cx="1306382" cy="1285880"/>
          </a:xfrm>
          <a:custGeom>
            <a:avLst/>
            <a:gdLst>
              <a:gd name="T0" fmla="*/ 908 w 908"/>
              <a:gd name="T1" fmla="*/ 453 h 908"/>
              <a:gd name="T2" fmla="*/ 0 w 908"/>
              <a:gd name="T3" fmla="*/ 453 h 908"/>
              <a:gd name="T4" fmla="*/ 431 w 908"/>
              <a:gd name="T5" fmla="*/ 684 h 908"/>
              <a:gd name="T6" fmla="*/ 386 w 908"/>
              <a:gd name="T7" fmla="*/ 675 h 908"/>
              <a:gd name="T8" fmla="*/ 344 w 908"/>
              <a:gd name="T9" fmla="*/ 657 h 908"/>
              <a:gd name="T10" fmla="*/ 307 w 908"/>
              <a:gd name="T11" fmla="*/ 632 h 908"/>
              <a:gd name="T12" fmla="*/ 276 w 908"/>
              <a:gd name="T13" fmla="*/ 601 h 908"/>
              <a:gd name="T14" fmla="*/ 251 w 908"/>
              <a:gd name="T15" fmla="*/ 564 h 908"/>
              <a:gd name="T16" fmla="*/ 233 w 908"/>
              <a:gd name="T17" fmla="*/ 523 h 908"/>
              <a:gd name="T18" fmla="*/ 223 w 908"/>
              <a:gd name="T19" fmla="*/ 477 h 908"/>
              <a:gd name="T20" fmla="*/ 223 w 908"/>
              <a:gd name="T21" fmla="*/ 429 h 908"/>
              <a:gd name="T22" fmla="*/ 233 w 908"/>
              <a:gd name="T23" fmla="*/ 383 h 908"/>
              <a:gd name="T24" fmla="*/ 251 w 908"/>
              <a:gd name="T25" fmla="*/ 342 h 908"/>
              <a:gd name="T26" fmla="*/ 276 w 908"/>
              <a:gd name="T27" fmla="*/ 305 h 908"/>
              <a:gd name="T28" fmla="*/ 307 w 908"/>
              <a:gd name="T29" fmla="*/ 274 h 908"/>
              <a:gd name="T30" fmla="*/ 344 w 908"/>
              <a:gd name="T31" fmla="*/ 249 h 908"/>
              <a:gd name="T32" fmla="*/ 386 w 908"/>
              <a:gd name="T33" fmla="*/ 231 h 908"/>
              <a:gd name="T34" fmla="*/ 431 w 908"/>
              <a:gd name="T35" fmla="*/ 222 h 908"/>
              <a:gd name="T36" fmla="*/ 479 w 908"/>
              <a:gd name="T37" fmla="*/ 222 h 908"/>
              <a:gd name="T38" fmla="*/ 524 w 908"/>
              <a:gd name="T39" fmla="*/ 231 h 908"/>
              <a:gd name="T40" fmla="*/ 565 w 908"/>
              <a:gd name="T41" fmla="*/ 249 h 908"/>
              <a:gd name="T42" fmla="*/ 602 w 908"/>
              <a:gd name="T43" fmla="*/ 274 h 908"/>
              <a:gd name="T44" fmla="*/ 634 w 908"/>
              <a:gd name="T45" fmla="*/ 305 h 908"/>
              <a:gd name="T46" fmla="*/ 659 w 908"/>
              <a:gd name="T47" fmla="*/ 342 h 908"/>
              <a:gd name="T48" fmla="*/ 676 w 908"/>
              <a:gd name="T49" fmla="*/ 383 h 908"/>
              <a:gd name="T50" fmla="*/ 685 w 908"/>
              <a:gd name="T51" fmla="*/ 429 h 908"/>
              <a:gd name="T52" fmla="*/ 685 w 908"/>
              <a:gd name="T53" fmla="*/ 477 h 908"/>
              <a:gd name="T54" fmla="*/ 676 w 908"/>
              <a:gd name="T55" fmla="*/ 523 h 908"/>
              <a:gd name="T56" fmla="*/ 659 w 908"/>
              <a:gd name="T57" fmla="*/ 564 h 908"/>
              <a:gd name="T58" fmla="*/ 634 w 908"/>
              <a:gd name="T59" fmla="*/ 601 h 908"/>
              <a:gd name="T60" fmla="*/ 602 w 908"/>
              <a:gd name="T61" fmla="*/ 632 h 908"/>
              <a:gd name="T62" fmla="*/ 565 w 908"/>
              <a:gd name="T63" fmla="*/ 657 h 908"/>
              <a:gd name="T64" fmla="*/ 524 w 908"/>
              <a:gd name="T65" fmla="*/ 675 h 908"/>
              <a:gd name="T66" fmla="*/ 479 w 908"/>
              <a:gd name="T67" fmla="*/ 684 h 908"/>
              <a:gd name="T68" fmla="*/ 440 w 908"/>
              <a:gd name="T69" fmla="*/ 302 h 908"/>
              <a:gd name="T70" fmla="*/ 406 w 908"/>
              <a:gd name="T71" fmla="*/ 309 h 908"/>
              <a:gd name="T72" fmla="*/ 381 w 908"/>
              <a:gd name="T73" fmla="*/ 321 h 908"/>
              <a:gd name="T74" fmla="*/ 359 w 908"/>
              <a:gd name="T75" fmla="*/ 338 h 908"/>
              <a:gd name="T76" fmla="*/ 341 w 908"/>
              <a:gd name="T77" fmla="*/ 359 h 908"/>
              <a:gd name="T78" fmla="*/ 323 w 908"/>
              <a:gd name="T79" fmla="*/ 391 h 908"/>
              <a:gd name="T80" fmla="*/ 315 w 908"/>
              <a:gd name="T81" fmla="*/ 420 h 908"/>
              <a:gd name="T82" fmla="*/ 313 w 908"/>
              <a:gd name="T83" fmla="*/ 470 h 908"/>
              <a:gd name="T84" fmla="*/ 323 w 908"/>
              <a:gd name="T85" fmla="*/ 515 h 908"/>
              <a:gd name="T86" fmla="*/ 341 w 908"/>
              <a:gd name="T87" fmla="*/ 547 h 908"/>
              <a:gd name="T88" fmla="*/ 359 w 908"/>
              <a:gd name="T89" fmla="*/ 568 h 908"/>
              <a:gd name="T90" fmla="*/ 387 w 908"/>
              <a:gd name="T91" fmla="*/ 588 h 908"/>
              <a:gd name="T92" fmla="*/ 426 w 908"/>
              <a:gd name="T93" fmla="*/ 602 h 908"/>
              <a:gd name="T94" fmla="*/ 469 w 908"/>
              <a:gd name="T95" fmla="*/ 604 h 908"/>
              <a:gd name="T96" fmla="*/ 504 w 908"/>
              <a:gd name="T97" fmla="*/ 597 h 908"/>
              <a:gd name="T98" fmla="*/ 529 w 908"/>
              <a:gd name="T99" fmla="*/ 585 h 908"/>
              <a:gd name="T100" fmla="*/ 551 w 908"/>
              <a:gd name="T101" fmla="*/ 568 h 908"/>
              <a:gd name="T102" fmla="*/ 569 w 908"/>
              <a:gd name="T103" fmla="*/ 547 h 908"/>
              <a:gd name="T104" fmla="*/ 586 w 908"/>
              <a:gd name="T105" fmla="*/ 515 h 908"/>
              <a:gd name="T106" fmla="*/ 595 w 908"/>
              <a:gd name="T107" fmla="*/ 486 h 908"/>
              <a:gd name="T108" fmla="*/ 597 w 908"/>
              <a:gd name="T109" fmla="*/ 436 h 908"/>
              <a:gd name="T110" fmla="*/ 586 w 908"/>
              <a:gd name="T111" fmla="*/ 391 h 908"/>
              <a:gd name="T112" fmla="*/ 569 w 908"/>
              <a:gd name="T113" fmla="*/ 359 h 908"/>
              <a:gd name="T114" fmla="*/ 551 w 908"/>
              <a:gd name="T115" fmla="*/ 338 h 908"/>
              <a:gd name="T116" fmla="*/ 523 w 908"/>
              <a:gd name="T117" fmla="*/ 318 h 908"/>
              <a:gd name="T118" fmla="*/ 484 w 908"/>
              <a:gd name="T119" fmla="*/ 304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0" y="908"/>
                </a:moveTo>
                <a:lnTo>
                  <a:pt x="454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4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  <a:moveTo>
                  <a:pt x="455" y="685"/>
                </a:moveTo>
                <a:lnTo>
                  <a:pt x="443" y="685"/>
                </a:lnTo>
                <a:lnTo>
                  <a:pt x="431" y="684"/>
                </a:lnTo>
                <a:lnTo>
                  <a:pt x="419" y="683"/>
                </a:lnTo>
                <a:lnTo>
                  <a:pt x="408" y="681"/>
                </a:lnTo>
                <a:lnTo>
                  <a:pt x="397" y="678"/>
                </a:lnTo>
                <a:lnTo>
                  <a:pt x="386" y="675"/>
                </a:lnTo>
                <a:lnTo>
                  <a:pt x="375" y="671"/>
                </a:lnTo>
                <a:lnTo>
                  <a:pt x="364" y="667"/>
                </a:lnTo>
                <a:lnTo>
                  <a:pt x="354" y="663"/>
                </a:lnTo>
                <a:lnTo>
                  <a:pt x="344" y="657"/>
                </a:lnTo>
                <a:lnTo>
                  <a:pt x="334" y="652"/>
                </a:lnTo>
                <a:lnTo>
                  <a:pt x="325" y="646"/>
                </a:lnTo>
                <a:lnTo>
                  <a:pt x="316" y="639"/>
                </a:lnTo>
                <a:lnTo>
                  <a:pt x="307" y="632"/>
                </a:lnTo>
                <a:lnTo>
                  <a:pt x="299" y="625"/>
                </a:lnTo>
                <a:lnTo>
                  <a:pt x="291" y="618"/>
                </a:lnTo>
                <a:lnTo>
                  <a:pt x="283" y="610"/>
                </a:lnTo>
                <a:lnTo>
                  <a:pt x="276" y="601"/>
                </a:lnTo>
                <a:lnTo>
                  <a:pt x="269" y="592"/>
                </a:lnTo>
                <a:lnTo>
                  <a:pt x="263" y="583"/>
                </a:lnTo>
                <a:lnTo>
                  <a:pt x="257" y="574"/>
                </a:lnTo>
                <a:lnTo>
                  <a:pt x="251" y="564"/>
                </a:lnTo>
                <a:lnTo>
                  <a:pt x="246" y="554"/>
                </a:lnTo>
                <a:lnTo>
                  <a:pt x="241" y="544"/>
                </a:lnTo>
                <a:lnTo>
                  <a:pt x="237" y="533"/>
                </a:lnTo>
                <a:lnTo>
                  <a:pt x="233" y="523"/>
                </a:lnTo>
                <a:lnTo>
                  <a:pt x="229" y="512"/>
                </a:lnTo>
                <a:lnTo>
                  <a:pt x="227" y="500"/>
                </a:lnTo>
                <a:lnTo>
                  <a:pt x="225" y="489"/>
                </a:lnTo>
                <a:lnTo>
                  <a:pt x="223" y="477"/>
                </a:lnTo>
                <a:lnTo>
                  <a:pt x="222" y="465"/>
                </a:lnTo>
                <a:lnTo>
                  <a:pt x="222" y="453"/>
                </a:lnTo>
                <a:lnTo>
                  <a:pt x="222" y="441"/>
                </a:lnTo>
                <a:lnTo>
                  <a:pt x="223" y="429"/>
                </a:lnTo>
                <a:lnTo>
                  <a:pt x="225" y="417"/>
                </a:lnTo>
                <a:lnTo>
                  <a:pt x="227" y="406"/>
                </a:lnTo>
                <a:lnTo>
                  <a:pt x="229" y="394"/>
                </a:lnTo>
                <a:lnTo>
                  <a:pt x="233" y="383"/>
                </a:lnTo>
                <a:lnTo>
                  <a:pt x="237" y="373"/>
                </a:lnTo>
                <a:lnTo>
                  <a:pt x="241" y="362"/>
                </a:lnTo>
                <a:lnTo>
                  <a:pt x="246" y="352"/>
                </a:lnTo>
                <a:lnTo>
                  <a:pt x="251" y="342"/>
                </a:lnTo>
                <a:lnTo>
                  <a:pt x="257" y="332"/>
                </a:lnTo>
                <a:lnTo>
                  <a:pt x="263" y="323"/>
                </a:lnTo>
                <a:lnTo>
                  <a:pt x="269" y="314"/>
                </a:lnTo>
                <a:lnTo>
                  <a:pt x="276" y="305"/>
                </a:lnTo>
                <a:lnTo>
                  <a:pt x="283" y="297"/>
                </a:lnTo>
                <a:lnTo>
                  <a:pt x="291" y="288"/>
                </a:lnTo>
                <a:lnTo>
                  <a:pt x="299" y="281"/>
                </a:lnTo>
                <a:lnTo>
                  <a:pt x="307" y="274"/>
                </a:lnTo>
                <a:lnTo>
                  <a:pt x="316" y="267"/>
                </a:lnTo>
                <a:lnTo>
                  <a:pt x="325" y="260"/>
                </a:lnTo>
                <a:lnTo>
                  <a:pt x="334" y="254"/>
                </a:lnTo>
                <a:lnTo>
                  <a:pt x="344" y="249"/>
                </a:lnTo>
                <a:lnTo>
                  <a:pt x="354" y="244"/>
                </a:lnTo>
                <a:lnTo>
                  <a:pt x="364" y="239"/>
                </a:lnTo>
                <a:lnTo>
                  <a:pt x="375" y="235"/>
                </a:lnTo>
                <a:lnTo>
                  <a:pt x="386" y="231"/>
                </a:lnTo>
                <a:lnTo>
                  <a:pt x="397" y="228"/>
                </a:lnTo>
                <a:lnTo>
                  <a:pt x="408" y="225"/>
                </a:lnTo>
                <a:lnTo>
                  <a:pt x="419" y="223"/>
                </a:lnTo>
                <a:lnTo>
                  <a:pt x="431" y="222"/>
                </a:lnTo>
                <a:lnTo>
                  <a:pt x="443" y="221"/>
                </a:lnTo>
                <a:lnTo>
                  <a:pt x="455" y="221"/>
                </a:lnTo>
                <a:lnTo>
                  <a:pt x="467" y="221"/>
                </a:lnTo>
                <a:lnTo>
                  <a:pt x="479" y="222"/>
                </a:lnTo>
                <a:lnTo>
                  <a:pt x="490" y="223"/>
                </a:lnTo>
                <a:lnTo>
                  <a:pt x="502" y="225"/>
                </a:lnTo>
                <a:lnTo>
                  <a:pt x="513" y="228"/>
                </a:lnTo>
                <a:lnTo>
                  <a:pt x="524" y="231"/>
                </a:lnTo>
                <a:lnTo>
                  <a:pt x="535" y="235"/>
                </a:lnTo>
                <a:lnTo>
                  <a:pt x="545" y="239"/>
                </a:lnTo>
                <a:lnTo>
                  <a:pt x="555" y="244"/>
                </a:lnTo>
                <a:lnTo>
                  <a:pt x="565" y="249"/>
                </a:lnTo>
                <a:lnTo>
                  <a:pt x="575" y="254"/>
                </a:lnTo>
                <a:lnTo>
                  <a:pt x="585" y="260"/>
                </a:lnTo>
                <a:lnTo>
                  <a:pt x="594" y="267"/>
                </a:lnTo>
                <a:lnTo>
                  <a:pt x="602" y="274"/>
                </a:lnTo>
                <a:lnTo>
                  <a:pt x="611" y="281"/>
                </a:lnTo>
                <a:lnTo>
                  <a:pt x="619" y="288"/>
                </a:lnTo>
                <a:lnTo>
                  <a:pt x="627" y="297"/>
                </a:lnTo>
                <a:lnTo>
                  <a:pt x="634" y="305"/>
                </a:lnTo>
                <a:lnTo>
                  <a:pt x="641" y="314"/>
                </a:lnTo>
                <a:lnTo>
                  <a:pt x="647" y="323"/>
                </a:lnTo>
                <a:lnTo>
                  <a:pt x="653" y="332"/>
                </a:lnTo>
                <a:lnTo>
                  <a:pt x="659" y="342"/>
                </a:lnTo>
                <a:lnTo>
                  <a:pt x="664" y="352"/>
                </a:lnTo>
                <a:lnTo>
                  <a:pt x="668" y="362"/>
                </a:lnTo>
                <a:lnTo>
                  <a:pt x="673" y="373"/>
                </a:lnTo>
                <a:lnTo>
                  <a:pt x="676" y="383"/>
                </a:lnTo>
                <a:lnTo>
                  <a:pt x="679" y="394"/>
                </a:lnTo>
                <a:lnTo>
                  <a:pt x="682" y="406"/>
                </a:lnTo>
                <a:lnTo>
                  <a:pt x="684" y="417"/>
                </a:lnTo>
                <a:lnTo>
                  <a:pt x="685" y="429"/>
                </a:lnTo>
                <a:lnTo>
                  <a:pt x="686" y="441"/>
                </a:lnTo>
                <a:lnTo>
                  <a:pt x="687" y="453"/>
                </a:lnTo>
                <a:lnTo>
                  <a:pt x="686" y="465"/>
                </a:lnTo>
                <a:lnTo>
                  <a:pt x="685" y="477"/>
                </a:lnTo>
                <a:lnTo>
                  <a:pt x="684" y="489"/>
                </a:lnTo>
                <a:lnTo>
                  <a:pt x="682" y="500"/>
                </a:lnTo>
                <a:lnTo>
                  <a:pt x="679" y="512"/>
                </a:lnTo>
                <a:lnTo>
                  <a:pt x="676" y="523"/>
                </a:lnTo>
                <a:lnTo>
                  <a:pt x="673" y="533"/>
                </a:lnTo>
                <a:lnTo>
                  <a:pt x="668" y="544"/>
                </a:lnTo>
                <a:lnTo>
                  <a:pt x="664" y="554"/>
                </a:lnTo>
                <a:lnTo>
                  <a:pt x="659" y="564"/>
                </a:lnTo>
                <a:lnTo>
                  <a:pt x="653" y="574"/>
                </a:lnTo>
                <a:lnTo>
                  <a:pt x="647" y="583"/>
                </a:lnTo>
                <a:lnTo>
                  <a:pt x="641" y="592"/>
                </a:lnTo>
                <a:lnTo>
                  <a:pt x="634" y="601"/>
                </a:lnTo>
                <a:lnTo>
                  <a:pt x="627" y="610"/>
                </a:lnTo>
                <a:lnTo>
                  <a:pt x="619" y="618"/>
                </a:lnTo>
                <a:lnTo>
                  <a:pt x="611" y="625"/>
                </a:lnTo>
                <a:lnTo>
                  <a:pt x="602" y="632"/>
                </a:lnTo>
                <a:lnTo>
                  <a:pt x="594" y="639"/>
                </a:lnTo>
                <a:lnTo>
                  <a:pt x="585" y="646"/>
                </a:lnTo>
                <a:lnTo>
                  <a:pt x="575" y="652"/>
                </a:lnTo>
                <a:lnTo>
                  <a:pt x="565" y="657"/>
                </a:lnTo>
                <a:lnTo>
                  <a:pt x="555" y="663"/>
                </a:lnTo>
                <a:lnTo>
                  <a:pt x="545" y="667"/>
                </a:lnTo>
                <a:lnTo>
                  <a:pt x="535" y="671"/>
                </a:lnTo>
                <a:lnTo>
                  <a:pt x="524" y="675"/>
                </a:lnTo>
                <a:lnTo>
                  <a:pt x="513" y="678"/>
                </a:lnTo>
                <a:lnTo>
                  <a:pt x="502" y="681"/>
                </a:lnTo>
                <a:lnTo>
                  <a:pt x="490" y="683"/>
                </a:lnTo>
                <a:lnTo>
                  <a:pt x="479" y="684"/>
                </a:lnTo>
                <a:lnTo>
                  <a:pt x="467" y="685"/>
                </a:lnTo>
                <a:lnTo>
                  <a:pt x="455" y="685"/>
                </a:lnTo>
                <a:close/>
                <a:moveTo>
                  <a:pt x="455" y="301"/>
                </a:moveTo>
                <a:lnTo>
                  <a:pt x="440" y="302"/>
                </a:lnTo>
                <a:lnTo>
                  <a:pt x="426" y="304"/>
                </a:lnTo>
                <a:lnTo>
                  <a:pt x="419" y="305"/>
                </a:lnTo>
                <a:lnTo>
                  <a:pt x="412" y="307"/>
                </a:lnTo>
                <a:lnTo>
                  <a:pt x="406" y="309"/>
                </a:lnTo>
                <a:lnTo>
                  <a:pt x="399" y="312"/>
                </a:lnTo>
                <a:lnTo>
                  <a:pt x="393" y="315"/>
                </a:lnTo>
                <a:lnTo>
                  <a:pt x="387" y="318"/>
                </a:lnTo>
                <a:lnTo>
                  <a:pt x="381" y="321"/>
                </a:lnTo>
                <a:lnTo>
                  <a:pt x="375" y="325"/>
                </a:lnTo>
                <a:lnTo>
                  <a:pt x="369" y="329"/>
                </a:lnTo>
                <a:lnTo>
                  <a:pt x="364" y="333"/>
                </a:lnTo>
                <a:lnTo>
                  <a:pt x="359" y="338"/>
                </a:lnTo>
                <a:lnTo>
                  <a:pt x="354" y="343"/>
                </a:lnTo>
                <a:lnTo>
                  <a:pt x="349" y="348"/>
                </a:lnTo>
                <a:lnTo>
                  <a:pt x="345" y="353"/>
                </a:lnTo>
                <a:lnTo>
                  <a:pt x="341" y="359"/>
                </a:lnTo>
                <a:lnTo>
                  <a:pt x="337" y="365"/>
                </a:lnTo>
                <a:lnTo>
                  <a:pt x="329" y="377"/>
                </a:lnTo>
                <a:lnTo>
                  <a:pt x="326" y="384"/>
                </a:lnTo>
                <a:lnTo>
                  <a:pt x="323" y="391"/>
                </a:lnTo>
                <a:lnTo>
                  <a:pt x="321" y="398"/>
                </a:lnTo>
                <a:lnTo>
                  <a:pt x="319" y="405"/>
                </a:lnTo>
                <a:lnTo>
                  <a:pt x="317" y="412"/>
                </a:lnTo>
                <a:lnTo>
                  <a:pt x="315" y="420"/>
                </a:lnTo>
                <a:lnTo>
                  <a:pt x="313" y="436"/>
                </a:lnTo>
                <a:lnTo>
                  <a:pt x="312" y="453"/>
                </a:lnTo>
                <a:lnTo>
                  <a:pt x="312" y="462"/>
                </a:lnTo>
                <a:lnTo>
                  <a:pt x="313" y="470"/>
                </a:lnTo>
                <a:lnTo>
                  <a:pt x="314" y="478"/>
                </a:lnTo>
                <a:lnTo>
                  <a:pt x="315" y="486"/>
                </a:lnTo>
                <a:lnTo>
                  <a:pt x="319" y="501"/>
                </a:lnTo>
                <a:lnTo>
                  <a:pt x="323" y="515"/>
                </a:lnTo>
                <a:lnTo>
                  <a:pt x="329" y="529"/>
                </a:lnTo>
                <a:lnTo>
                  <a:pt x="333" y="535"/>
                </a:lnTo>
                <a:lnTo>
                  <a:pt x="337" y="541"/>
                </a:lnTo>
                <a:lnTo>
                  <a:pt x="341" y="547"/>
                </a:lnTo>
                <a:lnTo>
                  <a:pt x="345" y="553"/>
                </a:lnTo>
                <a:lnTo>
                  <a:pt x="349" y="558"/>
                </a:lnTo>
                <a:lnTo>
                  <a:pt x="354" y="563"/>
                </a:lnTo>
                <a:lnTo>
                  <a:pt x="359" y="568"/>
                </a:lnTo>
                <a:lnTo>
                  <a:pt x="364" y="573"/>
                </a:lnTo>
                <a:lnTo>
                  <a:pt x="369" y="577"/>
                </a:lnTo>
                <a:lnTo>
                  <a:pt x="375" y="581"/>
                </a:lnTo>
                <a:lnTo>
                  <a:pt x="387" y="588"/>
                </a:lnTo>
                <a:lnTo>
                  <a:pt x="393" y="591"/>
                </a:lnTo>
                <a:lnTo>
                  <a:pt x="399" y="594"/>
                </a:lnTo>
                <a:lnTo>
                  <a:pt x="412" y="599"/>
                </a:lnTo>
                <a:lnTo>
                  <a:pt x="426" y="602"/>
                </a:lnTo>
                <a:lnTo>
                  <a:pt x="433" y="604"/>
                </a:lnTo>
                <a:lnTo>
                  <a:pt x="440" y="604"/>
                </a:lnTo>
                <a:lnTo>
                  <a:pt x="455" y="605"/>
                </a:lnTo>
                <a:lnTo>
                  <a:pt x="469" y="604"/>
                </a:lnTo>
                <a:lnTo>
                  <a:pt x="484" y="602"/>
                </a:lnTo>
                <a:lnTo>
                  <a:pt x="490" y="601"/>
                </a:lnTo>
                <a:lnTo>
                  <a:pt x="497" y="599"/>
                </a:lnTo>
                <a:lnTo>
                  <a:pt x="504" y="597"/>
                </a:lnTo>
                <a:lnTo>
                  <a:pt x="510" y="594"/>
                </a:lnTo>
                <a:lnTo>
                  <a:pt x="517" y="591"/>
                </a:lnTo>
                <a:lnTo>
                  <a:pt x="523" y="588"/>
                </a:lnTo>
                <a:lnTo>
                  <a:pt x="529" y="585"/>
                </a:lnTo>
                <a:lnTo>
                  <a:pt x="535" y="581"/>
                </a:lnTo>
                <a:lnTo>
                  <a:pt x="540" y="577"/>
                </a:lnTo>
                <a:lnTo>
                  <a:pt x="546" y="573"/>
                </a:lnTo>
                <a:lnTo>
                  <a:pt x="551" y="568"/>
                </a:lnTo>
                <a:lnTo>
                  <a:pt x="556" y="563"/>
                </a:lnTo>
                <a:lnTo>
                  <a:pt x="560" y="558"/>
                </a:lnTo>
                <a:lnTo>
                  <a:pt x="565" y="553"/>
                </a:lnTo>
                <a:lnTo>
                  <a:pt x="569" y="547"/>
                </a:lnTo>
                <a:lnTo>
                  <a:pt x="573" y="541"/>
                </a:lnTo>
                <a:lnTo>
                  <a:pt x="580" y="529"/>
                </a:lnTo>
                <a:lnTo>
                  <a:pt x="583" y="522"/>
                </a:lnTo>
                <a:lnTo>
                  <a:pt x="586" y="515"/>
                </a:lnTo>
                <a:lnTo>
                  <a:pt x="589" y="508"/>
                </a:lnTo>
                <a:lnTo>
                  <a:pt x="591" y="501"/>
                </a:lnTo>
                <a:lnTo>
                  <a:pt x="593" y="494"/>
                </a:lnTo>
                <a:lnTo>
                  <a:pt x="595" y="486"/>
                </a:lnTo>
                <a:lnTo>
                  <a:pt x="597" y="470"/>
                </a:lnTo>
                <a:lnTo>
                  <a:pt x="597" y="453"/>
                </a:lnTo>
                <a:lnTo>
                  <a:pt x="597" y="444"/>
                </a:lnTo>
                <a:lnTo>
                  <a:pt x="597" y="436"/>
                </a:lnTo>
                <a:lnTo>
                  <a:pt x="596" y="428"/>
                </a:lnTo>
                <a:lnTo>
                  <a:pt x="595" y="420"/>
                </a:lnTo>
                <a:lnTo>
                  <a:pt x="591" y="405"/>
                </a:lnTo>
                <a:lnTo>
                  <a:pt x="586" y="391"/>
                </a:lnTo>
                <a:lnTo>
                  <a:pt x="580" y="377"/>
                </a:lnTo>
                <a:lnTo>
                  <a:pt x="577" y="371"/>
                </a:lnTo>
                <a:lnTo>
                  <a:pt x="573" y="365"/>
                </a:lnTo>
                <a:lnTo>
                  <a:pt x="569" y="359"/>
                </a:lnTo>
                <a:lnTo>
                  <a:pt x="565" y="353"/>
                </a:lnTo>
                <a:lnTo>
                  <a:pt x="560" y="348"/>
                </a:lnTo>
                <a:lnTo>
                  <a:pt x="556" y="343"/>
                </a:lnTo>
                <a:lnTo>
                  <a:pt x="551" y="338"/>
                </a:lnTo>
                <a:lnTo>
                  <a:pt x="546" y="333"/>
                </a:lnTo>
                <a:lnTo>
                  <a:pt x="540" y="329"/>
                </a:lnTo>
                <a:lnTo>
                  <a:pt x="535" y="325"/>
                </a:lnTo>
                <a:lnTo>
                  <a:pt x="523" y="318"/>
                </a:lnTo>
                <a:lnTo>
                  <a:pt x="517" y="315"/>
                </a:lnTo>
                <a:lnTo>
                  <a:pt x="510" y="312"/>
                </a:lnTo>
                <a:lnTo>
                  <a:pt x="497" y="307"/>
                </a:lnTo>
                <a:lnTo>
                  <a:pt x="484" y="304"/>
                </a:lnTo>
                <a:lnTo>
                  <a:pt x="477" y="303"/>
                </a:lnTo>
                <a:lnTo>
                  <a:pt x="469" y="302"/>
                </a:lnTo>
                <a:lnTo>
                  <a:pt x="455" y="30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9" name="Freeform 21"/>
          <p:cNvSpPr>
            <a:spLocks noEditPoints="1"/>
          </p:cNvSpPr>
          <p:nvPr userDrawn="1"/>
        </p:nvSpPr>
        <p:spPr bwMode="auto">
          <a:xfrm>
            <a:off x="1305429" y="1285284"/>
            <a:ext cx="1306629" cy="1285880"/>
          </a:xfrm>
          <a:custGeom>
            <a:avLst/>
            <a:gdLst>
              <a:gd name="T0" fmla="*/ 908 w 908"/>
              <a:gd name="T1" fmla="*/ 453 h 907"/>
              <a:gd name="T2" fmla="*/ 0 w 908"/>
              <a:gd name="T3" fmla="*/ 453 h 907"/>
              <a:gd name="T4" fmla="*/ 591 w 908"/>
              <a:gd name="T5" fmla="*/ 623 h 907"/>
              <a:gd name="T6" fmla="*/ 572 w 908"/>
              <a:gd name="T7" fmla="*/ 643 h 907"/>
              <a:gd name="T8" fmla="*/ 532 w 908"/>
              <a:gd name="T9" fmla="*/ 668 h 907"/>
              <a:gd name="T10" fmla="*/ 494 w 908"/>
              <a:gd name="T11" fmla="*/ 681 h 907"/>
              <a:gd name="T12" fmla="*/ 450 w 908"/>
              <a:gd name="T13" fmla="*/ 685 h 907"/>
              <a:gd name="T14" fmla="*/ 404 w 908"/>
              <a:gd name="T15" fmla="*/ 681 h 907"/>
              <a:gd name="T16" fmla="*/ 361 w 908"/>
              <a:gd name="T17" fmla="*/ 667 h 907"/>
              <a:gd name="T18" fmla="*/ 323 w 908"/>
              <a:gd name="T19" fmla="*/ 646 h 907"/>
              <a:gd name="T20" fmla="*/ 290 w 908"/>
              <a:gd name="T21" fmla="*/ 618 h 907"/>
              <a:gd name="T22" fmla="*/ 264 w 908"/>
              <a:gd name="T23" fmla="*/ 583 h 907"/>
              <a:gd name="T24" fmla="*/ 244 w 908"/>
              <a:gd name="T25" fmla="*/ 544 h 907"/>
              <a:gd name="T26" fmla="*/ 231 w 908"/>
              <a:gd name="T27" fmla="*/ 500 h 907"/>
              <a:gd name="T28" fmla="*/ 227 w 908"/>
              <a:gd name="T29" fmla="*/ 453 h 907"/>
              <a:gd name="T30" fmla="*/ 231 w 908"/>
              <a:gd name="T31" fmla="*/ 406 h 907"/>
              <a:gd name="T32" fmla="*/ 240 w 908"/>
              <a:gd name="T33" fmla="*/ 373 h 907"/>
              <a:gd name="T34" fmla="*/ 258 w 908"/>
              <a:gd name="T35" fmla="*/ 332 h 907"/>
              <a:gd name="T36" fmla="*/ 283 w 908"/>
              <a:gd name="T37" fmla="*/ 297 h 907"/>
              <a:gd name="T38" fmla="*/ 310 w 908"/>
              <a:gd name="T39" fmla="*/ 270 h 907"/>
              <a:gd name="T40" fmla="*/ 342 w 908"/>
              <a:gd name="T41" fmla="*/ 249 h 907"/>
              <a:gd name="T42" fmla="*/ 382 w 908"/>
              <a:gd name="T43" fmla="*/ 231 h 907"/>
              <a:gd name="T44" fmla="*/ 427 w 908"/>
              <a:gd name="T45" fmla="*/ 222 h 907"/>
              <a:gd name="T46" fmla="*/ 473 w 908"/>
              <a:gd name="T47" fmla="*/ 222 h 907"/>
              <a:gd name="T48" fmla="*/ 513 w 908"/>
              <a:gd name="T49" fmla="*/ 231 h 907"/>
              <a:gd name="T50" fmla="*/ 548 w 908"/>
              <a:gd name="T51" fmla="*/ 247 h 907"/>
              <a:gd name="T52" fmla="*/ 571 w 908"/>
              <a:gd name="T53" fmla="*/ 263 h 907"/>
              <a:gd name="T54" fmla="*/ 591 w 908"/>
              <a:gd name="T55" fmla="*/ 230 h 907"/>
              <a:gd name="T56" fmla="*/ 450 w 908"/>
              <a:gd name="T57" fmla="*/ 306 h 907"/>
              <a:gd name="T58" fmla="*/ 417 w 908"/>
              <a:gd name="T59" fmla="*/ 311 h 907"/>
              <a:gd name="T60" fmla="*/ 383 w 908"/>
              <a:gd name="T61" fmla="*/ 327 h 907"/>
              <a:gd name="T62" fmla="*/ 351 w 908"/>
              <a:gd name="T63" fmla="*/ 356 h 907"/>
              <a:gd name="T64" fmla="*/ 332 w 908"/>
              <a:gd name="T65" fmla="*/ 386 h 907"/>
              <a:gd name="T66" fmla="*/ 318 w 908"/>
              <a:gd name="T67" fmla="*/ 434 h 907"/>
              <a:gd name="T68" fmla="*/ 317 w 908"/>
              <a:gd name="T69" fmla="*/ 484 h 907"/>
              <a:gd name="T70" fmla="*/ 325 w 908"/>
              <a:gd name="T71" fmla="*/ 518 h 907"/>
              <a:gd name="T72" fmla="*/ 336 w 908"/>
              <a:gd name="T73" fmla="*/ 545 h 907"/>
              <a:gd name="T74" fmla="*/ 351 w 908"/>
              <a:gd name="T75" fmla="*/ 568 h 907"/>
              <a:gd name="T76" fmla="*/ 371 w 908"/>
              <a:gd name="T77" fmla="*/ 589 h 907"/>
              <a:gd name="T78" fmla="*/ 396 w 908"/>
              <a:gd name="T79" fmla="*/ 605 h 907"/>
              <a:gd name="T80" fmla="*/ 425 w 908"/>
              <a:gd name="T81" fmla="*/ 615 h 907"/>
              <a:gd name="T82" fmla="*/ 458 w 908"/>
              <a:gd name="T83" fmla="*/ 618 h 907"/>
              <a:gd name="T84" fmla="*/ 509 w 908"/>
              <a:gd name="T85" fmla="*/ 609 h 907"/>
              <a:gd name="T86" fmla="*/ 537 w 908"/>
              <a:gd name="T87" fmla="*/ 593 h 907"/>
              <a:gd name="T88" fmla="*/ 557 w 908"/>
              <a:gd name="T89" fmla="*/ 576 h 907"/>
              <a:gd name="T90" fmla="*/ 576 w 908"/>
              <a:gd name="T91" fmla="*/ 546 h 907"/>
              <a:gd name="T92" fmla="*/ 589 w 908"/>
              <a:gd name="T93" fmla="*/ 508 h 907"/>
              <a:gd name="T94" fmla="*/ 594 w 908"/>
              <a:gd name="T95" fmla="*/ 472 h 907"/>
              <a:gd name="T96" fmla="*/ 592 w 908"/>
              <a:gd name="T97" fmla="*/ 434 h 907"/>
              <a:gd name="T98" fmla="*/ 582 w 908"/>
              <a:gd name="T99" fmla="*/ 392 h 907"/>
              <a:gd name="T100" fmla="*/ 569 w 908"/>
              <a:gd name="T101" fmla="*/ 365 h 907"/>
              <a:gd name="T102" fmla="*/ 542 w 908"/>
              <a:gd name="T103" fmla="*/ 334 h 907"/>
              <a:gd name="T104" fmla="*/ 515 w 908"/>
              <a:gd name="T105" fmla="*/ 317 h 907"/>
              <a:gd name="T106" fmla="*/ 490 w 908"/>
              <a:gd name="T107" fmla="*/ 309 h 907"/>
              <a:gd name="T108" fmla="*/ 458 w 908"/>
              <a:gd name="T109" fmla="*/ 305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  <a:moveTo>
                  <a:pt x="680" y="676"/>
                </a:moveTo>
                <a:lnTo>
                  <a:pt x="591" y="676"/>
                </a:lnTo>
                <a:lnTo>
                  <a:pt x="591" y="623"/>
                </a:lnTo>
                <a:lnTo>
                  <a:pt x="588" y="627"/>
                </a:lnTo>
                <a:lnTo>
                  <a:pt x="585" y="630"/>
                </a:lnTo>
                <a:lnTo>
                  <a:pt x="579" y="636"/>
                </a:lnTo>
                <a:lnTo>
                  <a:pt x="572" y="643"/>
                </a:lnTo>
                <a:lnTo>
                  <a:pt x="564" y="649"/>
                </a:lnTo>
                <a:lnTo>
                  <a:pt x="549" y="659"/>
                </a:lnTo>
                <a:lnTo>
                  <a:pt x="541" y="664"/>
                </a:lnTo>
                <a:lnTo>
                  <a:pt x="532" y="668"/>
                </a:lnTo>
                <a:lnTo>
                  <a:pt x="523" y="672"/>
                </a:lnTo>
                <a:lnTo>
                  <a:pt x="514" y="676"/>
                </a:lnTo>
                <a:lnTo>
                  <a:pt x="504" y="678"/>
                </a:lnTo>
                <a:lnTo>
                  <a:pt x="494" y="681"/>
                </a:lnTo>
                <a:lnTo>
                  <a:pt x="484" y="683"/>
                </a:lnTo>
                <a:lnTo>
                  <a:pt x="473" y="684"/>
                </a:lnTo>
                <a:lnTo>
                  <a:pt x="462" y="685"/>
                </a:lnTo>
                <a:lnTo>
                  <a:pt x="450" y="685"/>
                </a:lnTo>
                <a:lnTo>
                  <a:pt x="439" y="685"/>
                </a:lnTo>
                <a:lnTo>
                  <a:pt x="427" y="684"/>
                </a:lnTo>
                <a:lnTo>
                  <a:pt x="415" y="683"/>
                </a:lnTo>
                <a:lnTo>
                  <a:pt x="404" y="681"/>
                </a:lnTo>
                <a:lnTo>
                  <a:pt x="393" y="678"/>
                </a:lnTo>
                <a:lnTo>
                  <a:pt x="382" y="675"/>
                </a:lnTo>
                <a:lnTo>
                  <a:pt x="372" y="671"/>
                </a:lnTo>
                <a:lnTo>
                  <a:pt x="361" y="667"/>
                </a:lnTo>
                <a:lnTo>
                  <a:pt x="351" y="663"/>
                </a:lnTo>
                <a:lnTo>
                  <a:pt x="342" y="657"/>
                </a:lnTo>
                <a:lnTo>
                  <a:pt x="332" y="652"/>
                </a:lnTo>
                <a:lnTo>
                  <a:pt x="323" y="646"/>
                </a:lnTo>
                <a:lnTo>
                  <a:pt x="315" y="639"/>
                </a:lnTo>
                <a:lnTo>
                  <a:pt x="306" y="633"/>
                </a:lnTo>
                <a:lnTo>
                  <a:pt x="298" y="625"/>
                </a:lnTo>
                <a:lnTo>
                  <a:pt x="290" y="618"/>
                </a:lnTo>
                <a:lnTo>
                  <a:pt x="283" y="609"/>
                </a:lnTo>
                <a:lnTo>
                  <a:pt x="276" y="601"/>
                </a:lnTo>
                <a:lnTo>
                  <a:pt x="270" y="592"/>
                </a:lnTo>
                <a:lnTo>
                  <a:pt x="264" y="583"/>
                </a:lnTo>
                <a:lnTo>
                  <a:pt x="258" y="574"/>
                </a:lnTo>
                <a:lnTo>
                  <a:pt x="253" y="564"/>
                </a:lnTo>
                <a:lnTo>
                  <a:pt x="248" y="554"/>
                </a:lnTo>
                <a:lnTo>
                  <a:pt x="244" y="544"/>
                </a:lnTo>
                <a:lnTo>
                  <a:pt x="240" y="533"/>
                </a:lnTo>
                <a:lnTo>
                  <a:pt x="236" y="522"/>
                </a:lnTo>
                <a:lnTo>
                  <a:pt x="233" y="511"/>
                </a:lnTo>
                <a:lnTo>
                  <a:pt x="231" y="500"/>
                </a:lnTo>
                <a:lnTo>
                  <a:pt x="229" y="488"/>
                </a:lnTo>
                <a:lnTo>
                  <a:pt x="228" y="477"/>
                </a:lnTo>
                <a:lnTo>
                  <a:pt x="227" y="465"/>
                </a:lnTo>
                <a:lnTo>
                  <a:pt x="227" y="453"/>
                </a:lnTo>
                <a:lnTo>
                  <a:pt x="227" y="441"/>
                </a:lnTo>
                <a:lnTo>
                  <a:pt x="228" y="429"/>
                </a:lnTo>
                <a:lnTo>
                  <a:pt x="229" y="417"/>
                </a:lnTo>
                <a:lnTo>
                  <a:pt x="231" y="406"/>
                </a:lnTo>
                <a:lnTo>
                  <a:pt x="233" y="395"/>
                </a:lnTo>
                <a:lnTo>
                  <a:pt x="235" y="389"/>
                </a:lnTo>
                <a:lnTo>
                  <a:pt x="236" y="384"/>
                </a:lnTo>
                <a:lnTo>
                  <a:pt x="240" y="373"/>
                </a:lnTo>
                <a:lnTo>
                  <a:pt x="244" y="362"/>
                </a:lnTo>
                <a:lnTo>
                  <a:pt x="248" y="352"/>
                </a:lnTo>
                <a:lnTo>
                  <a:pt x="253" y="342"/>
                </a:lnTo>
                <a:lnTo>
                  <a:pt x="258" y="332"/>
                </a:lnTo>
                <a:lnTo>
                  <a:pt x="264" y="323"/>
                </a:lnTo>
                <a:lnTo>
                  <a:pt x="270" y="314"/>
                </a:lnTo>
                <a:lnTo>
                  <a:pt x="276" y="305"/>
                </a:lnTo>
                <a:lnTo>
                  <a:pt x="283" y="297"/>
                </a:lnTo>
                <a:lnTo>
                  <a:pt x="290" y="289"/>
                </a:lnTo>
                <a:lnTo>
                  <a:pt x="298" y="281"/>
                </a:lnTo>
                <a:lnTo>
                  <a:pt x="306" y="274"/>
                </a:lnTo>
                <a:lnTo>
                  <a:pt x="310" y="270"/>
                </a:lnTo>
                <a:lnTo>
                  <a:pt x="315" y="267"/>
                </a:lnTo>
                <a:lnTo>
                  <a:pt x="323" y="260"/>
                </a:lnTo>
                <a:lnTo>
                  <a:pt x="332" y="254"/>
                </a:lnTo>
                <a:lnTo>
                  <a:pt x="342" y="249"/>
                </a:lnTo>
                <a:lnTo>
                  <a:pt x="351" y="244"/>
                </a:lnTo>
                <a:lnTo>
                  <a:pt x="361" y="239"/>
                </a:lnTo>
                <a:lnTo>
                  <a:pt x="372" y="235"/>
                </a:lnTo>
                <a:lnTo>
                  <a:pt x="382" y="231"/>
                </a:lnTo>
                <a:lnTo>
                  <a:pt x="393" y="228"/>
                </a:lnTo>
                <a:lnTo>
                  <a:pt x="404" y="226"/>
                </a:lnTo>
                <a:lnTo>
                  <a:pt x="415" y="224"/>
                </a:lnTo>
                <a:lnTo>
                  <a:pt x="427" y="222"/>
                </a:lnTo>
                <a:lnTo>
                  <a:pt x="439" y="221"/>
                </a:lnTo>
                <a:lnTo>
                  <a:pt x="450" y="221"/>
                </a:lnTo>
                <a:lnTo>
                  <a:pt x="462" y="221"/>
                </a:lnTo>
                <a:lnTo>
                  <a:pt x="473" y="222"/>
                </a:lnTo>
                <a:lnTo>
                  <a:pt x="483" y="223"/>
                </a:lnTo>
                <a:lnTo>
                  <a:pt x="494" y="225"/>
                </a:lnTo>
                <a:lnTo>
                  <a:pt x="504" y="228"/>
                </a:lnTo>
                <a:lnTo>
                  <a:pt x="513" y="231"/>
                </a:lnTo>
                <a:lnTo>
                  <a:pt x="523" y="234"/>
                </a:lnTo>
                <a:lnTo>
                  <a:pt x="532" y="238"/>
                </a:lnTo>
                <a:lnTo>
                  <a:pt x="540" y="242"/>
                </a:lnTo>
                <a:lnTo>
                  <a:pt x="548" y="247"/>
                </a:lnTo>
                <a:lnTo>
                  <a:pt x="556" y="252"/>
                </a:lnTo>
                <a:lnTo>
                  <a:pt x="560" y="254"/>
                </a:lnTo>
                <a:lnTo>
                  <a:pt x="564" y="257"/>
                </a:lnTo>
                <a:lnTo>
                  <a:pt x="571" y="263"/>
                </a:lnTo>
                <a:lnTo>
                  <a:pt x="578" y="269"/>
                </a:lnTo>
                <a:lnTo>
                  <a:pt x="585" y="276"/>
                </a:lnTo>
                <a:lnTo>
                  <a:pt x="591" y="282"/>
                </a:lnTo>
                <a:lnTo>
                  <a:pt x="591" y="230"/>
                </a:lnTo>
                <a:lnTo>
                  <a:pt x="680" y="230"/>
                </a:lnTo>
                <a:lnTo>
                  <a:pt x="680" y="676"/>
                </a:lnTo>
                <a:close/>
                <a:moveTo>
                  <a:pt x="458" y="305"/>
                </a:moveTo>
                <a:lnTo>
                  <a:pt x="450" y="306"/>
                </a:lnTo>
                <a:lnTo>
                  <a:pt x="441" y="306"/>
                </a:lnTo>
                <a:lnTo>
                  <a:pt x="433" y="308"/>
                </a:lnTo>
                <a:lnTo>
                  <a:pt x="425" y="309"/>
                </a:lnTo>
                <a:lnTo>
                  <a:pt x="417" y="311"/>
                </a:lnTo>
                <a:lnTo>
                  <a:pt x="410" y="314"/>
                </a:lnTo>
                <a:lnTo>
                  <a:pt x="402" y="316"/>
                </a:lnTo>
                <a:lnTo>
                  <a:pt x="396" y="319"/>
                </a:lnTo>
                <a:lnTo>
                  <a:pt x="383" y="327"/>
                </a:lnTo>
                <a:lnTo>
                  <a:pt x="371" y="335"/>
                </a:lnTo>
                <a:lnTo>
                  <a:pt x="366" y="340"/>
                </a:lnTo>
                <a:lnTo>
                  <a:pt x="361" y="345"/>
                </a:lnTo>
                <a:lnTo>
                  <a:pt x="351" y="356"/>
                </a:lnTo>
                <a:lnTo>
                  <a:pt x="347" y="362"/>
                </a:lnTo>
                <a:lnTo>
                  <a:pt x="343" y="367"/>
                </a:lnTo>
                <a:lnTo>
                  <a:pt x="336" y="380"/>
                </a:lnTo>
                <a:lnTo>
                  <a:pt x="332" y="386"/>
                </a:lnTo>
                <a:lnTo>
                  <a:pt x="330" y="393"/>
                </a:lnTo>
                <a:lnTo>
                  <a:pt x="325" y="406"/>
                </a:lnTo>
                <a:lnTo>
                  <a:pt x="321" y="420"/>
                </a:lnTo>
                <a:lnTo>
                  <a:pt x="318" y="434"/>
                </a:lnTo>
                <a:lnTo>
                  <a:pt x="316" y="448"/>
                </a:lnTo>
                <a:lnTo>
                  <a:pt x="316" y="462"/>
                </a:lnTo>
                <a:lnTo>
                  <a:pt x="316" y="476"/>
                </a:lnTo>
                <a:lnTo>
                  <a:pt x="317" y="484"/>
                </a:lnTo>
                <a:lnTo>
                  <a:pt x="318" y="491"/>
                </a:lnTo>
                <a:lnTo>
                  <a:pt x="321" y="505"/>
                </a:lnTo>
                <a:lnTo>
                  <a:pt x="323" y="511"/>
                </a:lnTo>
                <a:lnTo>
                  <a:pt x="325" y="518"/>
                </a:lnTo>
                <a:lnTo>
                  <a:pt x="327" y="525"/>
                </a:lnTo>
                <a:lnTo>
                  <a:pt x="330" y="532"/>
                </a:lnTo>
                <a:lnTo>
                  <a:pt x="332" y="538"/>
                </a:lnTo>
                <a:lnTo>
                  <a:pt x="336" y="545"/>
                </a:lnTo>
                <a:lnTo>
                  <a:pt x="339" y="551"/>
                </a:lnTo>
                <a:lnTo>
                  <a:pt x="343" y="557"/>
                </a:lnTo>
                <a:lnTo>
                  <a:pt x="347" y="563"/>
                </a:lnTo>
                <a:lnTo>
                  <a:pt x="351" y="568"/>
                </a:lnTo>
                <a:lnTo>
                  <a:pt x="356" y="574"/>
                </a:lnTo>
                <a:lnTo>
                  <a:pt x="361" y="579"/>
                </a:lnTo>
                <a:lnTo>
                  <a:pt x="366" y="584"/>
                </a:lnTo>
                <a:lnTo>
                  <a:pt x="371" y="589"/>
                </a:lnTo>
                <a:lnTo>
                  <a:pt x="377" y="593"/>
                </a:lnTo>
                <a:lnTo>
                  <a:pt x="383" y="597"/>
                </a:lnTo>
                <a:lnTo>
                  <a:pt x="389" y="601"/>
                </a:lnTo>
                <a:lnTo>
                  <a:pt x="396" y="605"/>
                </a:lnTo>
                <a:lnTo>
                  <a:pt x="402" y="608"/>
                </a:lnTo>
                <a:lnTo>
                  <a:pt x="410" y="610"/>
                </a:lnTo>
                <a:lnTo>
                  <a:pt x="417" y="613"/>
                </a:lnTo>
                <a:lnTo>
                  <a:pt x="425" y="615"/>
                </a:lnTo>
                <a:lnTo>
                  <a:pt x="433" y="616"/>
                </a:lnTo>
                <a:lnTo>
                  <a:pt x="441" y="617"/>
                </a:lnTo>
                <a:lnTo>
                  <a:pt x="450" y="618"/>
                </a:lnTo>
                <a:lnTo>
                  <a:pt x="458" y="618"/>
                </a:lnTo>
                <a:lnTo>
                  <a:pt x="471" y="618"/>
                </a:lnTo>
                <a:lnTo>
                  <a:pt x="484" y="616"/>
                </a:lnTo>
                <a:lnTo>
                  <a:pt x="496" y="613"/>
                </a:lnTo>
                <a:lnTo>
                  <a:pt x="509" y="609"/>
                </a:lnTo>
                <a:lnTo>
                  <a:pt x="515" y="607"/>
                </a:lnTo>
                <a:lnTo>
                  <a:pt x="520" y="604"/>
                </a:lnTo>
                <a:lnTo>
                  <a:pt x="532" y="597"/>
                </a:lnTo>
                <a:lnTo>
                  <a:pt x="537" y="593"/>
                </a:lnTo>
                <a:lnTo>
                  <a:pt x="542" y="589"/>
                </a:lnTo>
                <a:lnTo>
                  <a:pt x="547" y="585"/>
                </a:lnTo>
                <a:lnTo>
                  <a:pt x="552" y="580"/>
                </a:lnTo>
                <a:lnTo>
                  <a:pt x="557" y="576"/>
                </a:lnTo>
                <a:lnTo>
                  <a:pt x="561" y="570"/>
                </a:lnTo>
                <a:lnTo>
                  <a:pt x="565" y="565"/>
                </a:lnTo>
                <a:lnTo>
                  <a:pt x="569" y="559"/>
                </a:lnTo>
                <a:lnTo>
                  <a:pt x="576" y="546"/>
                </a:lnTo>
                <a:lnTo>
                  <a:pt x="580" y="539"/>
                </a:lnTo>
                <a:lnTo>
                  <a:pt x="582" y="532"/>
                </a:lnTo>
                <a:lnTo>
                  <a:pt x="587" y="516"/>
                </a:lnTo>
                <a:lnTo>
                  <a:pt x="589" y="508"/>
                </a:lnTo>
                <a:lnTo>
                  <a:pt x="591" y="500"/>
                </a:lnTo>
                <a:lnTo>
                  <a:pt x="592" y="491"/>
                </a:lnTo>
                <a:lnTo>
                  <a:pt x="593" y="482"/>
                </a:lnTo>
                <a:lnTo>
                  <a:pt x="594" y="472"/>
                </a:lnTo>
                <a:lnTo>
                  <a:pt x="594" y="462"/>
                </a:lnTo>
                <a:lnTo>
                  <a:pt x="594" y="452"/>
                </a:lnTo>
                <a:lnTo>
                  <a:pt x="593" y="443"/>
                </a:lnTo>
                <a:lnTo>
                  <a:pt x="592" y="434"/>
                </a:lnTo>
                <a:lnTo>
                  <a:pt x="591" y="425"/>
                </a:lnTo>
                <a:lnTo>
                  <a:pt x="587" y="408"/>
                </a:lnTo>
                <a:lnTo>
                  <a:pt x="585" y="400"/>
                </a:lnTo>
                <a:lnTo>
                  <a:pt x="582" y="392"/>
                </a:lnTo>
                <a:lnTo>
                  <a:pt x="580" y="385"/>
                </a:lnTo>
                <a:lnTo>
                  <a:pt x="576" y="378"/>
                </a:lnTo>
                <a:lnTo>
                  <a:pt x="573" y="372"/>
                </a:lnTo>
                <a:lnTo>
                  <a:pt x="569" y="365"/>
                </a:lnTo>
                <a:lnTo>
                  <a:pt x="565" y="359"/>
                </a:lnTo>
                <a:lnTo>
                  <a:pt x="561" y="354"/>
                </a:lnTo>
                <a:lnTo>
                  <a:pt x="552" y="343"/>
                </a:lnTo>
                <a:lnTo>
                  <a:pt x="542" y="334"/>
                </a:lnTo>
                <a:lnTo>
                  <a:pt x="532" y="327"/>
                </a:lnTo>
                <a:lnTo>
                  <a:pt x="526" y="323"/>
                </a:lnTo>
                <a:lnTo>
                  <a:pt x="520" y="320"/>
                </a:lnTo>
                <a:lnTo>
                  <a:pt x="515" y="317"/>
                </a:lnTo>
                <a:lnTo>
                  <a:pt x="509" y="315"/>
                </a:lnTo>
                <a:lnTo>
                  <a:pt x="503" y="313"/>
                </a:lnTo>
                <a:lnTo>
                  <a:pt x="496" y="311"/>
                </a:lnTo>
                <a:lnTo>
                  <a:pt x="490" y="309"/>
                </a:lnTo>
                <a:lnTo>
                  <a:pt x="484" y="308"/>
                </a:lnTo>
                <a:lnTo>
                  <a:pt x="471" y="306"/>
                </a:lnTo>
                <a:lnTo>
                  <a:pt x="465" y="306"/>
                </a:lnTo>
                <a:lnTo>
                  <a:pt x="458" y="3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00059A1-0099-4B10-A5CF-27E515FB5E4A}" type="datetime3">
              <a:rPr lang="en-US" smtClean="0"/>
              <a:pPr/>
              <a:t>3 December 2015</a:t>
            </a:fld>
            <a:endParaRPr lang="fi-FI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424354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26925" y="3214397"/>
            <a:ext cx="4244479" cy="1286465"/>
          </a:xfrm>
        </p:spPr>
        <p:txBody>
          <a:bodyPr anchor="b" anchorCtr="0"/>
          <a:lstStyle>
            <a:lvl1pPr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27" name="Freeform 16"/>
          <p:cNvSpPr>
            <a:spLocks noChangeAspect="1" noEditPoints="1"/>
          </p:cNvSpPr>
          <p:nvPr userDrawn="1"/>
        </p:nvSpPr>
        <p:spPr bwMode="auto">
          <a:xfrm>
            <a:off x="5224116" y="1285284"/>
            <a:ext cx="1305429" cy="1285880"/>
          </a:xfrm>
          <a:custGeom>
            <a:avLst/>
            <a:gdLst>
              <a:gd name="T0" fmla="*/ 653 w 908"/>
              <a:gd name="T1" fmla="*/ 675 h 907"/>
              <a:gd name="T2" fmla="*/ 651 w 908"/>
              <a:gd name="T3" fmla="*/ 382 h 907"/>
              <a:gd name="T4" fmla="*/ 644 w 908"/>
              <a:gd name="T5" fmla="*/ 348 h 907"/>
              <a:gd name="T6" fmla="*/ 630 w 908"/>
              <a:gd name="T7" fmla="*/ 320 h 907"/>
              <a:gd name="T8" fmla="*/ 613 w 908"/>
              <a:gd name="T9" fmla="*/ 305 h 907"/>
              <a:gd name="T10" fmla="*/ 595 w 908"/>
              <a:gd name="T11" fmla="*/ 298 h 907"/>
              <a:gd name="T12" fmla="*/ 579 w 908"/>
              <a:gd name="T13" fmla="*/ 296 h 907"/>
              <a:gd name="T14" fmla="*/ 565 w 908"/>
              <a:gd name="T15" fmla="*/ 298 h 907"/>
              <a:gd name="T16" fmla="*/ 546 w 908"/>
              <a:gd name="T17" fmla="*/ 304 h 907"/>
              <a:gd name="T18" fmla="*/ 526 w 908"/>
              <a:gd name="T19" fmla="*/ 320 h 907"/>
              <a:gd name="T20" fmla="*/ 514 w 908"/>
              <a:gd name="T21" fmla="*/ 337 h 907"/>
              <a:gd name="T22" fmla="*/ 507 w 908"/>
              <a:gd name="T23" fmla="*/ 354 h 907"/>
              <a:gd name="T24" fmla="*/ 502 w 908"/>
              <a:gd name="T25" fmla="*/ 375 h 907"/>
              <a:gd name="T26" fmla="*/ 499 w 908"/>
              <a:gd name="T27" fmla="*/ 411 h 907"/>
              <a:gd name="T28" fmla="*/ 410 w 908"/>
              <a:gd name="T29" fmla="*/ 409 h 907"/>
              <a:gd name="T30" fmla="*/ 408 w 908"/>
              <a:gd name="T31" fmla="*/ 374 h 907"/>
              <a:gd name="T32" fmla="*/ 398 w 908"/>
              <a:gd name="T33" fmla="*/ 337 h 907"/>
              <a:gd name="T34" fmla="*/ 382 w 908"/>
              <a:gd name="T35" fmla="*/ 314 h 907"/>
              <a:gd name="T36" fmla="*/ 364 w 908"/>
              <a:gd name="T37" fmla="*/ 302 h 907"/>
              <a:gd name="T38" fmla="*/ 347 w 908"/>
              <a:gd name="T39" fmla="*/ 297 h 907"/>
              <a:gd name="T40" fmla="*/ 333 w 908"/>
              <a:gd name="T41" fmla="*/ 297 h 907"/>
              <a:gd name="T42" fmla="*/ 317 w 908"/>
              <a:gd name="T43" fmla="*/ 299 h 907"/>
              <a:gd name="T44" fmla="*/ 297 w 908"/>
              <a:gd name="T45" fmla="*/ 308 h 907"/>
              <a:gd name="T46" fmla="*/ 278 w 908"/>
              <a:gd name="T47" fmla="*/ 327 h 907"/>
              <a:gd name="T48" fmla="*/ 268 w 908"/>
              <a:gd name="T49" fmla="*/ 348 h 907"/>
              <a:gd name="T50" fmla="*/ 261 w 908"/>
              <a:gd name="T51" fmla="*/ 375 h 907"/>
              <a:gd name="T52" fmla="*/ 258 w 908"/>
              <a:gd name="T53" fmla="*/ 411 h 907"/>
              <a:gd name="T54" fmla="*/ 169 w 908"/>
              <a:gd name="T55" fmla="*/ 230 h 907"/>
              <a:gd name="T56" fmla="*/ 260 w 908"/>
              <a:gd name="T57" fmla="*/ 272 h 907"/>
              <a:gd name="T58" fmla="*/ 277 w 908"/>
              <a:gd name="T59" fmla="*/ 251 h 907"/>
              <a:gd name="T60" fmla="*/ 298 w 908"/>
              <a:gd name="T61" fmla="*/ 237 h 907"/>
              <a:gd name="T62" fmla="*/ 319 w 908"/>
              <a:gd name="T63" fmla="*/ 227 h 907"/>
              <a:gd name="T64" fmla="*/ 348 w 908"/>
              <a:gd name="T65" fmla="*/ 221 h 907"/>
              <a:gd name="T66" fmla="*/ 378 w 908"/>
              <a:gd name="T67" fmla="*/ 222 h 907"/>
              <a:gd name="T68" fmla="*/ 404 w 908"/>
              <a:gd name="T69" fmla="*/ 228 h 907"/>
              <a:gd name="T70" fmla="*/ 427 w 908"/>
              <a:gd name="T71" fmla="*/ 238 h 907"/>
              <a:gd name="T72" fmla="*/ 448 w 908"/>
              <a:gd name="T73" fmla="*/ 254 h 907"/>
              <a:gd name="T74" fmla="*/ 465 w 908"/>
              <a:gd name="T75" fmla="*/ 275 h 907"/>
              <a:gd name="T76" fmla="*/ 481 w 908"/>
              <a:gd name="T77" fmla="*/ 282 h 907"/>
              <a:gd name="T78" fmla="*/ 502 w 908"/>
              <a:gd name="T79" fmla="*/ 257 h 907"/>
              <a:gd name="T80" fmla="*/ 526 w 908"/>
              <a:gd name="T81" fmla="*/ 240 h 907"/>
              <a:gd name="T82" fmla="*/ 552 w 908"/>
              <a:gd name="T83" fmla="*/ 228 h 907"/>
              <a:gd name="T84" fmla="*/ 576 w 908"/>
              <a:gd name="T85" fmla="*/ 222 h 907"/>
              <a:gd name="T86" fmla="*/ 611 w 908"/>
              <a:gd name="T87" fmla="*/ 221 h 907"/>
              <a:gd name="T88" fmla="*/ 649 w 908"/>
              <a:gd name="T89" fmla="*/ 229 h 907"/>
              <a:gd name="T90" fmla="*/ 674 w 908"/>
              <a:gd name="T91" fmla="*/ 240 h 907"/>
              <a:gd name="T92" fmla="*/ 692 w 908"/>
              <a:gd name="T93" fmla="*/ 253 h 907"/>
              <a:gd name="T94" fmla="*/ 707 w 908"/>
              <a:gd name="T95" fmla="*/ 270 h 907"/>
              <a:gd name="T96" fmla="*/ 721 w 908"/>
              <a:gd name="T97" fmla="*/ 290 h 907"/>
              <a:gd name="T98" fmla="*/ 731 w 908"/>
              <a:gd name="T99" fmla="*/ 315 h 907"/>
              <a:gd name="T100" fmla="*/ 739 w 908"/>
              <a:gd name="T101" fmla="*/ 346 h 907"/>
              <a:gd name="T102" fmla="*/ 742 w 908"/>
              <a:gd name="T103" fmla="*/ 381 h 907"/>
              <a:gd name="T104" fmla="*/ 0 w 908"/>
              <a:gd name="T105" fmla="*/ 907 h 907"/>
              <a:gd name="T106" fmla="*/ 908 w 908"/>
              <a:gd name="T107" fmla="*/ 453 h 907"/>
              <a:gd name="T108" fmla="*/ 0 w 908"/>
              <a:gd name="T109" fmla="*/ 0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743" y="408"/>
                </a:moveTo>
                <a:lnTo>
                  <a:pt x="743" y="675"/>
                </a:lnTo>
                <a:lnTo>
                  <a:pt x="653" y="675"/>
                </a:lnTo>
                <a:lnTo>
                  <a:pt x="653" y="409"/>
                </a:lnTo>
                <a:lnTo>
                  <a:pt x="652" y="390"/>
                </a:lnTo>
                <a:lnTo>
                  <a:pt x="651" y="382"/>
                </a:lnTo>
                <a:lnTo>
                  <a:pt x="650" y="374"/>
                </a:lnTo>
                <a:lnTo>
                  <a:pt x="648" y="360"/>
                </a:lnTo>
                <a:lnTo>
                  <a:pt x="644" y="348"/>
                </a:lnTo>
                <a:lnTo>
                  <a:pt x="640" y="337"/>
                </a:lnTo>
                <a:lnTo>
                  <a:pt x="636" y="328"/>
                </a:lnTo>
                <a:lnTo>
                  <a:pt x="630" y="320"/>
                </a:lnTo>
                <a:lnTo>
                  <a:pt x="625" y="314"/>
                </a:lnTo>
                <a:lnTo>
                  <a:pt x="619" y="309"/>
                </a:lnTo>
                <a:lnTo>
                  <a:pt x="613" y="305"/>
                </a:lnTo>
                <a:lnTo>
                  <a:pt x="607" y="302"/>
                </a:lnTo>
                <a:lnTo>
                  <a:pt x="601" y="299"/>
                </a:lnTo>
                <a:lnTo>
                  <a:pt x="595" y="298"/>
                </a:lnTo>
                <a:lnTo>
                  <a:pt x="589" y="297"/>
                </a:lnTo>
                <a:lnTo>
                  <a:pt x="584" y="297"/>
                </a:lnTo>
                <a:lnTo>
                  <a:pt x="579" y="296"/>
                </a:lnTo>
                <a:lnTo>
                  <a:pt x="575" y="297"/>
                </a:lnTo>
                <a:lnTo>
                  <a:pt x="571" y="297"/>
                </a:lnTo>
                <a:lnTo>
                  <a:pt x="565" y="298"/>
                </a:lnTo>
                <a:lnTo>
                  <a:pt x="559" y="299"/>
                </a:lnTo>
                <a:lnTo>
                  <a:pt x="552" y="301"/>
                </a:lnTo>
                <a:lnTo>
                  <a:pt x="546" y="304"/>
                </a:lnTo>
                <a:lnTo>
                  <a:pt x="539" y="308"/>
                </a:lnTo>
                <a:lnTo>
                  <a:pt x="532" y="313"/>
                </a:lnTo>
                <a:lnTo>
                  <a:pt x="526" y="320"/>
                </a:lnTo>
                <a:lnTo>
                  <a:pt x="520" y="327"/>
                </a:lnTo>
                <a:lnTo>
                  <a:pt x="517" y="332"/>
                </a:lnTo>
                <a:lnTo>
                  <a:pt x="514" y="337"/>
                </a:lnTo>
                <a:lnTo>
                  <a:pt x="511" y="342"/>
                </a:lnTo>
                <a:lnTo>
                  <a:pt x="509" y="348"/>
                </a:lnTo>
                <a:lnTo>
                  <a:pt x="507" y="354"/>
                </a:lnTo>
                <a:lnTo>
                  <a:pt x="505" y="360"/>
                </a:lnTo>
                <a:lnTo>
                  <a:pt x="503" y="368"/>
                </a:lnTo>
                <a:lnTo>
                  <a:pt x="502" y="375"/>
                </a:lnTo>
                <a:lnTo>
                  <a:pt x="500" y="392"/>
                </a:lnTo>
                <a:lnTo>
                  <a:pt x="499" y="402"/>
                </a:lnTo>
                <a:lnTo>
                  <a:pt x="499" y="411"/>
                </a:lnTo>
                <a:lnTo>
                  <a:pt x="499" y="675"/>
                </a:lnTo>
                <a:lnTo>
                  <a:pt x="410" y="675"/>
                </a:lnTo>
                <a:lnTo>
                  <a:pt x="410" y="409"/>
                </a:lnTo>
                <a:lnTo>
                  <a:pt x="409" y="390"/>
                </a:lnTo>
                <a:lnTo>
                  <a:pt x="409" y="382"/>
                </a:lnTo>
                <a:lnTo>
                  <a:pt x="408" y="374"/>
                </a:lnTo>
                <a:lnTo>
                  <a:pt x="405" y="360"/>
                </a:lnTo>
                <a:lnTo>
                  <a:pt x="402" y="348"/>
                </a:lnTo>
                <a:lnTo>
                  <a:pt x="398" y="337"/>
                </a:lnTo>
                <a:lnTo>
                  <a:pt x="393" y="328"/>
                </a:lnTo>
                <a:lnTo>
                  <a:pt x="388" y="320"/>
                </a:lnTo>
                <a:lnTo>
                  <a:pt x="382" y="314"/>
                </a:lnTo>
                <a:lnTo>
                  <a:pt x="376" y="309"/>
                </a:lnTo>
                <a:lnTo>
                  <a:pt x="370" y="305"/>
                </a:lnTo>
                <a:lnTo>
                  <a:pt x="364" y="302"/>
                </a:lnTo>
                <a:lnTo>
                  <a:pt x="358" y="299"/>
                </a:lnTo>
                <a:lnTo>
                  <a:pt x="352" y="298"/>
                </a:lnTo>
                <a:lnTo>
                  <a:pt x="347" y="297"/>
                </a:lnTo>
                <a:lnTo>
                  <a:pt x="342" y="297"/>
                </a:lnTo>
                <a:lnTo>
                  <a:pt x="337" y="296"/>
                </a:lnTo>
                <a:lnTo>
                  <a:pt x="333" y="297"/>
                </a:lnTo>
                <a:lnTo>
                  <a:pt x="328" y="297"/>
                </a:lnTo>
                <a:lnTo>
                  <a:pt x="323" y="298"/>
                </a:lnTo>
                <a:lnTo>
                  <a:pt x="317" y="299"/>
                </a:lnTo>
                <a:lnTo>
                  <a:pt x="310" y="301"/>
                </a:lnTo>
                <a:lnTo>
                  <a:pt x="304" y="304"/>
                </a:lnTo>
                <a:lnTo>
                  <a:pt x="297" y="308"/>
                </a:lnTo>
                <a:lnTo>
                  <a:pt x="291" y="313"/>
                </a:lnTo>
                <a:lnTo>
                  <a:pt x="284" y="320"/>
                </a:lnTo>
                <a:lnTo>
                  <a:pt x="278" y="327"/>
                </a:lnTo>
                <a:lnTo>
                  <a:pt x="276" y="332"/>
                </a:lnTo>
                <a:lnTo>
                  <a:pt x="273" y="337"/>
                </a:lnTo>
                <a:lnTo>
                  <a:pt x="268" y="348"/>
                </a:lnTo>
                <a:lnTo>
                  <a:pt x="264" y="360"/>
                </a:lnTo>
                <a:lnTo>
                  <a:pt x="262" y="368"/>
                </a:lnTo>
                <a:lnTo>
                  <a:pt x="261" y="375"/>
                </a:lnTo>
                <a:lnTo>
                  <a:pt x="259" y="392"/>
                </a:lnTo>
                <a:lnTo>
                  <a:pt x="259" y="402"/>
                </a:lnTo>
                <a:lnTo>
                  <a:pt x="258" y="411"/>
                </a:lnTo>
                <a:lnTo>
                  <a:pt x="258" y="675"/>
                </a:lnTo>
                <a:lnTo>
                  <a:pt x="169" y="675"/>
                </a:lnTo>
                <a:lnTo>
                  <a:pt x="169" y="230"/>
                </a:lnTo>
                <a:lnTo>
                  <a:pt x="255" y="230"/>
                </a:lnTo>
                <a:lnTo>
                  <a:pt x="255" y="280"/>
                </a:lnTo>
                <a:lnTo>
                  <a:pt x="260" y="272"/>
                </a:lnTo>
                <a:lnTo>
                  <a:pt x="265" y="264"/>
                </a:lnTo>
                <a:lnTo>
                  <a:pt x="271" y="257"/>
                </a:lnTo>
                <a:lnTo>
                  <a:pt x="277" y="251"/>
                </a:lnTo>
                <a:lnTo>
                  <a:pt x="284" y="246"/>
                </a:lnTo>
                <a:lnTo>
                  <a:pt x="291" y="241"/>
                </a:lnTo>
                <a:lnTo>
                  <a:pt x="298" y="237"/>
                </a:lnTo>
                <a:lnTo>
                  <a:pt x="305" y="233"/>
                </a:lnTo>
                <a:lnTo>
                  <a:pt x="312" y="230"/>
                </a:lnTo>
                <a:lnTo>
                  <a:pt x="319" y="227"/>
                </a:lnTo>
                <a:lnTo>
                  <a:pt x="334" y="223"/>
                </a:lnTo>
                <a:lnTo>
                  <a:pt x="341" y="222"/>
                </a:lnTo>
                <a:lnTo>
                  <a:pt x="348" y="221"/>
                </a:lnTo>
                <a:lnTo>
                  <a:pt x="360" y="221"/>
                </a:lnTo>
                <a:lnTo>
                  <a:pt x="369" y="221"/>
                </a:lnTo>
                <a:lnTo>
                  <a:pt x="378" y="222"/>
                </a:lnTo>
                <a:lnTo>
                  <a:pt x="387" y="223"/>
                </a:lnTo>
                <a:lnTo>
                  <a:pt x="395" y="225"/>
                </a:lnTo>
                <a:lnTo>
                  <a:pt x="404" y="228"/>
                </a:lnTo>
                <a:lnTo>
                  <a:pt x="412" y="231"/>
                </a:lnTo>
                <a:lnTo>
                  <a:pt x="419" y="234"/>
                </a:lnTo>
                <a:lnTo>
                  <a:pt x="427" y="238"/>
                </a:lnTo>
                <a:lnTo>
                  <a:pt x="434" y="243"/>
                </a:lnTo>
                <a:lnTo>
                  <a:pt x="441" y="248"/>
                </a:lnTo>
                <a:lnTo>
                  <a:pt x="448" y="254"/>
                </a:lnTo>
                <a:lnTo>
                  <a:pt x="454" y="261"/>
                </a:lnTo>
                <a:lnTo>
                  <a:pt x="460" y="268"/>
                </a:lnTo>
                <a:lnTo>
                  <a:pt x="465" y="275"/>
                </a:lnTo>
                <a:lnTo>
                  <a:pt x="470" y="283"/>
                </a:lnTo>
                <a:lnTo>
                  <a:pt x="475" y="292"/>
                </a:lnTo>
                <a:lnTo>
                  <a:pt x="481" y="282"/>
                </a:lnTo>
                <a:lnTo>
                  <a:pt x="488" y="273"/>
                </a:lnTo>
                <a:lnTo>
                  <a:pt x="495" y="265"/>
                </a:lnTo>
                <a:lnTo>
                  <a:pt x="502" y="257"/>
                </a:lnTo>
                <a:lnTo>
                  <a:pt x="510" y="251"/>
                </a:lnTo>
                <a:lnTo>
                  <a:pt x="518" y="245"/>
                </a:lnTo>
                <a:lnTo>
                  <a:pt x="526" y="240"/>
                </a:lnTo>
                <a:lnTo>
                  <a:pt x="535" y="235"/>
                </a:lnTo>
                <a:lnTo>
                  <a:pt x="543" y="232"/>
                </a:lnTo>
                <a:lnTo>
                  <a:pt x="552" y="228"/>
                </a:lnTo>
                <a:lnTo>
                  <a:pt x="560" y="226"/>
                </a:lnTo>
                <a:lnTo>
                  <a:pt x="568" y="224"/>
                </a:lnTo>
                <a:lnTo>
                  <a:pt x="576" y="222"/>
                </a:lnTo>
                <a:lnTo>
                  <a:pt x="584" y="221"/>
                </a:lnTo>
                <a:lnTo>
                  <a:pt x="598" y="221"/>
                </a:lnTo>
                <a:lnTo>
                  <a:pt x="611" y="221"/>
                </a:lnTo>
                <a:lnTo>
                  <a:pt x="624" y="223"/>
                </a:lnTo>
                <a:lnTo>
                  <a:pt x="636" y="225"/>
                </a:lnTo>
                <a:lnTo>
                  <a:pt x="649" y="229"/>
                </a:lnTo>
                <a:lnTo>
                  <a:pt x="662" y="234"/>
                </a:lnTo>
                <a:lnTo>
                  <a:pt x="668" y="237"/>
                </a:lnTo>
                <a:lnTo>
                  <a:pt x="674" y="240"/>
                </a:lnTo>
                <a:lnTo>
                  <a:pt x="680" y="244"/>
                </a:lnTo>
                <a:lnTo>
                  <a:pt x="686" y="248"/>
                </a:lnTo>
                <a:lnTo>
                  <a:pt x="692" y="253"/>
                </a:lnTo>
                <a:lnTo>
                  <a:pt x="697" y="258"/>
                </a:lnTo>
                <a:lnTo>
                  <a:pt x="702" y="264"/>
                </a:lnTo>
                <a:lnTo>
                  <a:pt x="707" y="270"/>
                </a:lnTo>
                <a:lnTo>
                  <a:pt x="712" y="276"/>
                </a:lnTo>
                <a:lnTo>
                  <a:pt x="716" y="283"/>
                </a:lnTo>
                <a:lnTo>
                  <a:pt x="721" y="290"/>
                </a:lnTo>
                <a:lnTo>
                  <a:pt x="724" y="298"/>
                </a:lnTo>
                <a:lnTo>
                  <a:pt x="728" y="307"/>
                </a:lnTo>
                <a:lnTo>
                  <a:pt x="731" y="315"/>
                </a:lnTo>
                <a:lnTo>
                  <a:pt x="734" y="325"/>
                </a:lnTo>
                <a:lnTo>
                  <a:pt x="736" y="335"/>
                </a:lnTo>
                <a:lnTo>
                  <a:pt x="739" y="346"/>
                </a:lnTo>
                <a:lnTo>
                  <a:pt x="740" y="357"/>
                </a:lnTo>
                <a:lnTo>
                  <a:pt x="741" y="369"/>
                </a:lnTo>
                <a:lnTo>
                  <a:pt x="742" y="381"/>
                </a:lnTo>
                <a:lnTo>
                  <a:pt x="743" y="394"/>
                </a:lnTo>
                <a:lnTo>
                  <a:pt x="743" y="408"/>
                </a:lnTo>
                <a:close/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8" name="Freeform 17"/>
          <p:cNvSpPr>
            <a:spLocks noChangeAspect="1" noEditPoints="1"/>
          </p:cNvSpPr>
          <p:nvPr userDrawn="1"/>
        </p:nvSpPr>
        <p:spPr bwMode="auto">
          <a:xfrm>
            <a:off x="2612652" y="1286168"/>
            <a:ext cx="1306033" cy="1285880"/>
          </a:xfrm>
          <a:custGeom>
            <a:avLst/>
            <a:gdLst>
              <a:gd name="T0" fmla="*/ 587 w 907"/>
              <a:gd name="T1" fmla="*/ 676 h 908"/>
              <a:gd name="T2" fmla="*/ 587 w 907"/>
              <a:gd name="T3" fmla="*/ 444 h 908"/>
              <a:gd name="T4" fmla="*/ 586 w 907"/>
              <a:gd name="T5" fmla="*/ 428 h 908"/>
              <a:gd name="T6" fmla="*/ 583 w 907"/>
              <a:gd name="T7" fmla="*/ 412 h 908"/>
              <a:gd name="T8" fmla="*/ 580 w 907"/>
              <a:gd name="T9" fmla="*/ 397 h 908"/>
              <a:gd name="T10" fmla="*/ 575 w 907"/>
              <a:gd name="T11" fmla="*/ 383 h 908"/>
              <a:gd name="T12" fmla="*/ 566 w 907"/>
              <a:gd name="T13" fmla="*/ 364 h 908"/>
              <a:gd name="T14" fmla="*/ 555 w 907"/>
              <a:gd name="T15" fmla="*/ 347 h 908"/>
              <a:gd name="T16" fmla="*/ 546 w 907"/>
              <a:gd name="T17" fmla="*/ 337 h 908"/>
              <a:gd name="T18" fmla="*/ 532 w 907"/>
              <a:gd name="T19" fmla="*/ 325 h 908"/>
              <a:gd name="T20" fmla="*/ 516 w 907"/>
              <a:gd name="T21" fmla="*/ 314 h 908"/>
              <a:gd name="T22" fmla="*/ 504 w 907"/>
              <a:gd name="T23" fmla="*/ 309 h 908"/>
              <a:gd name="T24" fmla="*/ 492 w 907"/>
              <a:gd name="T25" fmla="*/ 305 h 908"/>
              <a:gd name="T26" fmla="*/ 479 w 907"/>
              <a:gd name="T27" fmla="*/ 303 h 908"/>
              <a:gd name="T28" fmla="*/ 460 w 907"/>
              <a:gd name="T29" fmla="*/ 301 h 908"/>
              <a:gd name="T30" fmla="*/ 439 w 907"/>
              <a:gd name="T31" fmla="*/ 302 h 908"/>
              <a:gd name="T32" fmla="*/ 419 w 907"/>
              <a:gd name="T33" fmla="*/ 307 h 908"/>
              <a:gd name="T34" fmla="*/ 407 w 907"/>
              <a:gd name="T35" fmla="*/ 312 h 908"/>
              <a:gd name="T36" fmla="*/ 395 w 907"/>
              <a:gd name="T37" fmla="*/ 317 h 908"/>
              <a:gd name="T38" fmla="*/ 383 w 907"/>
              <a:gd name="T39" fmla="*/ 325 h 908"/>
              <a:gd name="T40" fmla="*/ 373 w 907"/>
              <a:gd name="T41" fmla="*/ 333 h 908"/>
              <a:gd name="T42" fmla="*/ 363 w 907"/>
              <a:gd name="T43" fmla="*/ 343 h 908"/>
              <a:gd name="T44" fmla="*/ 354 w 907"/>
              <a:gd name="T45" fmla="*/ 354 h 908"/>
              <a:gd name="T46" fmla="*/ 345 w 907"/>
              <a:gd name="T47" fmla="*/ 366 h 908"/>
              <a:gd name="T48" fmla="*/ 335 w 907"/>
              <a:gd name="T49" fmla="*/ 387 h 908"/>
              <a:gd name="T50" fmla="*/ 327 w 907"/>
              <a:gd name="T51" fmla="*/ 410 h 908"/>
              <a:gd name="T52" fmla="*/ 324 w 907"/>
              <a:gd name="T53" fmla="*/ 427 h 908"/>
              <a:gd name="T54" fmla="*/ 321 w 907"/>
              <a:gd name="T55" fmla="*/ 446 h 908"/>
              <a:gd name="T56" fmla="*/ 321 w 907"/>
              <a:gd name="T57" fmla="*/ 676 h 908"/>
              <a:gd name="T58" fmla="*/ 231 w 907"/>
              <a:gd name="T59" fmla="*/ 230 h 908"/>
              <a:gd name="T60" fmla="*/ 318 w 907"/>
              <a:gd name="T61" fmla="*/ 305 h 908"/>
              <a:gd name="T62" fmla="*/ 329 w 907"/>
              <a:gd name="T63" fmla="*/ 286 h 908"/>
              <a:gd name="T64" fmla="*/ 344 w 907"/>
              <a:gd name="T65" fmla="*/ 270 h 908"/>
              <a:gd name="T66" fmla="*/ 352 w 907"/>
              <a:gd name="T67" fmla="*/ 262 h 908"/>
              <a:gd name="T68" fmla="*/ 371 w 907"/>
              <a:gd name="T69" fmla="*/ 249 h 908"/>
              <a:gd name="T70" fmla="*/ 392 w 907"/>
              <a:gd name="T71" fmla="*/ 238 h 908"/>
              <a:gd name="T72" fmla="*/ 414 w 907"/>
              <a:gd name="T73" fmla="*/ 230 h 908"/>
              <a:gd name="T74" fmla="*/ 438 w 907"/>
              <a:gd name="T75" fmla="*/ 224 h 908"/>
              <a:gd name="T76" fmla="*/ 461 w 907"/>
              <a:gd name="T77" fmla="*/ 221 h 908"/>
              <a:gd name="T78" fmla="*/ 492 w 907"/>
              <a:gd name="T79" fmla="*/ 221 h 908"/>
              <a:gd name="T80" fmla="*/ 520 w 907"/>
              <a:gd name="T81" fmla="*/ 225 h 908"/>
              <a:gd name="T82" fmla="*/ 538 w 907"/>
              <a:gd name="T83" fmla="*/ 230 h 908"/>
              <a:gd name="T84" fmla="*/ 556 w 907"/>
              <a:gd name="T85" fmla="*/ 236 h 908"/>
              <a:gd name="T86" fmla="*/ 573 w 907"/>
              <a:gd name="T87" fmla="*/ 244 h 908"/>
              <a:gd name="T88" fmla="*/ 590 w 907"/>
              <a:gd name="T89" fmla="*/ 253 h 908"/>
              <a:gd name="T90" fmla="*/ 605 w 907"/>
              <a:gd name="T91" fmla="*/ 265 h 908"/>
              <a:gd name="T92" fmla="*/ 619 w 907"/>
              <a:gd name="T93" fmla="*/ 278 h 908"/>
              <a:gd name="T94" fmla="*/ 632 w 907"/>
              <a:gd name="T95" fmla="*/ 293 h 908"/>
              <a:gd name="T96" fmla="*/ 644 w 907"/>
              <a:gd name="T97" fmla="*/ 310 h 908"/>
              <a:gd name="T98" fmla="*/ 654 w 907"/>
              <a:gd name="T99" fmla="*/ 328 h 908"/>
              <a:gd name="T100" fmla="*/ 663 w 907"/>
              <a:gd name="T101" fmla="*/ 349 h 908"/>
              <a:gd name="T102" fmla="*/ 669 w 907"/>
              <a:gd name="T103" fmla="*/ 372 h 908"/>
              <a:gd name="T104" fmla="*/ 674 w 907"/>
              <a:gd name="T105" fmla="*/ 397 h 908"/>
              <a:gd name="T106" fmla="*/ 676 w 907"/>
              <a:gd name="T107" fmla="*/ 424 h 908"/>
              <a:gd name="T108" fmla="*/ 676 w 907"/>
              <a:gd name="T109" fmla="*/ 676 h 908"/>
              <a:gd name="T110" fmla="*/ 453 w 907"/>
              <a:gd name="T111" fmla="*/ 908 h 908"/>
              <a:gd name="T112" fmla="*/ 907 w 907"/>
              <a:gd name="T113" fmla="*/ 453 h 908"/>
              <a:gd name="T114" fmla="*/ 453 w 907"/>
              <a:gd name="T115" fmla="*/ 0 h 908"/>
              <a:gd name="T116" fmla="*/ 0 w 907"/>
              <a:gd name="T117" fmla="*/ 453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7" h="908">
                <a:moveTo>
                  <a:pt x="676" y="676"/>
                </a:moveTo>
                <a:lnTo>
                  <a:pt x="587" y="676"/>
                </a:lnTo>
                <a:lnTo>
                  <a:pt x="587" y="453"/>
                </a:lnTo>
                <a:lnTo>
                  <a:pt x="587" y="444"/>
                </a:lnTo>
                <a:lnTo>
                  <a:pt x="586" y="436"/>
                </a:lnTo>
                <a:lnTo>
                  <a:pt x="586" y="428"/>
                </a:lnTo>
                <a:lnTo>
                  <a:pt x="585" y="420"/>
                </a:lnTo>
                <a:lnTo>
                  <a:pt x="583" y="412"/>
                </a:lnTo>
                <a:lnTo>
                  <a:pt x="581" y="404"/>
                </a:lnTo>
                <a:lnTo>
                  <a:pt x="580" y="397"/>
                </a:lnTo>
                <a:lnTo>
                  <a:pt x="577" y="390"/>
                </a:lnTo>
                <a:lnTo>
                  <a:pt x="575" y="383"/>
                </a:lnTo>
                <a:lnTo>
                  <a:pt x="572" y="376"/>
                </a:lnTo>
                <a:lnTo>
                  <a:pt x="566" y="364"/>
                </a:lnTo>
                <a:lnTo>
                  <a:pt x="559" y="352"/>
                </a:lnTo>
                <a:lnTo>
                  <a:pt x="555" y="347"/>
                </a:lnTo>
                <a:lnTo>
                  <a:pt x="550" y="342"/>
                </a:lnTo>
                <a:lnTo>
                  <a:pt x="546" y="337"/>
                </a:lnTo>
                <a:lnTo>
                  <a:pt x="541" y="333"/>
                </a:lnTo>
                <a:lnTo>
                  <a:pt x="532" y="325"/>
                </a:lnTo>
                <a:lnTo>
                  <a:pt x="521" y="317"/>
                </a:lnTo>
                <a:lnTo>
                  <a:pt x="516" y="314"/>
                </a:lnTo>
                <a:lnTo>
                  <a:pt x="510" y="312"/>
                </a:lnTo>
                <a:lnTo>
                  <a:pt x="504" y="309"/>
                </a:lnTo>
                <a:lnTo>
                  <a:pt x="498" y="307"/>
                </a:lnTo>
                <a:lnTo>
                  <a:pt x="492" y="305"/>
                </a:lnTo>
                <a:lnTo>
                  <a:pt x="486" y="304"/>
                </a:lnTo>
                <a:lnTo>
                  <a:pt x="479" y="303"/>
                </a:lnTo>
                <a:lnTo>
                  <a:pt x="473" y="302"/>
                </a:lnTo>
                <a:lnTo>
                  <a:pt x="460" y="301"/>
                </a:lnTo>
                <a:lnTo>
                  <a:pt x="446" y="302"/>
                </a:lnTo>
                <a:lnTo>
                  <a:pt x="439" y="302"/>
                </a:lnTo>
                <a:lnTo>
                  <a:pt x="432" y="304"/>
                </a:lnTo>
                <a:lnTo>
                  <a:pt x="419" y="307"/>
                </a:lnTo>
                <a:lnTo>
                  <a:pt x="413" y="309"/>
                </a:lnTo>
                <a:lnTo>
                  <a:pt x="407" y="312"/>
                </a:lnTo>
                <a:lnTo>
                  <a:pt x="401" y="314"/>
                </a:lnTo>
                <a:lnTo>
                  <a:pt x="395" y="317"/>
                </a:lnTo>
                <a:lnTo>
                  <a:pt x="389" y="321"/>
                </a:lnTo>
                <a:lnTo>
                  <a:pt x="383" y="325"/>
                </a:lnTo>
                <a:lnTo>
                  <a:pt x="378" y="329"/>
                </a:lnTo>
                <a:lnTo>
                  <a:pt x="373" y="333"/>
                </a:lnTo>
                <a:lnTo>
                  <a:pt x="367" y="338"/>
                </a:lnTo>
                <a:lnTo>
                  <a:pt x="363" y="343"/>
                </a:lnTo>
                <a:lnTo>
                  <a:pt x="358" y="348"/>
                </a:lnTo>
                <a:lnTo>
                  <a:pt x="354" y="354"/>
                </a:lnTo>
                <a:lnTo>
                  <a:pt x="349" y="360"/>
                </a:lnTo>
                <a:lnTo>
                  <a:pt x="345" y="366"/>
                </a:lnTo>
                <a:lnTo>
                  <a:pt x="338" y="380"/>
                </a:lnTo>
                <a:lnTo>
                  <a:pt x="335" y="387"/>
                </a:lnTo>
                <a:lnTo>
                  <a:pt x="332" y="394"/>
                </a:lnTo>
                <a:lnTo>
                  <a:pt x="327" y="410"/>
                </a:lnTo>
                <a:lnTo>
                  <a:pt x="325" y="419"/>
                </a:lnTo>
                <a:lnTo>
                  <a:pt x="324" y="427"/>
                </a:lnTo>
                <a:lnTo>
                  <a:pt x="322" y="436"/>
                </a:lnTo>
                <a:lnTo>
                  <a:pt x="321" y="446"/>
                </a:lnTo>
                <a:lnTo>
                  <a:pt x="321" y="466"/>
                </a:lnTo>
                <a:lnTo>
                  <a:pt x="321" y="676"/>
                </a:lnTo>
                <a:lnTo>
                  <a:pt x="231" y="676"/>
                </a:lnTo>
                <a:lnTo>
                  <a:pt x="231" y="230"/>
                </a:lnTo>
                <a:lnTo>
                  <a:pt x="318" y="230"/>
                </a:lnTo>
                <a:lnTo>
                  <a:pt x="318" y="305"/>
                </a:lnTo>
                <a:lnTo>
                  <a:pt x="323" y="296"/>
                </a:lnTo>
                <a:lnTo>
                  <a:pt x="329" y="286"/>
                </a:lnTo>
                <a:lnTo>
                  <a:pt x="336" y="278"/>
                </a:lnTo>
                <a:lnTo>
                  <a:pt x="344" y="270"/>
                </a:lnTo>
                <a:lnTo>
                  <a:pt x="348" y="266"/>
                </a:lnTo>
                <a:lnTo>
                  <a:pt x="352" y="262"/>
                </a:lnTo>
                <a:lnTo>
                  <a:pt x="361" y="255"/>
                </a:lnTo>
                <a:lnTo>
                  <a:pt x="371" y="249"/>
                </a:lnTo>
                <a:lnTo>
                  <a:pt x="381" y="243"/>
                </a:lnTo>
                <a:lnTo>
                  <a:pt x="392" y="238"/>
                </a:lnTo>
                <a:lnTo>
                  <a:pt x="403" y="233"/>
                </a:lnTo>
                <a:lnTo>
                  <a:pt x="414" y="230"/>
                </a:lnTo>
                <a:lnTo>
                  <a:pt x="426" y="226"/>
                </a:lnTo>
                <a:lnTo>
                  <a:pt x="438" y="224"/>
                </a:lnTo>
                <a:lnTo>
                  <a:pt x="449" y="222"/>
                </a:lnTo>
                <a:lnTo>
                  <a:pt x="461" y="221"/>
                </a:lnTo>
                <a:lnTo>
                  <a:pt x="473" y="221"/>
                </a:lnTo>
                <a:lnTo>
                  <a:pt x="492" y="221"/>
                </a:lnTo>
                <a:lnTo>
                  <a:pt x="511" y="224"/>
                </a:lnTo>
                <a:lnTo>
                  <a:pt x="520" y="225"/>
                </a:lnTo>
                <a:lnTo>
                  <a:pt x="529" y="227"/>
                </a:lnTo>
                <a:lnTo>
                  <a:pt x="538" y="230"/>
                </a:lnTo>
                <a:lnTo>
                  <a:pt x="547" y="233"/>
                </a:lnTo>
                <a:lnTo>
                  <a:pt x="556" y="236"/>
                </a:lnTo>
                <a:lnTo>
                  <a:pt x="565" y="240"/>
                </a:lnTo>
                <a:lnTo>
                  <a:pt x="573" y="244"/>
                </a:lnTo>
                <a:lnTo>
                  <a:pt x="582" y="248"/>
                </a:lnTo>
                <a:lnTo>
                  <a:pt x="590" y="253"/>
                </a:lnTo>
                <a:lnTo>
                  <a:pt x="597" y="259"/>
                </a:lnTo>
                <a:lnTo>
                  <a:pt x="605" y="265"/>
                </a:lnTo>
                <a:lnTo>
                  <a:pt x="612" y="271"/>
                </a:lnTo>
                <a:lnTo>
                  <a:pt x="619" y="278"/>
                </a:lnTo>
                <a:lnTo>
                  <a:pt x="626" y="285"/>
                </a:lnTo>
                <a:lnTo>
                  <a:pt x="632" y="293"/>
                </a:lnTo>
                <a:lnTo>
                  <a:pt x="638" y="301"/>
                </a:lnTo>
                <a:lnTo>
                  <a:pt x="644" y="310"/>
                </a:lnTo>
                <a:lnTo>
                  <a:pt x="649" y="319"/>
                </a:lnTo>
                <a:lnTo>
                  <a:pt x="654" y="328"/>
                </a:lnTo>
                <a:lnTo>
                  <a:pt x="659" y="338"/>
                </a:lnTo>
                <a:lnTo>
                  <a:pt x="663" y="349"/>
                </a:lnTo>
                <a:lnTo>
                  <a:pt x="666" y="360"/>
                </a:lnTo>
                <a:lnTo>
                  <a:pt x="669" y="372"/>
                </a:lnTo>
                <a:lnTo>
                  <a:pt x="672" y="384"/>
                </a:lnTo>
                <a:lnTo>
                  <a:pt x="674" y="397"/>
                </a:lnTo>
                <a:lnTo>
                  <a:pt x="675" y="410"/>
                </a:lnTo>
                <a:lnTo>
                  <a:pt x="676" y="424"/>
                </a:lnTo>
                <a:lnTo>
                  <a:pt x="676" y="438"/>
                </a:lnTo>
                <a:lnTo>
                  <a:pt x="676" y="676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3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9" name="Freeform 18"/>
          <p:cNvSpPr>
            <a:spLocks noChangeAspect="1" noEditPoints="1"/>
          </p:cNvSpPr>
          <p:nvPr userDrawn="1"/>
        </p:nvSpPr>
        <p:spPr bwMode="auto">
          <a:xfrm>
            <a:off x="5224114" y="2572336"/>
            <a:ext cx="1306033" cy="1285880"/>
          </a:xfrm>
          <a:custGeom>
            <a:avLst/>
            <a:gdLst>
              <a:gd name="T0" fmla="*/ 433 w 907"/>
              <a:gd name="T1" fmla="*/ 300 h 908"/>
              <a:gd name="T2" fmla="*/ 403 w 907"/>
              <a:gd name="T3" fmla="*/ 308 h 908"/>
              <a:gd name="T4" fmla="*/ 366 w 907"/>
              <a:gd name="T5" fmla="*/ 332 h 908"/>
              <a:gd name="T6" fmla="*/ 343 w 907"/>
              <a:gd name="T7" fmla="*/ 360 h 908"/>
              <a:gd name="T8" fmla="*/ 325 w 907"/>
              <a:gd name="T9" fmla="*/ 398 h 908"/>
              <a:gd name="T10" fmla="*/ 316 w 907"/>
              <a:gd name="T11" fmla="*/ 455 h 908"/>
              <a:gd name="T12" fmla="*/ 321 w 907"/>
              <a:gd name="T13" fmla="*/ 497 h 908"/>
              <a:gd name="T14" fmla="*/ 330 w 907"/>
              <a:gd name="T15" fmla="*/ 524 h 908"/>
              <a:gd name="T16" fmla="*/ 343 w 907"/>
              <a:gd name="T17" fmla="*/ 549 h 908"/>
              <a:gd name="T18" fmla="*/ 361 w 907"/>
              <a:gd name="T19" fmla="*/ 571 h 908"/>
              <a:gd name="T20" fmla="*/ 383 w 907"/>
              <a:gd name="T21" fmla="*/ 589 h 908"/>
              <a:gd name="T22" fmla="*/ 410 w 907"/>
              <a:gd name="T23" fmla="*/ 603 h 908"/>
              <a:gd name="T24" fmla="*/ 441 w 907"/>
              <a:gd name="T25" fmla="*/ 610 h 908"/>
              <a:gd name="T26" fmla="*/ 484 w 907"/>
              <a:gd name="T27" fmla="*/ 608 h 908"/>
              <a:gd name="T28" fmla="*/ 520 w 907"/>
              <a:gd name="T29" fmla="*/ 596 h 908"/>
              <a:gd name="T30" fmla="*/ 547 w 907"/>
              <a:gd name="T31" fmla="*/ 577 h 908"/>
              <a:gd name="T32" fmla="*/ 565 w 907"/>
              <a:gd name="T33" fmla="*/ 557 h 908"/>
              <a:gd name="T34" fmla="*/ 583 w 907"/>
              <a:gd name="T35" fmla="*/ 524 h 908"/>
              <a:gd name="T36" fmla="*/ 592 w 907"/>
              <a:gd name="T37" fmla="*/ 483 h 908"/>
              <a:gd name="T38" fmla="*/ 594 w 907"/>
              <a:gd name="T39" fmla="*/ 445 h 908"/>
              <a:gd name="T40" fmla="*/ 587 w 907"/>
              <a:gd name="T41" fmla="*/ 400 h 908"/>
              <a:gd name="T42" fmla="*/ 577 w 907"/>
              <a:gd name="T43" fmla="*/ 370 h 908"/>
              <a:gd name="T44" fmla="*/ 561 w 907"/>
              <a:gd name="T45" fmla="*/ 346 h 908"/>
              <a:gd name="T46" fmla="*/ 526 w 907"/>
              <a:gd name="T47" fmla="*/ 315 h 908"/>
              <a:gd name="T48" fmla="*/ 503 w 907"/>
              <a:gd name="T49" fmla="*/ 305 h 908"/>
              <a:gd name="T50" fmla="*/ 471 w 907"/>
              <a:gd name="T51" fmla="*/ 298 h 908"/>
              <a:gd name="T52" fmla="*/ 453 w 907"/>
              <a:gd name="T53" fmla="*/ 908 h 908"/>
              <a:gd name="T54" fmla="*/ 453 w 907"/>
              <a:gd name="T55" fmla="*/ 0 h 908"/>
              <a:gd name="T56" fmla="*/ 681 w 907"/>
              <a:gd name="T57" fmla="*/ 676 h 908"/>
              <a:gd name="T58" fmla="*/ 585 w 907"/>
              <a:gd name="T59" fmla="*/ 631 h 908"/>
              <a:gd name="T60" fmla="*/ 549 w 907"/>
              <a:gd name="T61" fmla="*/ 660 h 908"/>
              <a:gd name="T62" fmla="*/ 514 w 907"/>
              <a:gd name="T63" fmla="*/ 676 h 908"/>
              <a:gd name="T64" fmla="*/ 473 w 907"/>
              <a:gd name="T65" fmla="*/ 685 h 908"/>
              <a:gd name="T66" fmla="*/ 427 w 907"/>
              <a:gd name="T67" fmla="*/ 685 h 908"/>
              <a:gd name="T68" fmla="*/ 382 w 907"/>
              <a:gd name="T69" fmla="*/ 676 h 908"/>
              <a:gd name="T70" fmla="*/ 342 w 907"/>
              <a:gd name="T71" fmla="*/ 658 h 908"/>
              <a:gd name="T72" fmla="*/ 306 w 907"/>
              <a:gd name="T73" fmla="*/ 633 h 908"/>
              <a:gd name="T74" fmla="*/ 276 w 907"/>
              <a:gd name="T75" fmla="*/ 602 h 908"/>
              <a:gd name="T76" fmla="*/ 253 w 907"/>
              <a:gd name="T77" fmla="*/ 565 h 908"/>
              <a:gd name="T78" fmla="*/ 236 w 907"/>
              <a:gd name="T79" fmla="*/ 523 h 908"/>
              <a:gd name="T80" fmla="*/ 228 w 907"/>
              <a:gd name="T81" fmla="*/ 478 h 908"/>
              <a:gd name="T82" fmla="*/ 228 w 907"/>
              <a:gd name="T83" fmla="*/ 430 h 908"/>
              <a:gd name="T84" fmla="*/ 235 w 907"/>
              <a:gd name="T85" fmla="*/ 390 h 908"/>
              <a:gd name="T86" fmla="*/ 248 w 907"/>
              <a:gd name="T87" fmla="*/ 353 h 908"/>
              <a:gd name="T88" fmla="*/ 270 w 907"/>
              <a:gd name="T89" fmla="*/ 315 h 908"/>
              <a:gd name="T90" fmla="*/ 298 w 907"/>
              <a:gd name="T91" fmla="*/ 282 h 908"/>
              <a:gd name="T92" fmla="*/ 323 w 907"/>
              <a:gd name="T93" fmla="*/ 261 h 908"/>
              <a:gd name="T94" fmla="*/ 361 w 907"/>
              <a:gd name="T95" fmla="*/ 240 h 908"/>
              <a:gd name="T96" fmla="*/ 404 w 907"/>
              <a:gd name="T97" fmla="*/ 227 h 908"/>
              <a:gd name="T98" fmla="*/ 451 w 907"/>
              <a:gd name="T99" fmla="*/ 222 h 908"/>
              <a:gd name="T100" fmla="*/ 494 w 907"/>
              <a:gd name="T101" fmla="*/ 226 h 908"/>
              <a:gd name="T102" fmla="*/ 532 w 907"/>
              <a:gd name="T103" fmla="*/ 239 h 908"/>
              <a:gd name="T104" fmla="*/ 560 w 907"/>
              <a:gd name="T105" fmla="*/ 255 h 908"/>
              <a:gd name="T106" fmla="*/ 585 w 907"/>
              <a:gd name="T107" fmla="*/ 277 h 908"/>
              <a:gd name="T108" fmla="*/ 681 w 907"/>
              <a:gd name="T109" fmla="*/ 676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7" h="908">
                <a:moveTo>
                  <a:pt x="459" y="298"/>
                </a:moveTo>
                <a:lnTo>
                  <a:pt x="450" y="298"/>
                </a:lnTo>
                <a:lnTo>
                  <a:pt x="441" y="299"/>
                </a:lnTo>
                <a:lnTo>
                  <a:pt x="433" y="300"/>
                </a:lnTo>
                <a:lnTo>
                  <a:pt x="425" y="301"/>
                </a:lnTo>
                <a:lnTo>
                  <a:pt x="417" y="303"/>
                </a:lnTo>
                <a:lnTo>
                  <a:pt x="410" y="306"/>
                </a:lnTo>
                <a:lnTo>
                  <a:pt x="403" y="308"/>
                </a:lnTo>
                <a:lnTo>
                  <a:pt x="396" y="312"/>
                </a:lnTo>
                <a:lnTo>
                  <a:pt x="383" y="319"/>
                </a:lnTo>
                <a:lnTo>
                  <a:pt x="371" y="328"/>
                </a:lnTo>
                <a:lnTo>
                  <a:pt x="366" y="332"/>
                </a:lnTo>
                <a:lnTo>
                  <a:pt x="361" y="337"/>
                </a:lnTo>
                <a:lnTo>
                  <a:pt x="351" y="348"/>
                </a:lnTo>
                <a:lnTo>
                  <a:pt x="347" y="354"/>
                </a:lnTo>
                <a:lnTo>
                  <a:pt x="343" y="360"/>
                </a:lnTo>
                <a:lnTo>
                  <a:pt x="336" y="372"/>
                </a:lnTo>
                <a:lnTo>
                  <a:pt x="333" y="378"/>
                </a:lnTo>
                <a:lnTo>
                  <a:pt x="330" y="385"/>
                </a:lnTo>
                <a:lnTo>
                  <a:pt x="325" y="398"/>
                </a:lnTo>
                <a:lnTo>
                  <a:pt x="321" y="412"/>
                </a:lnTo>
                <a:lnTo>
                  <a:pt x="318" y="426"/>
                </a:lnTo>
                <a:lnTo>
                  <a:pt x="316" y="440"/>
                </a:lnTo>
                <a:lnTo>
                  <a:pt x="316" y="455"/>
                </a:lnTo>
                <a:lnTo>
                  <a:pt x="316" y="469"/>
                </a:lnTo>
                <a:lnTo>
                  <a:pt x="317" y="476"/>
                </a:lnTo>
                <a:lnTo>
                  <a:pt x="318" y="483"/>
                </a:lnTo>
                <a:lnTo>
                  <a:pt x="321" y="497"/>
                </a:lnTo>
                <a:lnTo>
                  <a:pt x="323" y="504"/>
                </a:lnTo>
                <a:lnTo>
                  <a:pt x="325" y="511"/>
                </a:lnTo>
                <a:lnTo>
                  <a:pt x="327" y="517"/>
                </a:lnTo>
                <a:lnTo>
                  <a:pt x="330" y="524"/>
                </a:lnTo>
                <a:lnTo>
                  <a:pt x="333" y="530"/>
                </a:lnTo>
                <a:lnTo>
                  <a:pt x="336" y="537"/>
                </a:lnTo>
                <a:lnTo>
                  <a:pt x="339" y="543"/>
                </a:lnTo>
                <a:lnTo>
                  <a:pt x="343" y="549"/>
                </a:lnTo>
                <a:lnTo>
                  <a:pt x="347" y="555"/>
                </a:lnTo>
                <a:lnTo>
                  <a:pt x="351" y="561"/>
                </a:lnTo>
                <a:lnTo>
                  <a:pt x="356" y="566"/>
                </a:lnTo>
                <a:lnTo>
                  <a:pt x="361" y="571"/>
                </a:lnTo>
                <a:lnTo>
                  <a:pt x="366" y="576"/>
                </a:lnTo>
                <a:lnTo>
                  <a:pt x="371" y="581"/>
                </a:lnTo>
                <a:lnTo>
                  <a:pt x="377" y="585"/>
                </a:lnTo>
                <a:lnTo>
                  <a:pt x="383" y="589"/>
                </a:lnTo>
                <a:lnTo>
                  <a:pt x="389" y="593"/>
                </a:lnTo>
                <a:lnTo>
                  <a:pt x="396" y="597"/>
                </a:lnTo>
                <a:lnTo>
                  <a:pt x="403" y="600"/>
                </a:lnTo>
                <a:lnTo>
                  <a:pt x="410" y="603"/>
                </a:lnTo>
                <a:lnTo>
                  <a:pt x="417" y="605"/>
                </a:lnTo>
                <a:lnTo>
                  <a:pt x="425" y="607"/>
                </a:lnTo>
                <a:lnTo>
                  <a:pt x="433" y="608"/>
                </a:lnTo>
                <a:lnTo>
                  <a:pt x="441" y="610"/>
                </a:lnTo>
                <a:lnTo>
                  <a:pt x="450" y="610"/>
                </a:lnTo>
                <a:lnTo>
                  <a:pt x="459" y="611"/>
                </a:lnTo>
                <a:lnTo>
                  <a:pt x="471" y="610"/>
                </a:lnTo>
                <a:lnTo>
                  <a:pt x="484" y="608"/>
                </a:lnTo>
                <a:lnTo>
                  <a:pt x="497" y="605"/>
                </a:lnTo>
                <a:lnTo>
                  <a:pt x="509" y="601"/>
                </a:lnTo>
                <a:lnTo>
                  <a:pt x="515" y="599"/>
                </a:lnTo>
                <a:lnTo>
                  <a:pt x="520" y="596"/>
                </a:lnTo>
                <a:lnTo>
                  <a:pt x="532" y="589"/>
                </a:lnTo>
                <a:lnTo>
                  <a:pt x="537" y="586"/>
                </a:lnTo>
                <a:lnTo>
                  <a:pt x="542" y="582"/>
                </a:lnTo>
                <a:lnTo>
                  <a:pt x="547" y="577"/>
                </a:lnTo>
                <a:lnTo>
                  <a:pt x="552" y="573"/>
                </a:lnTo>
                <a:lnTo>
                  <a:pt x="557" y="568"/>
                </a:lnTo>
                <a:lnTo>
                  <a:pt x="561" y="562"/>
                </a:lnTo>
                <a:lnTo>
                  <a:pt x="565" y="557"/>
                </a:lnTo>
                <a:lnTo>
                  <a:pt x="569" y="551"/>
                </a:lnTo>
                <a:lnTo>
                  <a:pt x="577" y="538"/>
                </a:lnTo>
                <a:lnTo>
                  <a:pt x="580" y="531"/>
                </a:lnTo>
                <a:lnTo>
                  <a:pt x="583" y="524"/>
                </a:lnTo>
                <a:lnTo>
                  <a:pt x="587" y="509"/>
                </a:lnTo>
                <a:lnTo>
                  <a:pt x="589" y="500"/>
                </a:lnTo>
                <a:lnTo>
                  <a:pt x="591" y="492"/>
                </a:lnTo>
                <a:lnTo>
                  <a:pt x="592" y="483"/>
                </a:lnTo>
                <a:lnTo>
                  <a:pt x="593" y="474"/>
                </a:lnTo>
                <a:lnTo>
                  <a:pt x="594" y="464"/>
                </a:lnTo>
                <a:lnTo>
                  <a:pt x="594" y="455"/>
                </a:lnTo>
                <a:lnTo>
                  <a:pt x="594" y="445"/>
                </a:lnTo>
                <a:lnTo>
                  <a:pt x="593" y="435"/>
                </a:lnTo>
                <a:lnTo>
                  <a:pt x="592" y="426"/>
                </a:lnTo>
                <a:lnTo>
                  <a:pt x="591" y="417"/>
                </a:lnTo>
                <a:lnTo>
                  <a:pt x="587" y="400"/>
                </a:lnTo>
                <a:lnTo>
                  <a:pt x="585" y="392"/>
                </a:lnTo>
                <a:lnTo>
                  <a:pt x="583" y="385"/>
                </a:lnTo>
                <a:lnTo>
                  <a:pt x="580" y="377"/>
                </a:lnTo>
                <a:lnTo>
                  <a:pt x="577" y="370"/>
                </a:lnTo>
                <a:lnTo>
                  <a:pt x="573" y="364"/>
                </a:lnTo>
                <a:lnTo>
                  <a:pt x="569" y="357"/>
                </a:lnTo>
                <a:lnTo>
                  <a:pt x="565" y="352"/>
                </a:lnTo>
                <a:lnTo>
                  <a:pt x="561" y="346"/>
                </a:lnTo>
                <a:lnTo>
                  <a:pt x="552" y="336"/>
                </a:lnTo>
                <a:lnTo>
                  <a:pt x="542" y="327"/>
                </a:lnTo>
                <a:lnTo>
                  <a:pt x="532" y="319"/>
                </a:lnTo>
                <a:lnTo>
                  <a:pt x="526" y="315"/>
                </a:lnTo>
                <a:lnTo>
                  <a:pt x="520" y="312"/>
                </a:lnTo>
                <a:lnTo>
                  <a:pt x="515" y="309"/>
                </a:lnTo>
                <a:lnTo>
                  <a:pt x="509" y="307"/>
                </a:lnTo>
                <a:lnTo>
                  <a:pt x="503" y="305"/>
                </a:lnTo>
                <a:lnTo>
                  <a:pt x="497" y="303"/>
                </a:lnTo>
                <a:lnTo>
                  <a:pt x="490" y="301"/>
                </a:lnTo>
                <a:lnTo>
                  <a:pt x="484" y="300"/>
                </a:lnTo>
                <a:lnTo>
                  <a:pt x="471" y="298"/>
                </a:lnTo>
                <a:lnTo>
                  <a:pt x="465" y="298"/>
                </a:lnTo>
                <a:lnTo>
                  <a:pt x="459" y="298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4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4"/>
                </a:lnTo>
                <a:lnTo>
                  <a:pt x="0" y="908"/>
                </a:lnTo>
                <a:close/>
                <a:moveTo>
                  <a:pt x="681" y="676"/>
                </a:moveTo>
                <a:lnTo>
                  <a:pt x="591" y="676"/>
                </a:lnTo>
                <a:lnTo>
                  <a:pt x="591" y="624"/>
                </a:lnTo>
                <a:lnTo>
                  <a:pt x="588" y="627"/>
                </a:lnTo>
                <a:lnTo>
                  <a:pt x="585" y="631"/>
                </a:lnTo>
                <a:lnTo>
                  <a:pt x="579" y="637"/>
                </a:lnTo>
                <a:lnTo>
                  <a:pt x="572" y="644"/>
                </a:lnTo>
                <a:lnTo>
                  <a:pt x="565" y="649"/>
                </a:lnTo>
                <a:lnTo>
                  <a:pt x="549" y="660"/>
                </a:lnTo>
                <a:lnTo>
                  <a:pt x="541" y="665"/>
                </a:lnTo>
                <a:lnTo>
                  <a:pt x="532" y="669"/>
                </a:lnTo>
                <a:lnTo>
                  <a:pt x="523" y="673"/>
                </a:lnTo>
                <a:lnTo>
                  <a:pt x="514" y="676"/>
                </a:lnTo>
                <a:lnTo>
                  <a:pt x="504" y="679"/>
                </a:lnTo>
                <a:lnTo>
                  <a:pt x="494" y="682"/>
                </a:lnTo>
                <a:lnTo>
                  <a:pt x="484" y="684"/>
                </a:lnTo>
                <a:lnTo>
                  <a:pt x="473" y="685"/>
                </a:lnTo>
                <a:lnTo>
                  <a:pt x="462" y="686"/>
                </a:lnTo>
                <a:lnTo>
                  <a:pt x="451" y="686"/>
                </a:lnTo>
                <a:lnTo>
                  <a:pt x="439" y="686"/>
                </a:lnTo>
                <a:lnTo>
                  <a:pt x="427" y="685"/>
                </a:lnTo>
                <a:lnTo>
                  <a:pt x="415" y="684"/>
                </a:lnTo>
                <a:lnTo>
                  <a:pt x="404" y="682"/>
                </a:lnTo>
                <a:lnTo>
                  <a:pt x="393" y="679"/>
                </a:lnTo>
                <a:lnTo>
                  <a:pt x="382" y="676"/>
                </a:lnTo>
                <a:lnTo>
                  <a:pt x="372" y="672"/>
                </a:lnTo>
                <a:lnTo>
                  <a:pt x="361" y="668"/>
                </a:lnTo>
                <a:lnTo>
                  <a:pt x="351" y="663"/>
                </a:lnTo>
                <a:lnTo>
                  <a:pt x="342" y="658"/>
                </a:lnTo>
                <a:lnTo>
                  <a:pt x="332" y="653"/>
                </a:lnTo>
                <a:lnTo>
                  <a:pt x="323" y="647"/>
                </a:lnTo>
                <a:lnTo>
                  <a:pt x="315" y="640"/>
                </a:lnTo>
                <a:lnTo>
                  <a:pt x="306" y="633"/>
                </a:lnTo>
                <a:lnTo>
                  <a:pt x="298" y="626"/>
                </a:lnTo>
                <a:lnTo>
                  <a:pt x="291" y="618"/>
                </a:lnTo>
                <a:lnTo>
                  <a:pt x="283" y="610"/>
                </a:lnTo>
                <a:lnTo>
                  <a:pt x="276" y="602"/>
                </a:lnTo>
                <a:lnTo>
                  <a:pt x="270" y="593"/>
                </a:lnTo>
                <a:lnTo>
                  <a:pt x="264" y="584"/>
                </a:lnTo>
                <a:lnTo>
                  <a:pt x="258" y="575"/>
                </a:lnTo>
                <a:lnTo>
                  <a:pt x="253" y="565"/>
                </a:lnTo>
                <a:lnTo>
                  <a:pt x="248" y="555"/>
                </a:lnTo>
                <a:lnTo>
                  <a:pt x="244" y="545"/>
                </a:lnTo>
                <a:lnTo>
                  <a:pt x="240" y="534"/>
                </a:lnTo>
                <a:lnTo>
                  <a:pt x="236" y="523"/>
                </a:lnTo>
                <a:lnTo>
                  <a:pt x="234" y="512"/>
                </a:lnTo>
                <a:lnTo>
                  <a:pt x="231" y="501"/>
                </a:lnTo>
                <a:lnTo>
                  <a:pt x="229" y="489"/>
                </a:lnTo>
                <a:lnTo>
                  <a:pt x="228" y="478"/>
                </a:lnTo>
                <a:lnTo>
                  <a:pt x="227" y="466"/>
                </a:lnTo>
                <a:lnTo>
                  <a:pt x="227" y="454"/>
                </a:lnTo>
                <a:lnTo>
                  <a:pt x="227" y="442"/>
                </a:lnTo>
                <a:lnTo>
                  <a:pt x="228" y="430"/>
                </a:lnTo>
                <a:lnTo>
                  <a:pt x="229" y="418"/>
                </a:lnTo>
                <a:lnTo>
                  <a:pt x="231" y="407"/>
                </a:lnTo>
                <a:lnTo>
                  <a:pt x="234" y="396"/>
                </a:lnTo>
                <a:lnTo>
                  <a:pt x="235" y="390"/>
                </a:lnTo>
                <a:lnTo>
                  <a:pt x="236" y="385"/>
                </a:lnTo>
                <a:lnTo>
                  <a:pt x="240" y="374"/>
                </a:lnTo>
                <a:lnTo>
                  <a:pt x="244" y="363"/>
                </a:lnTo>
                <a:lnTo>
                  <a:pt x="248" y="353"/>
                </a:lnTo>
                <a:lnTo>
                  <a:pt x="253" y="343"/>
                </a:lnTo>
                <a:lnTo>
                  <a:pt x="258" y="333"/>
                </a:lnTo>
                <a:lnTo>
                  <a:pt x="264" y="324"/>
                </a:lnTo>
                <a:lnTo>
                  <a:pt x="270" y="315"/>
                </a:lnTo>
                <a:lnTo>
                  <a:pt x="276" y="306"/>
                </a:lnTo>
                <a:lnTo>
                  <a:pt x="283" y="298"/>
                </a:lnTo>
                <a:lnTo>
                  <a:pt x="291" y="290"/>
                </a:lnTo>
                <a:lnTo>
                  <a:pt x="298" y="282"/>
                </a:lnTo>
                <a:lnTo>
                  <a:pt x="306" y="275"/>
                </a:lnTo>
                <a:lnTo>
                  <a:pt x="310" y="271"/>
                </a:lnTo>
                <a:lnTo>
                  <a:pt x="315" y="268"/>
                </a:lnTo>
                <a:lnTo>
                  <a:pt x="323" y="261"/>
                </a:lnTo>
                <a:lnTo>
                  <a:pt x="332" y="255"/>
                </a:lnTo>
                <a:lnTo>
                  <a:pt x="342" y="250"/>
                </a:lnTo>
                <a:lnTo>
                  <a:pt x="351" y="245"/>
                </a:lnTo>
                <a:lnTo>
                  <a:pt x="361" y="240"/>
                </a:lnTo>
                <a:lnTo>
                  <a:pt x="372" y="236"/>
                </a:lnTo>
                <a:lnTo>
                  <a:pt x="382" y="232"/>
                </a:lnTo>
                <a:lnTo>
                  <a:pt x="393" y="229"/>
                </a:lnTo>
                <a:lnTo>
                  <a:pt x="404" y="227"/>
                </a:lnTo>
                <a:lnTo>
                  <a:pt x="415" y="225"/>
                </a:lnTo>
                <a:lnTo>
                  <a:pt x="427" y="223"/>
                </a:lnTo>
                <a:lnTo>
                  <a:pt x="439" y="222"/>
                </a:lnTo>
                <a:lnTo>
                  <a:pt x="451" y="222"/>
                </a:lnTo>
                <a:lnTo>
                  <a:pt x="462" y="222"/>
                </a:lnTo>
                <a:lnTo>
                  <a:pt x="473" y="223"/>
                </a:lnTo>
                <a:lnTo>
                  <a:pt x="484" y="224"/>
                </a:lnTo>
                <a:lnTo>
                  <a:pt x="494" y="226"/>
                </a:lnTo>
                <a:lnTo>
                  <a:pt x="504" y="229"/>
                </a:lnTo>
                <a:lnTo>
                  <a:pt x="513" y="231"/>
                </a:lnTo>
                <a:lnTo>
                  <a:pt x="523" y="235"/>
                </a:lnTo>
                <a:lnTo>
                  <a:pt x="532" y="239"/>
                </a:lnTo>
                <a:lnTo>
                  <a:pt x="540" y="243"/>
                </a:lnTo>
                <a:lnTo>
                  <a:pt x="549" y="247"/>
                </a:lnTo>
                <a:lnTo>
                  <a:pt x="557" y="253"/>
                </a:lnTo>
                <a:lnTo>
                  <a:pt x="560" y="255"/>
                </a:lnTo>
                <a:lnTo>
                  <a:pt x="564" y="258"/>
                </a:lnTo>
                <a:lnTo>
                  <a:pt x="571" y="264"/>
                </a:lnTo>
                <a:lnTo>
                  <a:pt x="578" y="270"/>
                </a:lnTo>
                <a:lnTo>
                  <a:pt x="585" y="277"/>
                </a:lnTo>
                <a:lnTo>
                  <a:pt x="591" y="283"/>
                </a:lnTo>
                <a:lnTo>
                  <a:pt x="591" y="231"/>
                </a:lnTo>
                <a:lnTo>
                  <a:pt x="681" y="231"/>
                </a:lnTo>
                <a:lnTo>
                  <a:pt x="681" y="6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30" name="Freeform 19"/>
          <p:cNvSpPr>
            <a:spLocks noChangeAspect="1" noEditPoints="1"/>
          </p:cNvSpPr>
          <p:nvPr userDrawn="1"/>
        </p:nvSpPr>
        <p:spPr bwMode="auto">
          <a:xfrm>
            <a:off x="-1237" y="-1182"/>
            <a:ext cx="1306667" cy="1286466"/>
          </a:xfrm>
          <a:custGeom>
            <a:avLst/>
            <a:gdLst>
              <a:gd name="T0" fmla="*/ 424 w 908"/>
              <a:gd name="T1" fmla="*/ 683 h 908"/>
              <a:gd name="T2" fmla="*/ 365 w 908"/>
              <a:gd name="T3" fmla="*/ 671 h 908"/>
              <a:gd name="T4" fmla="*/ 304 w 908"/>
              <a:gd name="T5" fmla="*/ 647 h 908"/>
              <a:gd name="T6" fmla="*/ 247 w 908"/>
              <a:gd name="T7" fmla="*/ 610 h 908"/>
              <a:gd name="T8" fmla="*/ 286 w 908"/>
              <a:gd name="T9" fmla="*/ 536 h 908"/>
              <a:gd name="T10" fmla="*/ 321 w 908"/>
              <a:gd name="T11" fmla="*/ 562 h 908"/>
              <a:gd name="T12" fmla="*/ 365 w 908"/>
              <a:gd name="T13" fmla="*/ 585 h 908"/>
              <a:gd name="T14" fmla="*/ 405 w 908"/>
              <a:gd name="T15" fmla="*/ 598 h 908"/>
              <a:gd name="T16" fmla="*/ 441 w 908"/>
              <a:gd name="T17" fmla="*/ 604 h 908"/>
              <a:gd name="T18" fmla="*/ 508 w 908"/>
              <a:gd name="T19" fmla="*/ 602 h 908"/>
              <a:gd name="T20" fmla="*/ 551 w 908"/>
              <a:gd name="T21" fmla="*/ 589 h 908"/>
              <a:gd name="T22" fmla="*/ 571 w 908"/>
              <a:gd name="T23" fmla="*/ 575 h 908"/>
              <a:gd name="T24" fmla="*/ 582 w 908"/>
              <a:gd name="T25" fmla="*/ 556 h 908"/>
              <a:gd name="T26" fmla="*/ 583 w 908"/>
              <a:gd name="T27" fmla="*/ 539 h 908"/>
              <a:gd name="T28" fmla="*/ 575 w 908"/>
              <a:gd name="T29" fmla="*/ 524 h 908"/>
              <a:gd name="T30" fmla="*/ 559 w 908"/>
              <a:gd name="T31" fmla="*/ 512 h 908"/>
              <a:gd name="T32" fmla="*/ 521 w 908"/>
              <a:gd name="T33" fmla="*/ 501 h 908"/>
              <a:gd name="T34" fmla="*/ 394 w 908"/>
              <a:gd name="T35" fmla="*/ 483 h 908"/>
              <a:gd name="T36" fmla="*/ 324 w 908"/>
              <a:gd name="T37" fmla="*/ 465 h 908"/>
              <a:gd name="T38" fmla="*/ 280 w 908"/>
              <a:gd name="T39" fmla="*/ 442 h 908"/>
              <a:gd name="T40" fmla="*/ 257 w 908"/>
              <a:gd name="T41" fmla="*/ 420 h 908"/>
              <a:gd name="T42" fmla="*/ 243 w 908"/>
              <a:gd name="T43" fmla="*/ 392 h 908"/>
              <a:gd name="T44" fmla="*/ 237 w 908"/>
              <a:gd name="T45" fmla="*/ 356 h 908"/>
              <a:gd name="T46" fmla="*/ 242 w 908"/>
              <a:gd name="T47" fmla="*/ 328 h 908"/>
              <a:gd name="T48" fmla="*/ 254 w 908"/>
              <a:gd name="T49" fmla="*/ 302 h 908"/>
              <a:gd name="T50" fmla="*/ 274 w 908"/>
              <a:gd name="T51" fmla="*/ 279 h 908"/>
              <a:gd name="T52" fmla="*/ 299 w 908"/>
              <a:gd name="T53" fmla="*/ 260 h 908"/>
              <a:gd name="T54" fmla="*/ 347 w 908"/>
              <a:gd name="T55" fmla="*/ 237 h 908"/>
              <a:gd name="T56" fmla="*/ 422 w 908"/>
              <a:gd name="T57" fmla="*/ 222 h 908"/>
              <a:gd name="T58" fmla="*/ 489 w 908"/>
              <a:gd name="T59" fmla="*/ 224 h 908"/>
              <a:gd name="T60" fmla="*/ 545 w 908"/>
              <a:gd name="T61" fmla="*/ 235 h 908"/>
              <a:gd name="T62" fmla="*/ 596 w 908"/>
              <a:gd name="T63" fmla="*/ 255 h 908"/>
              <a:gd name="T64" fmla="*/ 641 w 908"/>
              <a:gd name="T65" fmla="*/ 283 h 908"/>
              <a:gd name="T66" fmla="*/ 591 w 908"/>
              <a:gd name="T67" fmla="*/ 351 h 908"/>
              <a:gd name="T68" fmla="*/ 550 w 908"/>
              <a:gd name="T69" fmla="*/ 325 h 908"/>
              <a:gd name="T70" fmla="*/ 503 w 908"/>
              <a:gd name="T71" fmla="*/ 308 h 908"/>
              <a:gd name="T72" fmla="*/ 462 w 908"/>
              <a:gd name="T73" fmla="*/ 302 h 908"/>
              <a:gd name="T74" fmla="*/ 416 w 908"/>
              <a:gd name="T75" fmla="*/ 303 h 908"/>
              <a:gd name="T76" fmla="*/ 372 w 908"/>
              <a:gd name="T77" fmla="*/ 313 h 908"/>
              <a:gd name="T78" fmla="*/ 343 w 908"/>
              <a:gd name="T79" fmla="*/ 329 h 908"/>
              <a:gd name="T80" fmla="*/ 328 w 908"/>
              <a:gd name="T81" fmla="*/ 347 h 908"/>
              <a:gd name="T82" fmla="*/ 328 w 908"/>
              <a:gd name="T83" fmla="*/ 366 h 908"/>
              <a:gd name="T84" fmla="*/ 338 w 908"/>
              <a:gd name="T85" fmla="*/ 380 h 908"/>
              <a:gd name="T86" fmla="*/ 369 w 908"/>
              <a:gd name="T87" fmla="*/ 395 h 908"/>
              <a:gd name="T88" fmla="*/ 443 w 908"/>
              <a:gd name="T89" fmla="*/ 407 h 908"/>
              <a:gd name="T90" fmla="*/ 550 w 908"/>
              <a:gd name="T91" fmla="*/ 424 h 908"/>
              <a:gd name="T92" fmla="*/ 607 w 908"/>
              <a:gd name="T93" fmla="*/ 442 h 908"/>
              <a:gd name="T94" fmla="*/ 639 w 908"/>
              <a:gd name="T95" fmla="*/ 462 h 908"/>
              <a:gd name="T96" fmla="*/ 658 w 908"/>
              <a:gd name="T97" fmla="*/ 483 h 908"/>
              <a:gd name="T98" fmla="*/ 670 w 908"/>
              <a:gd name="T99" fmla="*/ 511 h 908"/>
              <a:gd name="T100" fmla="*/ 674 w 908"/>
              <a:gd name="T101" fmla="*/ 545 h 908"/>
              <a:gd name="T102" fmla="*/ 670 w 908"/>
              <a:gd name="T103" fmla="*/ 573 h 908"/>
              <a:gd name="T104" fmla="*/ 659 w 908"/>
              <a:gd name="T105" fmla="*/ 600 h 908"/>
              <a:gd name="T106" fmla="*/ 641 w 908"/>
              <a:gd name="T107" fmla="*/ 624 h 908"/>
              <a:gd name="T108" fmla="*/ 616 w 908"/>
              <a:gd name="T109" fmla="*/ 644 h 908"/>
              <a:gd name="T110" fmla="*/ 569 w 908"/>
              <a:gd name="T111" fmla="*/ 668 h 908"/>
              <a:gd name="T112" fmla="*/ 510 w 908"/>
              <a:gd name="T113" fmla="*/ 683 h 908"/>
              <a:gd name="T114" fmla="*/ 0 w 908"/>
              <a:gd name="T115" fmla="*/ 908 h 908"/>
              <a:gd name="T116" fmla="*/ 908 w 908"/>
              <a:gd name="T117" fmla="*/ 0 h 908"/>
              <a:gd name="T118" fmla="*/ 0 w 908"/>
              <a:gd name="T119" fmla="*/ 908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466" y="685"/>
                </a:moveTo>
                <a:lnTo>
                  <a:pt x="452" y="685"/>
                </a:lnTo>
                <a:lnTo>
                  <a:pt x="438" y="684"/>
                </a:lnTo>
                <a:lnTo>
                  <a:pt x="424" y="683"/>
                </a:lnTo>
                <a:lnTo>
                  <a:pt x="410" y="681"/>
                </a:lnTo>
                <a:lnTo>
                  <a:pt x="395" y="678"/>
                </a:lnTo>
                <a:lnTo>
                  <a:pt x="380" y="675"/>
                </a:lnTo>
                <a:lnTo>
                  <a:pt x="365" y="671"/>
                </a:lnTo>
                <a:lnTo>
                  <a:pt x="350" y="666"/>
                </a:lnTo>
                <a:lnTo>
                  <a:pt x="335" y="661"/>
                </a:lnTo>
                <a:lnTo>
                  <a:pt x="319" y="654"/>
                </a:lnTo>
                <a:lnTo>
                  <a:pt x="304" y="647"/>
                </a:lnTo>
                <a:lnTo>
                  <a:pt x="290" y="639"/>
                </a:lnTo>
                <a:lnTo>
                  <a:pt x="275" y="631"/>
                </a:lnTo>
                <a:lnTo>
                  <a:pt x="261" y="621"/>
                </a:lnTo>
                <a:lnTo>
                  <a:pt x="247" y="610"/>
                </a:lnTo>
                <a:lnTo>
                  <a:pt x="240" y="605"/>
                </a:lnTo>
                <a:lnTo>
                  <a:pt x="233" y="599"/>
                </a:lnTo>
                <a:lnTo>
                  <a:pt x="283" y="533"/>
                </a:lnTo>
                <a:lnTo>
                  <a:pt x="286" y="536"/>
                </a:lnTo>
                <a:lnTo>
                  <a:pt x="296" y="544"/>
                </a:lnTo>
                <a:lnTo>
                  <a:pt x="303" y="550"/>
                </a:lnTo>
                <a:lnTo>
                  <a:pt x="311" y="556"/>
                </a:lnTo>
                <a:lnTo>
                  <a:pt x="321" y="562"/>
                </a:lnTo>
                <a:lnTo>
                  <a:pt x="332" y="569"/>
                </a:lnTo>
                <a:lnTo>
                  <a:pt x="345" y="576"/>
                </a:lnTo>
                <a:lnTo>
                  <a:pt x="358" y="582"/>
                </a:lnTo>
                <a:lnTo>
                  <a:pt x="365" y="585"/>
                </a:lnTo>
                <a:lnTo>
                  <a:pt x="373" y="588"/>
                </a:lnTo>
                <a:lnTo>
                  <a:pt x="388" y="594"/>
                </a:lnTo>
                <a:lnTo>
                  <a:pt x="396" y="596"/>
                </a:lnTo>
                <a:lnTo>
                  <a:pt x="405" y="598"/>
                </a:lnTo>
                <a:lnTo>
                  <a:pt x="414" y="600"/>
                </a:lnTo>
                <a:lnTo>
                  <a:pt x="423" y="602"/>
                </a:lnTo>
                <a:lnTo>
                  <a:pt x="432" y="603"/>
                </a:lnTo>
                <a:lnTo>
                  <a:pt x="441" y="604"/>
                </a:lnTo>
                <a:lnTo>
                  <a:pt x="460" y="605"/>
                </a:lnTo>
                <a:lnTo>
                  <a:pt x="478" y="605"/>
                </a:lnTo>
                <a:lnTo>
                  <a:pt x="494" y="604"/>
                </a:lnTo>
                <a:lnTo>
                  <a:pt x="508" y="602"/>
                </a:lnTo>
                <a:lnTo>
                  <a:pt x="521" y="599"/>
                </a:lnTo>
                <a:lnTo>
                  <a:pt x="533" y="596"/>
                </a:lnTo>
                <a:lnTo>
                  <a:pt x="543" y="593"/>
                </a:lnTo>
                <a:lnTo>
                  <a:pt x="551" y="589"/>
                </a:lnTo>
                <a:lnTo>
                  <a:pt x="559" y="585"/>
                </a:lnTo>
                <a:lnTo>
                  <a:pt x="565" y="580"/>
                </a:lnTo>
                <a:lnTo>
                  <a:pt x="568" y="578"/>
                </a:lnTo>
                <a:lnTo>
                  <a:pt x="571" y="575"/>
                </a:lnTo>
                <a:lnTo>
                  <a:pt x="575" y="571"/>
                </a:lnTo>
                <a:lnTo>
                  <a:pt x="578" y="566"/>
                </a:lnTo>
                <a:lnTo>
                  <a:pt x="580" y="561"/>
                </a:lnTo>
                <a:lnTo>
                  <a:pt x="582" y="556"/>
                </a:lnTo>
                <a:lnTo>
                  <a:pt x="583" y="552"/>
                </a:lnTo>
                <a:lnTo>
                  <a:pt x="583" y="547"/>
                </a:lnTo>
                <a:lnTo>
                  <a:pt x="583" y="543"/>
                </a:lnTo>
                <a:lnTo>
                  <a:pt x="583" y="539"/>
                </a:lnTo>
                <a:lnTo>
                  <a:pt x="582" y="536"/>
                </a:lnTo>
                <a:lnTo>
                  <a:pt x="580" y="533"/>
                </a:lnTo>
                <a:lnTo>
                  <a:pt x="577" y="526"/>
                </a:lnTo>
                <a:lnTo>
                  <a:pt x="575" y="524"/>
                </a:lnTo>
                <a:lnTo>
                  <a:pt x="572" y="521"/>
                </a:lnTo>
                <a:lnTo>
                  <a:pt x="569" y="519"/>
                </a:lnTo>
                <a:lnTo>
                  <a:pt x="566" y="516"/>
                </a:lnTo>
                <a:lnTo>
                  <a:pt x="559" y="512"/>
                </a:lnTo>
                <a:lnTo>
                  <a:pt x="551" y="509"/>
                </a:lnTo>
                <a:lnTo>
                  <a:pt x="542" y="506"/>
                </a:lnTo>
                <a:lnTo>
                  <a:pt x="532" y="503"/>
                </a:lnTo>
                <a:lnTo>
                  <a:pt x="521" y="501"/>
                </a:lnTo>
                <a:lnTo>
                  <a:pt x="498" y="497"/>
                </a:lnTo>
                <a:lnTo>
                  <a:pt x="447" y="490"/>
                </a:lnTo>
                <a:lnTo>
                  <a:pt x="412" y="485"/>
                </a:lnTo>
                <a:lnTo>
                  <a:pt x="394" y="483"/>
                </a:lnTo>
                <a:lnTo>
                  <a:pt x="376" y="479"/>
                </a:lnTo>
                <a:lnTo>
                  <a:pt x="358" y="475"/>
                </a:lnTo>
                <a:lnTo>
                  <a:pt x="341" y="471"/>
                </a:lnTo>
                <a:lnTo>
                  <a:pt x="324" y="465"/>
                </a:lnTo>
                <a:lnTo>
                  <a:pt x="308" y="459"/>
                </a:lnTo>
                <a:lnTo>
                  <a:pt x="301" y="455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8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1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2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2"/>
                </a:lnTo>
                <a:lnTo>
                  <a:pt x="327" y="356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4"/>
                </a:lnTo>
                <a:lnTo>
                  <a:pt x="443" y="407"/>
                </a:lnTo>
                <a:lnTo>
                  <a:pt x="473" y="411"/>
                </a:lnTo>
                <a:lnTo>
                  <a:pt x="513" y="417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2"/>
                </a:lnTo>
                <a:lnTo>
                  <a:pt x="645" y="467"/>
                </a:lnTo>
                <a:lnTo>
                  <a:pt x="649" y="472"/>
                </a:lnTo>
                <a:lnTo>
                  <a:pt x="654" y="478"/>
                </a:lnTo>
                <a:lnTo>
                  <a:pt x="658" y="483"/>
                </a:lnTo>
                <a:lnTo>
                  <a:pt x="662" y="490"/>
                </a:lnTo>
                <a:lnTo>
                  <a:pt x="665" y="496"/>
                </a:lnTo>
                <a:lnTo>
                  <a:pt x="668" y="503"/>
                </a:lnTo>
                <a:lnTo>
                  <a:pt x="670" y="511"/>
                </a:lnTo>
                <a:lnTo>
                  <a:pt x="672" y="518"/>
                </a:lnTo>
                <a:lnTo>
                  <a:pt x="673" y="527"/>
                </a:lnTo>
                <a:lnTo>
                  <a:pt x="674" y="535"/>
                </a:lnTo>
                <a:lnTo>
                  <a:pt x="674" y="545"/>
                </a:lnTo>
                <a:lnTo>
                  <a:pt x="674" y="552"/>
                </a:lnTo>
                <a:lnTo>
                  <a:pt x="673" y="559"/>
                </a:lnTo>
                <a:lnTo>
                  <a:pt x="672" y="566"/>
                </a:lnTo>
                <a:lnTo>
                  <a:pt x="670" y="573"/>
                </a:lnTo>
                <a:lnTo>
                  <a:pt x="668" y="580"/>
                </a:lnTo>
                <a:lnTo>
                  <a:pt x="666" y="587"/>
                </a:lnTo>
                <a:lnTo>
                  <a:pt x="663" y="593"/>
                </a:lnTo>
                <a:lnTo>
                  <a:pt x="659" y="600"/>
                </a:lnTo>
                <a:lnTo>
                  <a:pt x="655" y="606"/>
                </a:lnTo>
                <a:lnTo>
                  <a:pt x="651" y="612"/>
                </a:lnTo>
                <a:lnTo>
                  <a:pt x="646" y="618"/>
                </a:lnTo>
                <a:lnTo>
                  <a:pt x="641" y="624"/>
                </a:lnTo>
                <a:lnTo>
                  <a:pt x="635" y="629"/>
                </a:lnTo>
                <a:lnTo>
                  <a:pt x="629" y="634"/>
                </a:lnTo>
                <a:lnTo>
                  <a:pt x="623" y="639"/>
                </a:lnTo>
                <a:lnTo>
                  <a:pt x="616" y="644"/>
                </a:lnTo>
                <a:lnTo>
                  <a:pt x="609" y="649"/>
                </a:lnTo>
                <a:lnTo>
                  <a:pt x="602" y="653"/>
                </a:lnTo>
                <a:lnTo>
                  <a:pt x="586" y="661"/>
                </a:lnTo>
                <a:lnTo>
                  <a:pt x="569" y="668"/>
                </a:lnTo>
                <a:lnTo>
                  <a:pt x="560" y="672"/>
                </a:lnTo>
                <a:lnTo>
                  <a:pt x="550" y="674"/>
                </a:lnTo>
                <a:lnTo>
                  <a:pt x="531" y="679"/>
                </a:lnTo>
                <a:lnTo>
                  <a:pt x="510" y="683"/>
                </a:lnTo>
                <a:lnTo>
                  <a:pt x="499" y="684"/>
                </a:lnTo>
                <a:lnTo>
                  <a:pt x="488" y="685"/>
                </a:lnTo>
                <a:lnTo>
                  <a:pt x="466" y="685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31" name="Freeform 20"/>
          <p:cNvSpPr>
            <a:spLocks noChangeAspect="1" noEditPoints="1"/>
          </p:cNvSpPr>
          <p:nvPr userDrawn="1"/>
        </p:nvSpPr>
        <p:spPr bwMode="auto">
          <a:xfrm>
            <a:off x="3917733" y="-595"/>
            <a:ext cx="1306382" cy="1285880"/>
          </a:xfrm>
          <a:custGeom>
            <a:avLst/>
            <a:gdLst>
              <a:gd name="T0" fmla="*/ 908 w 908"/>
              <a:gd name="T1" fmla="*/ 453 h 908"/>
              <a:gd name="T2" fmla="*/ 0 w 908"/>
              <a:gd name="T3" fmla="*/ 453 h 908"/>
              <a:gd name="T4" fmla="*/ 431 w 908"/>
              <a:gd name="T5" fmla="*/ 684 h 908"/>
              <a:gd name="T6" fmla="*/ 386 w 908"/>
              <a:gd name="T7" fmla="*/ 675 h 908"/>
              <a:gd name="T8" fmla="*/ 344 w 908"/>
              <a:gd name="T9" fmla="*/ 657 h 908"/>
              <a:gd name="T10" fmla="*/ 307 w 908"/>
              <a:gd name="T11" fmla="*/ 632 h 908"/>
              <a:gd name="T12" fmla="*/ 276 w 908"/>
              <a:gd name="T13" fmla="*/ 601 h 908"/>
              <a:gd name="T14" fmla="*/ 251 w 908"/>
              <a:gd name="T15" fmla="*/ 564 h 908"/>
              <a:gd name="T16" fmla="*/ 233 w 908"/>
              <a:gd name="T17" fmla="*/ 523 h 908"/>
              <a:gd name="T18" fmla="*/ 223 w 908"/>
              <a:gd name="T19" fmla="*/ 477 h 908"/>
              <a:gd name="T20" fmla="*/ 223 w 908"/>
              <a:gd name="T21" fmla="*/ 429 h 908"/>
              <a:gd name="T22" fmla="*/ 233 w 908"/>
              <a:gd name="T23" fmla="*/ 383 h 908"/>
              <a:gd name="T24" fmla="*/ 251 w 908"/>
              <a:gd name="T25" fmla="*/ 342 h 908"/>
              <a:gd name="T26" fmla="*/ 276 w 908"/>
              <a:gd name="T27" fmla="*/ 305 h 908"/>
              <a:gd name="T28" fmla="*/ 307 w 908"/>
              <a:gd name="T29" fmla="*/ 274 h 908"/>
              <a:gd name="T30" fmla="*/ 344 w 908"/>
              <a:gd name="T31" fmla="*/ 249 h 908"/>
              <a:gd name="T32" fmla="*/ 386 w 908"/>
              <a:gd name="T33" fmla="*/ 231 h 908"/>
              <a:gd name="T34" fmla="*/ 431 w 908"/>
              <a:gd name="T35" fmla="*/ 222 h 908"/>
              <a:gd name="T36" fmla="*/ 479 w 908"/>
              <a:gd name="T37" fmla="*/ 222 h 908"/>
              <a:gd name="T38" fmla="*/ 524 w 908"/>
              <a:gd name="T39" fmla="*/ 231 h 908"/>
              <a:gd name="T40" fmla="*/ 565 w 908"/>
              <a:gd name="T41" fmla="*/ 249 h 908"/>
              <a:gd name="T42" fmla="*/ 602 w 908"/>
              <a:gd name="T43" fmla="*/ 274 h 908"/>
              <a:gd name="T44" fmla="*/ 634 w 908"/>
              <a:gd name="T45" fmla="*/ 305 h 908"/>
              <a:gd name="T46" fmla="*/ 659 w 908"/>
              <a:gd name="T47" fmla="*/ 342 h 908"/>
              <a:gd name="T48" fmla="*/ 676 w 908"/>
              <a:gd name="T49" fmla="*/ 383 h 908"/>
              <a:gd name="T50" fmla="*/ 685 w 908"/>
              <a:gd name="T51" fmla="*/ 429 h 908"/>
              <a:gd name="T52" fmla="*/ 685 w 908"/>
              <a:gd name="T53" fmla="*/ 477 h 908"/>
              <a:gd name="T54" fmla="*/ 676 w 908"/>
              <a:gd name="T55" fmla="*/ 523 h 908"/>
              <a:gd name="T56" fmla="*/ 659 w 908"/>
              <a:gd name="T57" fmla="*/ 564 h 908"/>
              <a:gd name="T58" fmla="*/ 634 w 908"/>
              <a:gd name="T59" fmla="*/ 601 h 908"/>
              <a:gd name="T60" fmla="*/ 602 w 908"/>
              <a:gd name="T61" fmla="*/ 632 h 908"/>
              <a:gd name="T62" fmla="*/ 565 w 908"/>
              <a:gd name="T63" fmla="*/ 657 h 908"/>
              <a:gd name="T64" fmla="*/ 524 w 908"/>
              <a:gd name="T65" fmla="*/ 675 h 908"/>
              <a:gd name="T66" fmla="*/ 479 w 908"/>
              <a:gd name="T67" fmla="*/ 684 h 908"/>
              <a:gd name="T68" fmla="*/ 440 w 908"/>
              <a:gd name="T69" fmla="*/ 302 h 908"/>
              <a:gd name="T70" fmla="*/ 406 w 908"/>
              <a:gd name="T71" fmla="*/ 309 h 908"/>
              <a:gd name="T72" fmla="*/ 381 w 908"/>
              <a:gd name="T73" fmla="*/ 321 h 908"/>
              <a:gd name="T74" fmla="*/ 359 w 908"/>
              <a:gd name="T75" fmla="*/ 338 h 908"/>
              <a:gd name="T76" fmla="*/ 341 w 908"/>
              <a:gd name="T77" fmla="*/ 359 h 908"/>
              <a:gd name="T78" fmla="*/ 323 w 908"/>
              <a:gd name="T79" fmla="*/ 391 h 908"/>
              <a:gd name="T80" fmla="*/ 315 w 908"/>
              <a:gd name="T81" fmla="*/ 420 h 908"/>
              <a:gd name="T82" fmla="*/ 313 w 908"/>
              <a:gd name="T83" fmla="*/ 470 h 908"/>
              <a:gd name="T84" fmla="*/ 323 w 908"/>
              <a:gd name="T85" fmla="*/ 515 h 908"/>
              <a:gd name="T86" fmla="*/ 341 w 908"/>
              <a:gd name="T87" fmla="*/ 547 h 908"/>
              <a:gd name="T88" fmla="*/ 359 w 908"/>
              <a:gd name="T89" fmla="*/ 568 h 908"/>
              <a:gd name="T90" fmla="*/ 387 w 908"/>
              <a:gd name="T91" fmla="*/ 588 h 908"/>
              <a:gd name="T92" fmla="*/ 426 w 908"/>
              <a:gd name="T93" fmla="*/ 602 h 908"/>
              <a:gd name="T94" fmla="*/ 469 w 908"/>
              <a:gd name="T95" fmla="*/ 604 h 908"/>
              <a:gd name="T96" fmla="*/ 504 w 908"/>
              <a:gd name="T97" fmla="*/ 597 h 908"/>
              <a:gd name="T98" fmla="*/ 529 w 908"/>
              <a:gd name="T99" fmla="*/ 585 h 908"/>
              <a:gd name="T100" fmla="*/ 551 w 908"/>
              <a:gd name="T101" fmla="*/ 568 h 908"/>
              <a:gd name="T102" fmla="*/ 569 w 908"/>
              <a:gd name="T103" fmla="*/ 547 h 908"/>
              <a:gd name="T104" fmla="*/ 586 w 908"/>
              <a:gd name="T105" fmla="*/ 515 h 908"/>
              <a:gd name="T106" fmla="*/ 595 w 908"/>
              <a:gd name="T107" fmla="*/ 486 h 908"/>
              <a:gd name="T108" fmla="*/ 597 w 908"/>
              <a:gd name="T109" fmla="*/ 436 h 908"/>
              <a:gd name="T110" fmla="*/ 586 w 908"/>
              <a:gd name="T111" fmla="*/ 391 h 908"/>
              <a:gd name="T112" fmla="*/ 569 w 908"/>
              <a:gd name="T113" fmla="*/ 359 h 908"/>
              <a:gd name="T114" fmla="*/ 551 w 908"/>
              <a:gd name="T115" fmla="*/ 338 h 908"/>
              <a:gd name="T116" fmla="*/ 523 w 908"/>
              <a:gd name="T117" fmla="*/ 318 h 908"/>
              <a:gd name="T118" fmla="*/ 484 w 908"/>
              <a:gd name="T119" fmla="*/ 304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0" y="908"/>
                </a:moveTo>
                <a:lnTo>
                  <a:pt x="454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4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  <a:moveTo>
                  <a:pt x="455" y="685"/>
                </a:moveTo>
                <a:lnTo>
                  <a:pt x="443" y="685"/>
                </a:lnTo>
                <a:lnTo>
                  <a:pt x="431" y="684"/>
                </a:lnTo>
                <a:lnTo>
                  <a:pt x="419" y="683"/>
                </a:lnTo>
                <a:lnTo>
                  <a:pt x="408" y="681"/>
                </a:lnTo>
                <a:lnTo>
                  <a:pt x="397" y="678"/>
                </a:lnTo>
                <a:lnTo>
                  <a:pt x="386" y="675"/>
                </a:lnTo>
                <a:lnTo>
                  <a:pt x="375" y="671"/>
                </a:lnTo>
                <a:lnTo>
                  <a:pt x="364" y="667"/>
                </a:lnTo>
                <a:lnTo>
                  <a:pt x="354" y="663"/>
                </a:lnTo>
                <a:lnTo>
                  <a:pt x="344" y="657"/>
                </a:lnTo>
                <a:lnTo>
                  <a:pt x="334" y="652"/>
                </a:lnTo>
                <a:lnTo>
                  <a:pt x="325" y="646"/>
                </a:lnTo>
                <a:lnTo>
                  <a:pt x="316" y="639"/>
                </a:lnTo>
                <a:lnTo>
                  <a:pt x="307" y="632"/>
                </a:lnTo>
                <a:lnTo>
                  <a:pt x="299" y="625"/>
                </a:lnTo>
                <a:lnTo>
                  <a:pt x="291" y="618"/>
                </a:lnTo>
                <a:lnTo>
                  <a:pt x="283" y="610"/>
                </a:lnTo>
                <a:lnTo>
                  <a:pt x="276" y="601"/>
                </a:lnTo>
                <a:lnTo>
                  <a:pt x="269" y="592"/>
                </a:lnTo>
                <a:lnTo>
                  <a:pt x="263" y="583"/>
                </a:lnTo>
                <a:lnTo>
                  <a:pt x="257" y="574"/>
                </a:lnTo>
                <a:lnTo>
                  <a:pt x="251" y="564"/>
                </a:lnTo>
                <a:lnTo>
                  <a:pt x="246" y="554"/>
                </a:lnTo>
                <a:lnTo>
                  <a:pt x="241" y="544"/>
                </a:lnTo>
                <a:lnTo>
                  <a:pt x="237" y="533"/>
                </a:lnTo>
                <a:lnTo>
                  <a:pt x="233" y="523"/>
                </a:lnTo>
                <a:lnTo>
                  <a:pt x="229" y="512"/>
                </a:lnTo>
                <a:lnTo>
                  <a:pt x="227" y="500"/>
                </a:lnTo>
                <a:lnTo>
                  <a:pt x="225" y="489"/>
                </a:lnTo>
                <a:lnTo>
                  <a:pt x="223" y="477"/>
                </a:lnTo>
                <a:lnTo>
                  <a:pt x="222" y="465"/>
                </a:lnTo>
                <a:lnTo>
                  <a:pt x="222" y="453"/>
                </a:lnTo>
                <a:lnTo>
                  <a:pt x="222" y="441"/>
                </a:lnTo>
                <a:lnTo>
                  <a:pt x="223" y="429"/>
                </a:lnTo>
                <a:lnTo>
                  <a:pt x="225" y="417"/>
                </a:lnTo>
                <a:lnTo>
                  <a:pt x="227" y="406"/>
                </a:lnTo>
                <a:lnTo>
                  <a:pt x="229" y="394"/>
                </a:lnTo>
                <a:lnTo>
                  <a:pt x="233" y="383"/>
                </a:lnTo>
                <a:lnTo>
                  <a:pt x="237" y="373"/>
                </a:lnTo>
                <a:lnTo>
                  <a:pt x="241" y="362"/>
                </a:lnTo>
                <a:lnTo>
                  <a:pt x="246" y="352"/>
                </a:lnTo>
                <a:lnTo>
                  <a:pt x="251" y="342"/>
                </a:lnTo>
                <a:lnTo>
                  <a:pt x="257" y="332"/>
                </a:lnTo>
                <a:lnTo>
                  <a:pt x="263" y="323"/>
                </a:lnTo>
                <a:lnTo>
                  <a:pt x="269" y="314"/>
                </a:lnTo>
                <a:lnTo>
                  <a:pt x="276" y="305"/>
                </a:lnTo>
                <a:lnTo>
                  <a:pt x="283" y="297"/>
                </a:lnTo>
                <a:lnTo>
                  <a:pt x="291" y="288"/>
                </a:lnTo>
                <a:lnTo>
                  <a:pt x="299" y="281"/>
                </a:lnTo>
                <a:lnTo>
                  <a:pt x="307" y="274"/>
                </a:lnTo>
                <a:lnTo>
                  <a:pt x="316" y="267"/>
                </a:lnTo>
                <a:lnTo>
                  <a:pt x="325" y="260"/>
                </a:lnTo>
                <a:lnTo>
                  <a:pt x="334" y="254"/>
                </a:lnTo>
                <a:lnTo>
                  <a:pt x="344" y="249"/>
                </a:lnTo>
                <a:lnTo>
                  <a:pt x="354" y="244"/>
                </a:lnTo>
                <a:lnTo>
                  <a:pt x="364" y="239"/>
                </a:lnTo>
                <a:lnTo>
                  <a:pt x="375" y="235"/>
                </a:lnTo>
                <a:lnTo>
                  <a:pt x="386" y="231"/>
                </a:lnTo>
                <a:lnTo>
                  <a:pt x="397" y="228"/>
                </a:lnTo>
                <a:lnTo>
                  <a:pt x="408" y="225"/>
                </a:lnTo>
                <a:lnTo>
                  <a:pt x="419" y="223"/>
                </a:lnTo>
                <a:lnTo>
                  <a:pt x="431" y="222"/>
                </a:lnTo>
                <a:lnTo>
                  <a:pt x="443" y="221"/>
                </a:lnTo>
                <a:lnTo>
                  <a:pt x="455" y="221"/>
                </a:lnTo>
                <a:lnTo>
                  <a:pt x="467" y="221"/>
                </a:lnTo>
                <a:lnTo>
                  <a:pt x="479" y="222"/>
                </a:lnTo>
                <a:lnTo>
                  <a:pt x="490" y="223"/>
                </a:lnTo>
                <a:lnTo>
                  <a:pt x="502" y="225"/>
                </a:lnTo>
                <a:lnTo>
                  <a:pt x="513" y="228"/>
                </a:lnTo>
                <a:lnTo>
                  <a:pt x="524" y="231"/>
                </a:lnTo>
                <a:lnTo>
                  <a:pt x="535" y="235"/>
                </a:lnTo>
                <a:lnTo>
                  <a:pt x="545" y="239"/>
                </a:lnTo>
                <a:lnTo>
                  <a:pt x="555" y="244"/>
                </a:lnTo>
                <a:lnTo>
                  <a:pt x="565" y="249"/>
                </a:lnTo>
                <a:lnTo>
                  <a:pt x="575" y="254"/>
                </a:lnTo>
                <a:lnTo>
                  <a:pt x="585" y="260"/>
                </a:lnTo>
                <a:lnTo>
                  <a:pt x="594" y="267"/>
                </a:lnTo>
                <a:lnTo>
                  <a:pt x="602" y="274"/>
                </a:lnTo>
                <a:lnTo>
                  <a:pt x="611" y="281"/>
                </a:lnTo>
                <a:lnTo>
                  <a:pt x="619" y="288"/>
                </a:lnTo>
                <a:lnTo>
                  <a:pt x="627" y="297"/>
                </a:lnTo>
                <a:lnTo>
                  <a:pt x="634" y="305"/>
                </a:lnTo>
                <a:lnTo>
                  <a:pt x="641" y="314"/>
                </a:lnTo>
                <a:lnTo>
                  <a:pt x="647" y="323"/>
                </a:lnTo>
                <a:lnTo>
                  <a:pt x="653" y="332"/>
                </a:lnTo>
                <a:lnTo>
                  <a:pt x="659" y="342"/>
                </a:lnTo>
                <a:lnTo>
                  <a:pt x="664" y="352"/>
                </a:lnTo>
                <a:lnTo>
                  <a:pt x="668" y="362"/>
                </a:lnTo>
                <a:lnTo>
                  <a:pt x="673" y="373"/>
                </a:lnTo>
                <a:lnTo>
                  <a:pt x="676" y="383"/>
                </a:lnTo>
                <a:lnTo>
                  <a:pt x="679" y="394"/>
                </a:lnTo>
                <a:lnTo>
                  <a:pt x="682" y="406"/>
                </a:lnTo>
                <a:lnTo>
                  <a:pt x="684" y="417"/>
                </a:lnTo>
                <a:lnTo>
                  <a:pt x="685" y="429"/>
                </a:lnTo>
                <a:lnTo>
                  <a:pt x="686" y="441"/>
                </a:lnTo>
                <a:lnTo>
                  <a:pt x="687" y="453"/>
                </a:lnTo>
                <a:lnTo>
                  <a:pt x="686" y="465"/>
                </a:lnTo>
                <a:lnTo>
                  <a:pt x="685" y="477"/>
                </a:lnTo>
                <a:lnTo>
                  <a:pt x="684" y="489"/>
                </a:lnTo>
                <a:lnTo>
                  <a:pt x="682" y="500"/>
                </a:lnTo>
                <a:lnTo>
                  <a:pt x="679" y="512"/>
                </a:lnTo>
                <a:lnTo>
                  <a:pt x="676" y="523"/>
                </a:lnTo>
                <a:lnTo>
                  <a:pt x="673" y="533"/>
                </a:lnTo>
                <a:lnTo>
                  <a:pt x="668" y="544"/>
                </a:lnTo>
                <a:lnTo>
                  <a:pt x="664" y="554"/>
                </a:lnTo>
                <a:lnTo>
                  <a:pt x="659" y="564"/>
                </a:lnTo>
                <a:lnTo>
                  <a:pt x="653" y="574"/>
                </a:lnTo>
                <a:lnTo>
                  <a:pt x="647" y="583"/>
                </a:lnTo>
                <a:lnTo>
                  <a:pt x="641" y="592"/>
                </a:lnTo>
                <a:lnTo>
                  <a:pt x="634" y="601"/>
                </a:lnTo>
                <a:lnTo>
                  <a:pt x="627" y="610"/>
                </a:lnTo>
                <a:lnTo>
                  <a:pt x="619" y="618"/>
                </a:lnTo>
                <a:lnTo>
                  <a:pt x="611" y="625"/>
                </a:lnTo>
                <a:lnTo>
                  <a:pt x="602" y="632"/>
                </a:lnTo>
                <a:lnTo>
                  <a:pt x="594" y="639"/>
                </a:lnTo>
                <a:lnTo>
                  <a:pt x="585" y="646"/>
                </a:lnTo>
                <a:lnTo>
                  <a:pt x="575" y="652"/>
                </a:lnTo>
                <a:lnTo>
                  <a:pt x="565" y="657"/>
                </a:lnTo>
                <a:lnTo>
                  <a:pt x="555" y="663"/>
                </a:lnTo>
                <a:lnTo>
                  <a:pt x="545" y="667"/>
                </a:lnTo>
                <a:lnTo>
                  <a:pt x="535" y="671"/>
                </a:lnTo>
                <a:lnTo>
                  <a:pt x="524" y="675"/>
                </a:lnTo>
                <a:lnTo>
                  <a:pt x="513" y="678"/>
                </a:lnTo>
                <a:lnTo>
                  <a:pt x="502" y="681"/>
                </a:lnTo>
                <a:lnTo>
                  <a:pt x="490" y="683"/>
                </a:lnTo>
                <a:lnTo>
                  <a:pt x="479" y="684"/>
                </a:lnTo>
                <a:lnTo>
                  <a:pt x="467" y="685"/>
                </a:lnTo>
                <a:lnTo>
                  <a:pt x="455" y="685"/>
                </a:lnTo>
                <a:close/>
                <a:moveTo>
                  <a:pt x="455" y="301"/>
                </a:moveTo>
                <a:lnTo>
                  <a:pt x="440" y="302"/>
                </a:lnTo>
                <a:lnTo>
                  <a:pt x="426" y="304"/>
                </a:lnTo>
                <a:lnTo>
                  <a:pt x="419" y="305"/>
                </a:lnTo>
                <a:lnTo>
                  <a:pt x="412" y="307"/>
                </a:lnTo>
                <a:lnTo>
                  <a:pt x="406" y="309"/>
                </a:lnTo>
                <a:lnTo>
                  <a:pt x="399" y="312"/>
                </a:lnTo>
                <a:lnTo>
                  <a:pt x="393" y="315"/>
                </a:lnTo>
                <a:lnTo>
                  <a:pt x="387" y="318"/>
                </a:lnTo>
                <a:lnTo>
                  <a:pt x="381" y="321"/>
                </a:lnTo>
                <a:lnTo>
                  <a:pt x="375" y="325"/>
                </a:lnTo>
                <a:lnTo>
                  <a:pt x="369" y="329"/>
                </a:lnTo>
                <a:lnTo>
                  <a:pt x="364" y="333"/>
                </a:lnTo>
                <a:lnTo>
                  <a:pt x="359" y="338"/>
                </a:lnTo>
                <a:lnTo>
                  <a:pt x="354" y="343"/>
                </a:lnTo>
                <a:lnTo>
                  <a:pt x="349" y="348"/>
                </a:lnTo>
                <a:lnTo>
                  <a:pt x="345" y="353"/>
                </a:lnTo>
                <a:lnTo>
                  <a:pt x="341" y="359"/>
                </a:lnTo>
                <a:lnTo>
                  <a:pt x="337" y="365"/>
                </a:lnTo>
                <a:lnTo>
                  <a:pt x="329" y="377"/>
                </a:lnTo>
                <a:lnTo>
                  <a:pt x="326" y="384"/>
                </a:lnTo>
                <a:lnTo>
                  <a:pt x="323" y="391"/>
                </a:lnTo>
                <a:lnTo>
                  <a:pt x="321" y="398"/>
                </a:lnTo>
                <a:lnTo>
                  <a:pt x="319" y="405"/>
                </a:lnTo>
                <a:lnTo>
                  <a:pt x="317" y="412"/>
                </a:lnTo>
                <a:lnTo>
                  <a:pt x="315" y="420"/>
                </a:lnTo>
                <a:lnTo>
                  <a:pt x="313" y="436"/>
                </a:lnTo>
                <a:lnTo>
                  <a:pt x="312" y="453"/>
                </a:lnTo>
                <a:lnTo>
                  <a:pt x="312" y="462"/>
                </a:lnTo>
                <a:lnTo>
                  <a:pt x="313" y="470"/>
                </a:lnTo>
                <a:lnTo>
                  <a:pt x="314" y="478"/>
                </a:lnTo>
                <a:lnTo>
                  <a:pt x="315" y="486"/>
                </a:lnTo>
                <a:lnTo>
                  <a:pt x="319" y="501"/>
                </a:lnTo>
                <a:lnTo>
                  <a:pt x="323" y="515"/>
                </a:lnTo>
                <a:lnTo>
                  <a:pt x="329" y="529"/>
                </a:lnTo>
                <a:lnTo>
                  <a:pt x="333" y="535"/>
                </a:lnTo>
                <a:lnTo>
                  <a:pt x="337" y="541"/>
                </a:lnTo>
                <a:lnTo>
                  <a:pt x="341" y="547"/>
                </a:lnTo>
                <a:lnTo>
                  <a:pt x="345" y="553"/>
                </a:lnTo>
                <a:lnTo>
                  <a:pt x="349" y="558"/>
                </a:lnTo>
                <a:lnTo>
                  <a:pt x="354" y="563"/>
                </a:lnTo>
                <a:lnTo>
                  <a:pt x="359" y="568"/>
                </a:lnTo>
                <a:lnTo>
                  <a:pt x="364" y="573"/>
                </a:lnTo>
                <a:lnTo>
                  <a:pt x="369" y="577"/>
                </a:lnTo>
                <a:lnTo>
                  <a:pt x="375" y="581"/>
                </a:lnTo>
                <a:lnTo>
                  <a:pt x="387" y="588"/>
                </a:lnTo>
                <a:lnTo>
                  <a:pt x="393" y="591"/>
                </a:lnTo>
                <a:lnTo>
                  <a:pt x="399" y="594"/>
                </a:lnTo>
                <a:lnTo>
                  <a:pt x="412" y="599"/>
                </a:lnTo>
                <a:lnTo>
                  <a:pt x="426" y="602"/>
                </a:lnTo>
                <a:lnTo>
                  <a:pt x="433" y="604"/>
                </a:lnTo>
                <a:lnTo>
                  <a:pt x="440" y="604"/>
                </a:lnTo>
                <a:lnTo>
                  <a:pt x="455" y="605"/>
                </a:lnTo>
                <a:lnTo>
                  <a:pt x="469" y="604"/>
                </a:lnTo>
                <a:lnTo>
                  <a:pt x="484" y="602"/>
                </a:lnTo>
                <a:lnTo>
                  <a:pt x="490" y="601"/>
                </a:lnTo>
                <a:lnTo>
                  <a:pt x="497" y="599"/>
                </a:lnTo>
                <a:lnTo>
                  <a:pt x="504" y="597"/>
                </a:lnTo>
                <a:lnTo>
                  <a:pt x="510" y="594"/>
                </a:lnTo>
                <a:lnTo>
                  <a:pt x="517" y="591"/>
                </a:lnTo>
                <a:lnTo>
                  <a:pt x="523" y="588"/>
                </a:lnTo>
                <a:lnTo>
                  <a:pt x="529" y="585"/>
                </a:lnTo>
                <a:lnTo>
                  <a:pt x="535" y="581"/>
                </a:lnTo>
                <a:lnTo>
                  <a:pt x="540" y="577"/>
                </a:lnTo>
                <a:lnTo>
                  <a:pt x="546" y="573"/>
                </a:lnTo>
                <a:lnTo>
                  <a:pt x="551" y="568"/>
                </a:lnTo>
                <a:lnTo>
                  <a:pt x="556" y="563"/>
                </a:lnTo>
                <a:lnTo>
                  <a:pt x="560" y="558"/>
                </a:lnTo>
                <a:lnTo>
                  <a:pt x="565" y="553"/>
                </a:lnTo>
                <a:lnTo>
                  <a:pt x="569" y="547"/>
                </a:lnTo>
                <a:lnTo>
                  <a:pt x="573" y="541"/>
                </a:lnTo>
                <a:lnTo>
                  <a:pt x="580" y="529"/>
                </a:lnTo>
                <a:lnTo>
                  <a:pt x="583" y="522"/>
                </a:lnTo>
                <a:lnTo>
                  <a:pt x="586" y="515"/>
                </a:lnTo>
                <a:lnTo>
                  <a:pt x="589" y="508"/>
                </a:lnTo>
                <a:lnTo>
                  <a:pt x="591" y="501"/>
                </a:lnTo>
                <a:lnTo>
                  <a:pt x="593" y="494"/>
                </a:lnTo>
                <a:lnTo>
                  <a:pt x="595" y="486"/>
                </a:lnTo>
                <a:lnTo>
                  <a:pt x="597" y="470"/>
                </a:lnTo>
                <a:lnTo>
                  <a:pt x="597" y="453"/>
                </a:lnTo>
                <a:lnTo>
                  <a:pt x="597" y="444"/>
                </a:lnTo>
                <a:lnTo>
                  <a:pt x="597" y="436"/>
                </a:lnTo>
                <a:lnTo>
                  <a:pt x="596" y="428"/>
                </a:lnTo>
                <a:lnTo>
                  <a:pt x="595" y="420"/>
                </a:lnTo>
                <a:lnTo>
                  <a:pt x="591" y="405"/>
                </a:lnTo>
                <a:lnTo>
                  <a:pt x="586" y="391"/>
                </a:lnTo>
                <a:lnTo>
                  <a:pt x="580" y="377"/>
                </a:lnTo>
                <a:lnTo>
                  <a:pt x="577" y="371"/>
                </a:lnTo>
                <a:lnTo>
                  <a:pt x="573" y="365"/>
                </a:lnTo>
                <a:lnTo>
                  <a:pt x="569" y="359"/>
                </a:lnTo>
                <a:lnTo>
                  <a:pt x="565" y="353"/>
                </a:lnTo>
                <a:lnTo>
                  <a:pt x="560" y="348"/>
                </a:lnTo>
                <a:lnTo>
                  <a:pt x="556" y="343"/>
                </a:lnTo>
                <a:lnTo>
                  <a:pt x="551" y="338"/>
                </a:lnTo>
                <a:lnTo>
                  <a:pt x="546" y="333"/>
                </a:lnTo>
                <a:lnTo>
                  <a:pt x="540" y="329"/>
                </a:lnTo>
                <a:lnTo>
                  <a:pt x="535" y="325"/>
                </a:lnTo>
                <a:lnTo>
                  <a:pt x="523" y="318"/>
                </a:lnTo>
                <a:lnTo>
                  <a:pt x="517" y="315"/>
                </a:lnTo>
                <a:lnTo>
                  <a:pt x="510" y="312"/>
                </a:lnTo>
                <a:lnTo>
                  <a:pt x="497" y="307"/>
                </a:lnTo>
                <a:lnTo>
                  <a:pt x="484" y="304"/>
                </a:lnTo>
                <a:lnTo>
                  <a:pt x="477" y="303"/>
                </a:lnTo>
                <a:lnTo>
                  <a:pt x="469" y="302"/>
                </a:lnTo>
                <a:lnTo>
                  <a:pt x="455" y="3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32" name="Freeform 21"/>
          <p:cNvSpPr>
            <a:spLocks noEditPoints="1"/>
          </p:cNvSpPr>
          <p:nvPr userDrawn="1"/>
        </p:nvSpPr>
        <p:spPr bwMode="auto">
          <a:xfrm>
            <a:off x="1305429" y="1286168"/>
            <a:ext cx="1306629" cy="1285880"/>
          </a:xfrm>
          <a:custGeom>
            <a:avLst/>
            <a:gdLst>
              <a:gd name="T0" fmla="*/ 908 w 908"/>
              <a:gd name="T1" fmla="*/ 453 h 907"/>
              <a:gd name="T2" fmla="*/ 0 w 908"/>
              <a:gd name="T3" fmla="*/ 453 h 907"/>
              <a:gd name="T4" fmla="*/ 591 w 908"/>
              <a:gd name="T5" fmla="*/ 623 h 907"/>
              <a:gd name="T6" fmla="*/ 572 w 908"/>
              <a:gd name="T7" fmla="*/ 643 h 907"/>
              <a:gd name="T8" fmla="*/ 532 w 908"/>
              <a:gd name="T9" fmla="*/ 668 h 907"/>
              <a:gd name="T10" fmla="*/ 494 w 908"/>
              <a:gd name="T11" fmla="*/ 681 h 907"/>
              <a:gd name="T12" fmla="*/ 450 w 908"/>
              <a:gd name="T13" fmla="*/ 685 h 907"/>
              <a:gd name="T14" fmla="*/ 404 w 908"/>
              <a:gd name="T15" fmla="*/ 681 h 907"/>
              <a:gd name="T16" fmla="*/ 361 w 908"/>
              <a:gd name="T17" fmla="*/ 667 h 907"/>
              <a:gd name="T18" fmla="*/ 323 w 908"/>
              <a:gd name="T19" fmla="*/ 646 h 907"/>
              <a:gd name="T20" fmla="*/ 290 w 908"/>
              <a:gd name="T21" fmla="*/ 618 h 907"/>
              <a:gd name="T22" fmla="*/ 264 w 908"/>
              <a:gd name="T23" fmla="*/ 583 h 907"/>
              <a:gd name="T24" fmla="*/ 244 w 908"/>
              <a:gd name="T25" fmla="*/ 544 h 907"/>
              <a:gd name="T26" fmla="*/ 231 w 908"/>
              <a:gd name="T27" fmla="*/ 500 h 907"/>
              <a:gd name="T28" fmla="*/ 227 w 908"/>
              <a:gd name="T29" fmla="*/ 453 h 907"/>
              <a:gd name="T30" fmla="*/ 231 w 908"/>
              <a:gd name="T31" fmla="*/ 406 h 907"/>
              <a:gd name="T32" fmla="*/ 240 w 908"/>
              <a:gd name="T33" fmla="*/ 373 h 907"/>
              <a:gd name="T34" fmla="*/ 258 w 908"/>
              <a:gd name="T35" fmla="*/ 332 h 907"/>
              <a:gd name="T36" fmla="*/ 283 w 908"/>
              <a:gd name="T37" fmla="*/ 297 h 907"/>
              <a:gd name="T38" fmla="*/ 310 w 908"/>
              <a:gd name="T39" fmla="*/ 270 h 907"/>
              <a:gd name="T40" fmla="*/ 342 w 908"/>
              <a:gd name="T41" fmla="*/ 249 h 907"/>
              <a:gd name="T42" fmla="*/ 382 w 908"/>
              <a:gd name="T43" fmla="*/ 231 h 907"/>
              <a:gd name="T44" fmla="*/ 427 w 908"/>
              <a:gd name="T45" fmla="*/ 222 h 907"/>
              <a:gd name="T46" fmla="*/ 473 w 908"/>
              <a:gd name="T47" fmla="*/ 222 h 907"/>
              <a:gd name="T48" fmla="*/ 513 w 908"/>
              <a:gd name="T49" fmla="*/ 231 h 907"/>
              <a:gd name="T50" fmla="*/ 548 w 908"/>
              <a:gd name="T51" fmla="*/ 247 h 907"/>
              <a:gd name="T52" fmla="*/ 571 w 908"/>
              <a:gd name="T53" fmla="*/ 263 h 907"/>
              <a:gd name="T54" fmla="*/ 591 w 908"/>
              <a:gd name="T55" fmla="*/ 230 h 907"/>
              <a:gd name="T56" fmla="*/ 450 w 908"/>
              <a:gd name="T57" fmla="*/ 306 h 907"/>
              <a:gd name="T58" fmla="*/ 417 w 908"/>
              <a:gd name="T59" fmla="*/ 311 h 907"/>
              <a:gd name="T60" fmla="*/ 383 w 908"/>
              <a:gd name="T61" fmla="*/ 327 h 907"/>
              <a:gd name="T62" fmla="*/ 351 w 908"/>
              <a:gd name="T63" fmla="*/ 356 h 907"/>
              <a:gd name="T64" fmla="*/ 332 w 908"/>
              <a:gd name="T65" fmla="*/ 386 h 907"/>
              <a:gd name="T66" fmla="*/ 318 w 908"/>
              <a:gd name="T67" fmla="*/ 434 h 907"/>
              <a:gd name="T68" fmla="*/ 317 w 908"/>
              <a:gd name="T69" fmla="*/ 484 h 907"/>
              <a:gd name="T70" fmla="*/ 325 w 908"/>
              <a:gd name="T71" fmla="*/ 518 h 907"/>
              <a:gd name="T72" fmla="*/ 336 w 908"/>
              <a:gd name="T73" fmla="*/ 545 h 907"/>
              <a:gd name="T74" fmla="*/ 351 w 908"/>
              <a:gd name="T75" fmla="*/ 568 h 907"/>
              <a:gd name="T76" fmla="*/ 371 w 908"/>
              <a:gd name="T77" fmla="*/ 589 h 907"/>
              <a:gd name="T78" fmla="*/ 396 w 908"/>
              <a:gd name="T79" fmla="*/ 605 h 907"/>
              <a:gd name="T80" fmla="*/ 425 w 908"/>
              <a:gd name="T81" fmla="*/ 615 h 907"/>
              <a:gd name="T82" fmla="*/ 458 w 908"/>
              <a:gd name="T83" fmla="*/ 618 h 907"/>
              <a:gd name="T84" fmla="*/ 509 w 908"/>
              <a:gd name="T85" fmla="*/ 609 h 907"/>
              <a:gd name="T86" fmla="*/ 537 w 908"/>
              <a:gd name="T87" fmla="*/ 593 h 907"/>
              <a:gd name="T88" fmla="*/ 557 w 908"/>
              <a:gd name="T89" fmla="*/ 576 h 907"/>
              <a:gd name="T90" fmla="*/ 576 w 908"/>
              <a:gd name="T91" fmla="*/ 546 h 907"/>
              <a:gd name="T92" fmla="*/ 589 w 908"/>
              <a:gd name="T93" fmla="*/ 508 h 907"/>
              <a:gd name="T94" fmla="*/ 594 w 908"/>
              <a:gd name="T95" fmla="*/ 472 h 907"/>
              <a:gd name="T96" fmla="*/ 592 w 908"/>
              <a:gd name="T97" fmla="*/ 434 h 907"/>
              <a:gd name="T98" fmla="*/ 582 w 908"/>
              <a:gd name="T99" fmla="*/ 392 h 907"/>
              <a:gd name="T100" fmla="*/ 569 w 908"/>
              <a:gd name="T101" fmla="*/ 365 h 907"/>
              <a:gd name="T102" fmla="*/ 542 w 908"/>
              <a:gd name="T103" fmla="*/ 334 h 907"/>
              <a:gd name="T104" fmla="*/ 515 w 908"/>
              <a:gd name="T105" fmla="*/ 317 h 907"/>
              <a:gd name="T106" fmla="*/ 490 w 908"/>
              <a:gd name="T107" fmla="*/ 309 h 907"/>
              <a:gd name="T108" fmla="*/ 458 w 908"/>
              <a:gd name="T109" fmla="*/ 305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  <a:moveTo>
                  <a:pt x="680" y="676"/>
                </a:moveTo>
                <a:lnTo>
                  <a:pt x="591" y="676"/>
                </a:lnTo>
                <a:lnTo>
                  <a:pt x="591" y="623"/>
                </a:lnTo>
                <a:lnTo>
                  <a:pt x="588" y="627"/>
                </a:lnTo>
                <a:lnTo>
                  <a:pt x="585" y="630"/>
                </a:lnTo>
                <a:lnTo>
                  <a:pt x="579" y="636"/>
                </a:lnTo>
                <a:lnTo>
                  <a:pt x="572" y="643"/>
                </a:lnTo>
                <a:lnTo>
                  <a:pt x="564" y="649"/>
                </a:lnTo>
                <a:lnTo>
                  <a:pt x="549" y="659"/>
                </a:lnTo>
                <a:lnTo>
                  <a:pt x="541" y="664"/>
                </a:lnTo>
                <a:lnTo>
                  <a:pt x="532" y="668"/>
                </a:lnTo>
                <a:lnTo>
                  <a:pt x="523" y="672"/>
                </a:lnTo>
                <a:lnTo>
                  <a:pt x="514" y="676"/>
                </a:lnTo>
                <a:lnTo>
                  <a:pt x="504" y="678"/>
                </a:lnTo>
                <a:lnTo>
                  <a:pt x="494" y="681"/>
                </a:lnTo>
                <a:lnTo>
                  <a:pt x="484" y="683"/>
                </a:lnTo>
                <a:lnTo>
                  <a:pt x="473" y="684"/>
                </a:lnTo>
                <a:lnTo>
                  <a:pt x="462" y="685"/>
                </a:lnTo>
                <a:lnTo>
                  <a:pt x="450" y="685"/>
                </a:lnTo>
                <a:lnTo>
                  <a:pt x="439" y="685"/>
                </a:lnTo>
                <a:lnTo>
                  <a:pt x="427" y="684"/>
                </a:lnTo>
                <a:lnTo>
                  <a:pt x="415" y="683"/>
                </a:lnTo>
                <a:lnTo>
                  <a:pt x="404" y="681"/>
                </a:lnTo>
                <a:lnTo>
                  <a:pt x="393" y="678"/>
                </a:lnTo>
                <a:lnTo>
                  <a:pt x="382" y="675"/>
                </a:lnTo>
                <a:lnTo>
                  <a:pt x="372" y="671"/>
                </a:lnTo>
                <a:lnTo>
                  <a:pt x="361" y="667"/>
                </a:lnTo>
                <a:lnTo>
                  <a:pt x="351" y="663"/>
                </a:lnTo>
                <a:lnTo>
                  <a:pt x="342" y="657"/>
                </a:lnTo>
                <a:lnTo>
                  <a:pt x="332" y="652"/>
                </a:lnTo>
                <a:lnTo>
                  <a:pt x="323" y="646"/>
                </a:lnTo>
                <a:lnTo>
                  <a:pt x="315" y="639"/>
                </a:lnTo>
                <a:lnTo>
                  <a:pt x="306" y="633"/>
                </a:lnTo>
                <a:lnTo>
                  <a:pt x="298" y="625"/>
                </a:lnTo>
                <a:lnTo>
                  <a:pt x="290" y="618"/>
                </a:lnTo>
                <a:lnTo>
                  <a:pt x="283" y="609"/>
                </a:lnTo>
                <a:lnTo>
                  <a:pt x="276" y="601"/>
                </a:lnTo>
                <a:lnTo>
                  <a:pt x="270" y="592"/>
                </a:lnTo>
                <a:lnTo>
                  <a:pt x="264" y="583"/>
                </a:lnTo>
                <a:lnTo>
                  <a:pt x="258" y="574"/>
                </a:lnTo>
                <a:lnTo>
                  <a:pt x="253" y="564"/>
                </a:lnTo>
                <a:lnTo>
                  <a:pt x="248" y="554"/>
                </a:lnTo>
                <a:lnTo>
                  <a:pt x="244" y="544"/>
                </a:lnTo>
                <a:lnTo>
                  <a:pt x="240" y="533"/>
                </a:lnTo>
                <a:lnTo>
                  <a:pt x="236" y="522"/>
                </a:lnTo>
                <a:lnTo>
                  <a:pt x="233" y="511"/>
                </a:lnTo>
                <a:lnTo>
                  <a:pt x="231" y="500"/>
                </a:lnTo>
                <a:lnTo>
                  <a:pt x="229" y="488"/>
                </a:lnTo>
                <a:lnTo>
                  <a:pt x="228" y="477"/>
                </a:lnTo>
                <a:lnTo>
                  <a:pt x="227" y="465"/>
                </a:lnTo>
                <a:lnTo>
                  <a:pt x="227" y="453"/>
                </a:lnTo>
                <a:lnTo>
                  <a:pt x="227" y="441"/>
                </a:lnTo>
                <a:lnTo>
                  <a:pt x="228" y="429"/>
                </a:lnTo>
                <a:lnTo>
                  <a:pt x="229" y="417"/>
                </a:lnTo>
                <a:lnTo>
                  <a:pt x="231" y="406"/>
                </a:lnTo>
                <a:lnTo>
                  <a:pt x="233" y="395"/>
                </a:lnTo>
                <a:lnTo>
                  <a:pt x="235" y="389"/>
                </a:lnTo>
                <a:lnTo>
                  <a:pt x="236" y="384"/>
                </a:lnTo>
                <a:lnTo>
                  <a:pt x="240" y="373"/>
                </a:lnTo>
                <a:lnTo>
                  <a:pt x="244" y="362"/>
                </a:lnTo>
                <a:lnTo>
                  <a:pt x="248" y="352"/>
                </a:lnTo>
                <a:lnTo>
                  <a:pt x="253" y="342"/>
                </a:lnTo>
                <a:lnTo>
                  <a:pt x="258" y="332"/>
                </a:lnTo>
                <a:lnTo>
                  <a:pt x="264" y="323"/>
                </a:lnTo>
                <a:lnTo>
                  <a:pt x="270" y="314"/>
                </a:lnTo>
                <a:lnTo>
                  <a:pt x="276" y="305"/>
                </a:lnTo>
                <a:lnTo>
                  <a:pt x="283" y="297"/>
                </a:lnTo>
                <a:lnTo>
                  <a:pt x="290" y="289"/>
                </a:lnTo>
                <a:lnTo>
                  <a:pt x="298" y="281"/>
                </a:lnTo>
                <a:lnTo>
                  <a:pt x="306" y="274"/>
                </a:lnTo>
                <a:lnTo>
                  <a:pt x="310" y="270"/>
                </a:lnTo>
                <a:lnTo>
                  <a:pt x="315" y="267"/>
                </a:lnTo>
                <a:lnTo>
                  <a:pt x="323" y="260"/>
                </a:lnTo>
                <a:lnTo>
                  <a:pt x="332" y="254"/>
                </a:lnTo>
                <a:lnTo>
                  <a:pt x="342" y="249"/>
                </a:lnTo>
                <a:lnTo>
                  <a:pt x="351" y="244"/>
                </a:lnTo>
                <a:lnTo>
                  <a:pt x="361" y="239"/>
                </a:lnTo>
                <a:lnTo>
                  <a:pt x="372" y="235"/>
                </a:lnTo>
                <a:lnTo>
                  <a:pt x="382" y="231"/>
                </a:lnTo>
                <a:lnTo>
                  <a:pt x="393" y="228"/>
                </a:lnTo>
                <a:lnTo>
                  <a:pt x="404" y="226"/>
                </a:lnTo>
                <a:lnTo>
                  <a:pt x="415" y="224"/>
                </a:lnTo>
                <a:lnTo>
                  <a:pt x="427" y="222"/>
                </a:lnTo>
                <a:lnTo>
                  <a:pt x="439" y="221"/>
                </a:lnTo>
                <a:lnTo>
                  <a:pt x="450" y="221"/>
                </a:lnTo>
                <a:lnTo>
                  <a:pt x="462" y="221"/>
                </a:lnTo>
                <a:lnTo>
                  <a:pt x="473" y="222"/>
                </a:lnTo>
                <a:lnTo>
                  <a:pt x="483" y="223"/>
                </a:lnTo>
                <a:lnTo>
                  <a:pt x="494" y="225"/>
                </a:lnTo>
                <a:lnTo>
                  <a:pt x="504" y="228"/>
                </a:lnTo>
                <a:lnTo>
                  <a:pt x="513" y="231"/>
                </a:lnTo>
                <a:lnTo>
                  <a:pt x="523" y="234"/>
                </a:lnTo>
                <a:lnTo>
                  <a:pt x="532" y="238"/>
                </a:lnTo>
                <a:lnTo>
                  <a:pt x="540" y="242"/>
                </a:lnTo>
                <a:lnTo>
                  <a:pt x="548" y="247"/>
                </a:lnTo>
                <a:lnTo>
                  <a:pt x="556" y="252"/>
                </a:lnTo>
                <a:lnTo>
                  <a:pt x="560" y="254"/>
                </a:lnTo>
                <a:lnTo>
                  <a:pt x="564" y="257"/>
                </a:lnTo>
                <a:lnTo>
                  <a:pt x="571" y="263"/>
                </a:lnTo>
                <a:lnTo>
                  <a:pt x="578" y="269"/>
                </a:lnTo>
                <a:lnTo>
                  <a:pt x="585" y="276"/>
                </a:lnTo>
                <a:lnTo>
                  <a:pt x="591" y="282"/>
                </a:lnTo>
                <a:lnTo>
                  <a:pt x="591" y="230"/>
                </a:lnTo>
                <a:lnTo>
                  <a:pt x="680" y="230"/>
                </a:lnTo>
                <a:lnTo>
                  <a:pt x="680" y="676"/>
                </a:lnTo>
                <a:close/>
                <a:moveTo>
                  <a:pt x="458" y="305"/>
                </a:moveTo>
                <a:lnTo>
                  <a:pt x="450" y="306"/>
                </a:lnTo>
                <a:lnTo>
                  <a:pt x="441" y="306"/>
                </a:lnTo>
                <a:lnTo>
                  <a:pt x="433" y="308"/>
                </a:lnTo>
                <a:lnTo>
                  <a:pt x="425" y="309"/>
                </a:lnTo>
                <a:lnTo>
                  <a:pt x="417" y="311"/>
                </a:lnTo>
                <a:lnTo>
                  <a:pt x="410" y="314"/>
                </a:lnTo>
                <a:lnTo>
                  <a:pt x="402" y="316"/>
                </a:lnTo>
                <a:lnTo>
                  <a:pt x="396" y="319"/>
                </a:lnTo>
                <a:lnTo>
                  <a:pt x="383" y="327"/>
                </a:lnTo>
                <a:lnTo>
                  <a:pt x="371" y="335"/>
                </a:lnTo>
                <a:lnTo>
                  <a:pt x="366" y="340"/>
                </a:lnTo>
                <a:lnTo>
                  <a:pt x="361" y="345"/>
                </a:lnTo>
                <a:lnTo>
                  <a:pt x="351" y="356"/>
                </a:lnTo>
                <a:lnTo>
                  <a:pt x="347" y="362"/>
                </a:lnTo>
                <a:lnTo>
                  <a:pt x="343" y="367"/>
                </a:lnTo>
                <a:lnTo>
                  <a:pt x="336" y="380"/>
                </a:lnTo>
                <a:lnTo>
                  <a:pt x="332" y="386"/>
                </a:lnTo>
                <a:lnTo>
                  <a:pt x="330" y="393"/>
                </a:lnTo>
                <a:lnTo>
                  <a:pt x="325" y="406"/>
                </a:lnTo>
                <a:lnTo>
                  <a:pt x="321" y="420"/>
                </a:lnTo>
                <a:lnTo>
                  <a:pt x="318" y="434"/>
                </a:lnTo>
                <a:lnTo>
                  <a:pt x="316" y="448"/>
                </a:lnTo>
                <a:lnTo>
                  <a:pt x="316" y="462"/>
                </a:lnTo>
                <a:lnTo>
                  <a:pt x="316" y="476"/>
                </a:lnTo>
                <a:lnTo>
                  <a:pt x="317" y="484"/>
                </a:lnTo>
                <a:lnTo>
                  <a:pt x="318" y="491"/>
                </a:lnTo>
                <a:lnTo>
                  <a:pt x="321" y="505"/>
                </a:lnTo>
                <a:lnTo>
                  <a:pt x="323" y="511"/>
                </a:lnTo>
                <a:lnTo>
                  <a:pt x="325" y="518"/>
                </a:lnTo>
                <a:lnTo>
                  <a:pt x="327" y="525"/>
                </a:lnTo>
                <a:lnTo>
                  <a:pt x="330" y="532"/>
                </a:lnTo>
                <a:lnTo>
                  <a:pt x="332" y="538"/>
                </a:lnTo>
                <a:lnTo>
                  <a:pt x="336" y="545"/>
                </a:lnTo>
                <a:lnTo>
                  <a:pt x="339" y="551"/>
                </a:lnTo>
                <a:lnTo>
                  <a:pt x="343" y="557"/>
                </a:lnTo>
                <a:lnTo>
                  <a:pt x="347" y="563"/>
                </a:lnTo>
                <a:lnTo>
                  <a:pt x="351" y="568"/>
                </a:lnTo>
                <a:lnTo>
                  <a:pt x="356" y="574"/>
                </a:lnTo>
                <a:lnTo>
                  <a:pt x="361" y="579"/>
                </a:lnTo>
                <a:lnTo>
                  <a:pt x="366" y="584"/>
                </a:lnTo>
                <a:lnTo>
                  <a:pt x="371" y="589"/>
                </a:lnTo>
                <a:lnTo>
                  <a:pt x="377" y="593"/>
                </a:lnTo>
                <a:lnTo>
                  <a:pt x="383" y="597"/>
                </a:lnTo>
                <a:lnTo>
                  <a:pt x="389" y="601"/>
                </a:lnTo>
                <a:lnTo>
                  <a:pt x="396" y="605"/>
                </a:lnTo>
                <a:lnTo>
                  <a:pt x="402" y="608"/>
                </a:lnTo>
                <a:lnTo>
                  <a:pt x="410" y="610"/>
                </a:lnTo>
                <a:lnTo>
                  <a:pt x="417" y="613"/>
                </a:lnTo>
                <a:lnTo>
                  <a:pt x="425" y="615"/>
                </a:lnTo>
                <a:lnTo>
                  <a:pt x="433" y="616"/>
                </a:lnTo>
                <a:lnTo>
                  <a:pt x="441" y="617"/>
                </a:lnTo>
                <a:lnTo>
                  <a:pt x="450" y="618"/>
                </a:lnTo>
                <a:lnTo>
                  <a:pt x="458" y="618"/>
                </a:lnTo>
                <a:lnTo>
                  <a:pt x="471" y="618"/>
                </a:lnTo>
                <a:lnTo>
                  <a:pt x="484" y="616"/>
                </a:lnTo>
                <a:lnTo>
                  <a:pt x="496" y="613"/>
                </a:lnTo>
                <a:lnTo>
                  <a:pt x="509" y="609"/>
                </a:lnTo>
                <a:lnTo>
                  <a:pt x="515" y="607"/>
                </a:lnTo>
                <a:lnTo>
                  <a:pt x="520" y="604"/>
                </a:lnTo>
                <a:lnTo>
                  <a:pt x="532" y="597"/>
                </a:lnTo>
                <a:lnTo>
                  <a:pt x="537" y="593"/>
                </a:lnTo>
                <a:lnTo>
                  <a:pt x="542" y="589"/>
                </a:lnTo>
                <a:lnTo>
                  <a:pt x="547" y="585"/>
                </a:lnTo>
                <a:lnTo>
                  <a:pt x="552" y="580"/>
                </a:lnTo>
                <a:lnTo>
                  <a:pt x="557" y="576"/>
                </a:lnTo>
                <a:lnTo>
                  <a:pt x="561" y="570"/>
                </a:lnTo>
                <a:lnTo>
                  <a:pt x="565" y="565"/>
                </a:lnTo>
                <a:lnTo>
                  <a:pt x="569" y="559"/>
                </a:lnTo>
                <a:lnTo>
                  <a:pt x="576" y="546"/>
                </a:lnTo>
                <a:lnTo>
                  <a:pt x="580" y="539"/>
                </a:lnTo>
                <a:lnTo>
                  <a:pt x="582" y="532"/>
                </a:lnTo>
                <a:lnTo>
                  <a:pt x="587" y="516"/>
                </a:lnTo>
                <a:lnTo>
                  <a:pt x="589" y="508"/>
                </a:lnTo>
                <a:lnTo>
                  <a:pt x="591" y="500"/>
                </a:lnTo>
                <a:lnTo>
                  <a:pt x="592" y="491"/>
                </a:lnTo>
                <a:lnTo>
                  <a:pt x="593" y="482"/>
                </a:lnTo>
                <a:lnTo>
                  <a:pt x="594" y="472"/>
                </a:lnTo>
                <a:lnTo>
                  <a:pt x="594" y="462"/>
                </a:lnTo>
                <a:lnTo>
                  <a:pt x="594" y="452"/>
                </a:lnTo>
                <a:lnTo>
                  <a:pt x="593" y="443"/>
                </a:lnTo>
                <a:lnTo>
                  <a:pt x="592" y="434"/>
                </a:lnTo>
                <a:lnTo>
                  <a:pt x="591" y="425"/>
                </a:lnTo>
                <a:lnTo>
                  <a:pt x="587" y="408"/>
                </a:lnTo>
                <a:lnTo>
                  <a:pt x="585" y="400"/>
                </a:lnTo>
                <a:lnTo>
                  <a:pt x="582" y="392"/>
                </a:lnTo>
                <a:lnTo>
                  <a:pt x="580" y="385"/>
                </a:lnTo>
                <a:lnTo>
                  <a:pt x="576" y="378"/>
                </a:lnTo>
                <a:lnTo>
                  <a:pt x="573" y="372"/>
                </a:lnTo>
                <a:lnTo>
                  <a:pt x="569" y="365"/>
                </a:lnTo>
                <a:lnTo>
                  <a:pt x="565" y="359"/>
                </a:lnTo>
                <a:lnTo>
                  <a:pt x="561" y="354"/>
                </a:lnTo>
                <a:lnTo>
                  <a:pt x="552" y="343"/>
                </a:lnTo>
                <a:lnTo>
                  <a:pt x="542" y="334"/>
                </a:lnTo>
                <a:lnTo>
                  <a:pt x="532" y="327"/>
                </a:lnTo>
                <a:lnTo>
                  <a:pt x="526" y="323"/>
                </a:lnTo>
                <a:lnTo>
                  <a:pt x="520" y="320"/>
                </a:lnTo>
                <a:lnTo>
                  <a:pt x="515" y="317"/>
                </a:lnTo>
                <a:lnTo>
                  <a:pt x="509" y="315"/>
                </a:lnTo>
                <a:lnTo>
                  <a:pt x="503" y="313"/>
                </a:lnTo>
                <a:lnTo>
                  <a:pt x="496" y="311"/>
                </a:lnTo>
                <a:lnTo>
                  <a:pt x="490" y="309"/>
                </a:lnTo>
                <a:lnTo>
                  <a:pt x="484" y="308"/>
                </a:lnTo>
                <a:lnTo>
                  <a:pt x="471" y="306"/>
                </a:lnTo>
                <a:lnTo>
                  <a:pt x="465" y="306"/>
                </a:lnTo>
                <a:lnTo>
                  <a:pt x="458" y="3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81" tIns="34341" rIns="68681" bIns="34341" numCol="1" anchor="t" anchorCtr="0" compatLnSpc="1">
            <a:prstTxWarp prst="textNoShape">
              <a:avLst/>
            </a:prstTxWarp>
          </a:bodyPr>
          <a:lstStyle/>
          <a:p>
            <a:pPr defTabSz="686817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00059A1-0099-4B10-A5CF-27E515FB5E4A}" type="datetime3">
              <a:rPr lang="en-US" smtClean="0"/>
              <a:pPr/>
              <a:t>3 December 2015</a:t>
            </a:fld>
            <a:endParaRPr lang="fi-FI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  <p:pic>
        <p:nvPicPr>
          <p:cNvPr id="33" name="Afbeelding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2" y="4776939"/>
            <a:ext cx="1306178" cy="15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176629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088636" y="535547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5414"/>
            <a:ext cx="1088572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009808" y="4607657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588321" y="300042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043869" y="353671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588321" y="407211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00059A1-0099-4B10-A5CF-27E515FB5E4A}" type="datetime3">
              <a:rPr lang="en-US" smtClean="0"/>
              <a:pPr/>
              <a:t>3 December 2015</a:t>
            </a:fld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305432" y="910642"/>
            <a:ext cx="6531943" cy="1661113"/>
          </a:xfrm>
        </p:spPr>
        <p:txBody>
          <a:bodyPr anchor="b" anchorCtr="0"/>
          <a:lstStyle>
            <a:lvl1pPr algn="ctr">
              <a:lnSpc>
                <a:spcPct val="85000"/>
              </a:lnSpc>
              <a:defRPr sz="4800" b="1"/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1305432" y="2678922"/>
            <a:ext cx="6531943" cy="1179297"/>
          </a:xfrm>
        </p:spPr>
        <p:txBody>
          <a:bodyPr/>
          <a:lstStyle>
            <a:lvl1pPr marL="0" indent="0" algn="ctr">
              <a:buFontTx/>
              <a:buNone/>
              <a:defRPr sz="23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8" y="4776939"/>
            <a:ext cx="1306173" cy="15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677915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179551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088636" y="535547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5414"/>
            <a:ext cx="1088572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009808" y="4607657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588321" y="300042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043869" y="353671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588321" y="407211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00059A1-0099-4B10-A5CF-27E515FB5E4A}" type="datetime3">
              <a:rPr lang="en-US" smtClean="0"/>
              <a:pPr/>
              <a:t>3 December 2015</a:t>
            </a:fld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305432" y="910642"/>
            <a:ext cx="6531943" cy="1661113"/>
          </a:xfrm>
        </p:spPr>
        <p:txBody>
          <a:bodyPr anchor="b" anchorCtr="0"/>
          <a:lstStyle>
            <a:lvl1pPr algn="ctr">
              <a:lnSpc>
                <a:spcPct val="85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1305432" y="2678922"/>
            <a:ext cx="6531943" cy="1179297"/>
          </a:xfrm>
        </p:spPr>
        <p:txBody>
          <a:bodyPr/>
          <a:lstStyle>
            <a:lvl1pPr marL="0" indent="0" algn="ctr">
              <a:buFontTx/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pic>
        <p:nvPicPr>
          <p:cNvPr id="30" name="Afbeelding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8" y="4776939"/>
            <a:ext cx="1306173" cy="15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37190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6"/>
            <a:ext cx="8490160" cy="3215573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304130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6"/>
            <a:ext cx="8490160" cy="3215573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26922" y="642643"/>
            <a:ext cx="8490160" cy="428822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26922" y="268162"/>
            <a:ext cx="8490160" cy="374480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67142588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6920" y="1285286"/>
            <a:ext cx="4136232" cy="321557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849" y="1285286"/>
            <a:ext cx="4136232" cy="321557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107802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9758" y="1285289"/>
            <a:ext cx="4133382" cy="268031"/>
          </a:xfrm>
        </p:spPr>
        <p:txBody>
          <a:bodyPr anchor="t" anchorCtr="0"/>
          <a:lstStyle>
            <a:lvl1pPr marL="0" indent="0">
              <a:buNone/>
              <a:defRPr sz="1400" b="0"/>
            </a:lvl1pPr>
            <a:lvl2pPr marL="343407" indent="0">
              <a:buNone/>
              <a:defRPr sz="1500" b="1"/>
            </a:lvl2pPr>
            <a:lvl3pPr marL="686817" indent="0">
              <a:buNone/>
              <a:defRPr sz="1400" b="1"/>
            </a:lvl3pPr>
            <a:lvl4pPr marL="1030225" indent="0">
              <a:buNone/>
              <a:defRPr sz="1200" b="1"/>
            </a:lvl4pPr>
            <a:lvl5pPr marL="1373632" indent="0">
              <a:buNone/>
              <a:defRPr sz="1200" b="1"/>
            </a:lvl5pPr>
            <a:lvl6pPr marL="1717041" indent="0">
              <a:buNone/>
              <a:defRPr sz="1200" b="1"/>
            </a:lvl6pPr>
            <a:lvl7pPr marL="2060451" indent="0">
              <a:buNone/>
              <a:defRPr sz="1200" b="1"/>
            </a:lvl7pPr>
            <a:lvl8pPr marL="2403858" indent="0">
              <a:buNone/>
              <a:defRPr sz="1200" b="1"/>
            </a:lvl8pPr>
            <a:lvl9pPr marL="2747265" indent="0">
              <a:buNone/>
              <a:defRPr sz="12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6920" y="1660821"/>
            <a:ext cx="4136232" cy="284004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0852" y="1285289"/>
            <a:ext cx="4136231" cy="268031"/>
          </a:xfrm>
        </p:spPr>
        <p:txBody>
          <a:bodyPr anchor="t" anchorCtr="0"/>
          <a:lstStyle>
            <a:lvl1pPr marL="0" indent="0">
              <a:buNone/>
              <a:defRPr sz="1400" b="0"/>
            </a:lvl1pPr>
            <a:lvl2pPr marL="343407" indent="0">
              <a:buNone/>
              <a:defRPr sz="1500" b="1"/>
            </a:lvl2pPr>
            <a:lvl3pPr marL="686817" indent="0">
              <a:buNone/>
              <a:defRPr sz="1400" b="1"/>
            </a:lvl3pPr>
            <a:lvl4pPr marL="1030225" indent="0">
              <a:buNone/>
              <a:defRPr sz="1200" b="1"/>
            </a:lvl4pPr>
            <a:lvl5pPr marL="1373632" indent="0">
              <a:buNone/>
              <a:defRPr sz="1200" b="1"/>
            </a:lvl5pPr>
            <a:lvl6pPr marL="1717041" indent="0">
              <a:buNone/>
              <a:defRPr sz="1200" b="1"/>
            </a:lvl6pPr>
            <a:lvl7pPr marL="2060451" indent="0">
              <a:buNone/>
              <a:defRPr sz="1200" b="1"/>
            </a:lvl7pPr>
            <a:lvl8pPr marL="2403858" indent="0">
              <a:buNone/>
              <a:defRPr sz="1200" b="1"/>
            </a:lvl8pPr>
            <a:lvl9pPr marL="2747265" indent="0">
              <a:buNone/>
              <a:defRPr sz="12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0852" y="1660821"/>
            <a:ext cx="4136231" cy="284004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548521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6925" y="1660821"/>
            <a:ext cx="4136231" cy="284004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0853" y="1660821"/>
            <a:ext cx="4136231" cy="284004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26922" y="642643"/>
            <a:ext cx="8490160" cy="428822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/>
          </p:nvPr>
        </p:nvSpPr>
        <p:spPr>
          <a:xfrm>
            <a:off x="326922" y="268162"/>
            <a:ext cx="8490160" cy="374480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329758" y="1285289"/>
            <a:ext cx="4133382" cy="268031"/>
          </a:xfrm>
        </p:spPr>
        <p:txBody>
          <a:bodyPr anchor="t" anchorCtr="0"/>
          <a:lstStyle>
            <a:lvl1pPr marL="0" indent="0">
              <a:buNone/>
              <a:defRPr sz="1400" b="0"/>
            </a:lvl1pPr>
            <a:lvl2pPr marL="343407" indent="0">
              <a:buNone/>
              <a:defRPr sz="1500" b="1"/>
            </a:lvl2pPr>
            <a:lvl3pPr marL="686817" indent="0">
              <a:buNone/>
              <a:defRPr sz="1400" b="1"/>
            </a:lvl3pPr>
            <a:lvl4pPr marL="1030225" indent="0">
              <a:buNone/>
              <a:defRPr sz="1200" b="1"/>
            </a:lvl4pPr>
            <a:lvl5pPr marL="1373632" indent="0">
              <a:buNone/>
              <a:defRPr sz="1200" b="1"/>
            </a:lvl5pPr>
            <a:lvl6pPr marL="1717041" indent="0">
              <a:buNone/>
              <a:defRPr sz="1200" b="1"/>
            </a:lvl6pPr>
            <a:lvl7pPr marL="2060451" indent="0">
              <a:buNone/>
              <a:defRPr sz="1200" b="1"/>
            </a:lvl7pPr>
            <a:lvl8pPr marL="2403858" indent="0">
              <a:buNone/>
              <a:defRPr sz="1200" b="1"/>
            </a:lvl8pPr>
            <a:lvl9pPr marL="2747265" indent="0">
              <a:buNone/>
              <a:defRPr sz="12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0852" y="1285289"/>
            <a:ext cx="4136231" cy="268031"/>
          </a:xfrm>
        </p:spPr>
        <p:txBody>
          <a:bodyPr anchor="t" anchorCtr="0"/>
          <a:lstStyle>
            <a:lvl1pPr marL="0" indent="0">
              <a:buNone/>
              <a:defRPr sz="1400" b="0"/>
            </a:lvl1pPr>
            <a:lvl2pPr marL="343407" indent="0">
              <a:buNone/>
              <a:defRPr sz="1500" b="1"/>
            </a:lvl2pPr>
            <a:lvl3pPr marL="686817" indent="0">
              <a:buNone/>
              <a:defRPr sz="1400" b="1"/>
            </a:lvl3pPr>
            <a:lvl4pPr marL="1030225" indent="0">
              <a:buNone/>
              <a:defRPr sz="1200" b="1"/>
            </a:lvl4pPr>
            <a:lvl5pPr marL="1373632" indent="0">
              <a:buNone/>
              <a:defRPr sz="1200" b="1"/>
            </a:lvl5pPr>
            <a:lvl6pPr marL="1717041" indent="0">
              <a:buNone/>
              <a:defRPr sz="1200" b="1"/>
            </a:lvl6pPr>
            <a:lvl7pPr marL="2060451" indent="0">
              <a:buNone/>
              <a:defRPr sz="1200" b="1"/>
            </a:lvl7pPr>
            <a:lvl8pPr marL="2403858" indent="0">
              <a:buNone/>
              <a:defRPr sz="1200" b="1"/>
            </a:lvl8pPr>
            <a:lvl9pPr marL="2747265" indent="0">
              <a:buNone/>
              <a:defRPr sz="12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49315550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0" y="1285286"/>
            <a:ext cx="6530892" cy="3215573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183458" y="1285286"/>
            <a:ext cx="1633622" cy="3215573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327612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5" y="1285286"/>
            <a:ext cx="4897193" cy="3215573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551634" y="1285286"/>
            <a:ext cx="3265446" cy="321557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187996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26922" y="642643"/>
            <a:ext cx="8490160" cy="3858216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816485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26922" y="642643"/>
            <a:ext cx="8490160" cy="3858216"/>
          </a:xfrm>
          <a:prstGeom prst="corner">
            <a:avLst>
              <a:gd name="adj1" fmla="val 83349"/>
              <a:gd name="adj2" fmla="val 1248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fi-FI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333938" y="642645"/>
            <a:ext cx="3483142" cy="535916"/>
          </a:xfrm>
        </p:spPr>
        <p:txBody>
          <a:bodyPr/>
          <a:lstStyle>
            <a:lvl1pPr marL="0" indent="0">
              <a:spcAft>
                <a:spcPts val="150"/>
              </a:spcAft>
              <a:buFontTx/>
              <a:buNone/>
              <a:defRPr sz="12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466422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185812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83457" y="268162"/>
            <a:ext cx="1306628" cy="106633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CCD0BAD9-1B0A-488D-B593-6527745204A7}" type="datetime3">
              <a:rPr lang="en-US" smtClean="0"/>
              <a:pPr/>
              <a:t>3 December 2015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6921" y="268162"/>
            <a:ext cx="6856536" cy="106633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90085" y="268162"/>
            <a:ext cx="326994" cy="106633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/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" y="1"/>
            <a:ext cx="9143999" cy="51435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120" y="1280485"/>
            <a:ext cx="3919809" cy="1297247"/>
          </a:xfrm>
          <a:solidFill>
            <a:schemeClr val="bg1"/>
          </a:solidFill>
        </p:spPr>
        <p:txBody>
          <a:bodyPr wrap="square" lIns="270400" tIns="243360" rIns="270400" bIns="243360" anchor="b" anchorCtr="0">
            <a:spAutoFit/>
          </a:bodyPr>
          <a:lstStyle>
            <a:lvl1pPr>
              <a:defRPr sz="2700"/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99790345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6"/>
            <a:ext cx="8490160" cy="3215573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26921" y="268162"/>
            <a:ext cx="5877802" cy="793644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966514" y="1"/>
            <a:ext cx="544181" cy="5358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7510752" y="535547"/>
            <a:ext cx="1632873" cy="5358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422062" y="535547"/>
            <a:ext cx="544181" cy="5358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377256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8599823" y="300042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8055371" y="353671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8599823" y="407211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7021310" y="4607657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6"/>
            <a:ext cx="8490160" cy="3215573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fi-FI"/>
          </a:p>
        </p:txBody>
      </p:sp>
      <p:pic>
        <p:nvPicPr>
          <p:cNvPr id="26" name="Afbeelding 25" descr="logo_SBS_sanoma_wi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2" y="4661536"/>
            <a:ext cx="1306178" cy="250182"/>
          </a:xfrm>
          <a:prstGeom prst="rect">
            <a:avLst/>
          </a:prstGeom>
        </p:spPr>
      </p:pic>
      <p:pic>
        <p:nvPicPr>
          <p:cNvPr id="27" name="Afbeelding 2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8" y="4776939"/>
            <a:ext cx="1306173" cy="15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381829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 userDrawn="1"/>
        </p:nvSpPr>
        <p:spPr>
          <a:xfrm>
            <a:off x="8055371" y="353671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8599823" y="407211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7021310" y="4607657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6"/>
            <a:ext cx="8490160" cy="3215573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fi-FI"/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8" y="4776939"/>
            <a:ext cx="1306173" cy="15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169320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8599823" y="407211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7021310" y="4607657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81" tIns="34341" rIns="68681" bIns="343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817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6"/>
            <a:ext cx="8490160" cy="3215573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fi-FI"/>
          </a:p>
        </p:txBody>
      </p:sp>
      <p:pic>
        <p:nvPicPr>
          <p:cNvPr id="23" name="Afbeelding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8" y="4776939"/>
            <a:ext cx="1306173" cy="15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266581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779870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779739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26922" y="857054"/>
            <a:ext cx="8490160" cy="3643805"/>
          </a:xfrm>
        </p:spPr>
        <p:txBody>
          <a:bodyPr/>
          <a:lstStyle>
            <a:lvl1pPr marL="200321" indent="-200321">
              <a:spcAft>
                <a:spcPts val="150"/>
              </a:spcAft>
              <a:defRPr sz="1100"/>
            </a:lvl1pPr>
            <a:lvl2pPr marL="405414" indent="-205090">
              <a:spcAft>
                <a:spcPts val="150"/>
              </a:spcAft>
              <a:defRPr sz="900"/>
            </a:lvl2pPr>
            <a:lvl3pPr marL="605735" indent="-200321">
              <a:spcAft>
                <a:spcPts val="150"/>
              </a:spcAft>
              <a:defRPr sz="800"/>
            </a:lvl3pPr>
            <a:lvl4pPr marL="804864" indent="-199129">
              <a:spcAft>
                <a:spcPts val="150"/>
              </a:spcAft>
              <a:defRPr sz="800"/>
            </a:lvl4pPr>
            <a:lvl5pPr marL="1011149" indent="-206282">
              <a:spcAft>
                <a:spcPts val="150"/>
              </a:spcAft>
              <a:defRPr sz="8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29070" y="268161"/>
            <a:ext cx="8488010" cy="267904"/>
          </a:xfrm>
        </p:spPr>
        <p:txBody>
          <a:bodyPr anchor="t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28758" y="535547"/>
            <a:ext cx="8488323" cy="214337"/>
          </a:xfrm>
        </p:spPr>
        <p:txBody>
          <a:bodyPr/>
          <a:lstStyle>
            <a:lvl1pPr marL="0" indent="0">
              <a:buFontTx/>
              <a:buNone/>
              <a:defRPr sz="11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26357" y="4500858"/>
            <a:ext cx="8490723" cy="267846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sz="6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0059A1-0099-4B10-A5CF-27E515FB5E4A}" type="datetime3">
              <a:rPr lang="en-US" smtClean="0">
                <a:solidFill>
                  <a:srgbClr val="999999"/>
                </a:solidFill>
              </a:rPr>
              <a:pPr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879069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.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SBS_sanoma_wi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733" y="1821570"/>
            <a:ext cx="3918535" cy="750546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305432" y="3214399"/>
            <a:ext cx="6531943" cy="1286465"/>
          </a:xfrm>
        </p:spPr>
        <p:txBody>
          <a:bodyPr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  <a:lvl2pPr marL="268287" indent="0" algn="ctr">
              <a:buFontTx/>
              <a:buNone/>
              <a:defRPr sz="1400"/>
            </a:lvl2pPr>
            <a:lvl3pPr marL="536576" indent="0" algn="ctr">
              <a:buFontTx/>
              <a:buNone/>
              <a:defRPr sz="1200"/>
            </a:lvl3pPr>
            <a:lvl4pPr marL="804863" indent="0" algn="ctr">
              <a:buFontTx/>
              <a:buNone/>
              <a:defRPr sz="1100"/>
            </a:lvl4pPr>
            <a:lvl5pPr marL="1080308" indent="0" algn="ctr">
              <a:buFontTx/>
              <a:buNone/>
              <a:defRPr sz="11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00059A1-0099-4B10-A5CF-27E515FB5E4A}" type="datetime3">
              <a:rPr lang="en-US" smtClean="0"/>
              <a:pPr/>
              <a:t>3 December 2015</a:t>
            </a:fld>
            <a:endParaRPr lang="fi-FI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Presentation name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90408730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Divi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26935" y="2571755"/>
            <a:ext cx="5551109" cy="1929107"/>
          </a:xfrm>
        </p:spPr>
        <p:txBody>
          <a:bodyPr anchor="b" anchorCtr="0"/>
          <a:lstStyle>
            <a:lvl1pPr>
              <a:defRPr sz="2300" b="1"/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4" name="Freeform 16"/>
          <p:cNvSpPr>
            <a:spLocks noChangeAspect="1" noEditPoints="1"/>
          </p:cNvSpPr>
          <p:nvPr userDrawn="1"/>
        </p:nvSpPr>
        <p:spPr bwMode="auto">
          <a:xfrm>
            <a:off x="6530751" y="1274098"/>
            <a:ext cx="1305429" cy="1285880"/>
          </a:xfrm>
          <a:custGeom>
            <a:avLst/>
            <a:gdLst>
              <a:gd name="T0" fmla="*/ 653 w 908"/>
              <a:gd name="T1" fmla="*/ 675 h 907"/>
              <a:gd name="T2" fmla="*/ 651 w 908"/>
              <a:gd name="T3" fmla="*/ 382 h 907"/>
              <a:gd name="T4" fmla="*/ 644 w 908"/>
              <a:gd name="T5" fmla="*/ 348 h 907"/>
              <a:gd name="T6" fmla="*/ 630 w 908"/>
              <a:gd name="T7" fmla="*/ 320 h 907"/>
              <a:gd name="T8" fmla="*/ 613 w 908"/>
              <a:gd name="T9" fmla="*/ 305 h 907"/>
              <a:gd name="T10" fmla="*/ 595 w 908"/>
              <a:gd name="T11" fmla="*/ 298 h 907"/>
              <a:gd name="T12" fmla="*/ 579 w 908"/>
              <a:gd name="T13" fmla="*/ 296 h 907"/>
              <a:gd name="T14" fmla="*/ 565 w 908"/>
              <a:gd name="T15" fmla="*/ 298 h 907"/>
              <a:gd name="T16" fmla="*/ 546 w 908"/>
              <a:gd name="T17" fmla="*/ 304 h 907"/>
              <a:gd name="T18" fmla="*/ 526 w 908"/>
              <a:gd name="T19" fmla="*/ 320 h 907"/>
              <a:gd name="T20" fmla="*/ 514 w 908"/>
              <a:gd name="T21" fmla="*/ 337 h 907"/>
              <a:gd name="T22" fmla="*/ 507 w 908"/>
              <a:gd name="T23" fmla="*/ 354 h 907"/>
              <a:gd name="T24" fmla="*/ 502 w 908"/>
              <a:gd name="T25" fmla="*/ 375 h 907"/>
              <a:gd name="T26" fmla="*/ 499 w 908"/>
              <a:gd name="T27" fmla="*/ 411 h 907"/>
              <a:gd name="T28" fmla="*/ 410 w 908"/>
              <a:gd name="T29" fmla="*/ 409 h 907"/>
              <a:gd name="T30" fmla="*/ 408 w 908"/>
              <a:gd name="T31" fmla="*/ 374 h 907"/>
              <a:gd name="T32" fmla="*/ 398 w 908"/>
              <a:gd name="T33" fmla="*/ 337 h 907"/>
              <a:gd name="T34" fmla="*/ 382 w 908"/>
              <a:gd name="T35" fmla="*/ 314 h 907"/>
              <a:gd name="T36" fmla="*/ 364 w 908"/>
              <a:gd name="T37" fmla="*/ 302 h 907"/>
              <a:gd name="T38" fmla="*/ 347 w 908"/>
              <a:gd name="T39" fmla="*/ 297 h 907"/>
              <a:gd name="T40" fmla="*/ 333 w 908"/>
              <a:gd name="T41" fmla="*/ 297 h 907"/>
              <a:gd name="T42" fmla="*/ 317 w 908"/>
              <a:gd name="T43" fmla="*/ 299 h 907"/>
              <a:gd name="T44" fmla="*/ 297 w 908"/>
              <a:gd name="T45" fmla="*/ 308 h 907"/>
              <a:gd name="T46" fmla="*/ 278 w 908"/>
              <a:gd name="T47" fmla="*/ 327 h 907"/>
              <a:gd name="T48" fmla="*/ 268 w 908"/>
              <a:gd name="T49" fmla="*/ 348 h 907"/>
              <a:gd name="T50" fmla="*/ 261 w 908"/>
              <a:gd name="T51" fmla="*/ 375 h 907"/>
              <a:gd name="T52" fmla="*/ 258 w 908"/>
              <a:gd name="T53" fmla="*/ 411 h 907"/>
              <a:gd name="T54" fmla="*/ 169 w 908"/>
              <a:gd name="T55" fmla="*/ 230 h 907"/>
              <a:gd name="T56" fmla="*/ 260 w 908"/>
              <a:gd name="T57" fmla="*/ 272 h 907"/>
              <a:gd name="T58" fmla="*/ 277 w 908"/>
              <a:gd name="T59" fmla="*/ 251 h 907"/>
              <a:gd name="T60" fmla="*/ 298 w 908"/>
              <a:gd name="T61" fmla="*/ 237 h 907"/>
              <a:gd name="T62" fmla="*/ 319 w 908"/>
              <a:gd name="T63" fmla="*/ 227 h 907"/>
              <a:gd name="T64" fmla="*/ 348 w 908"/>
              <a:gd name="T65" fmla="*/ 221 h 907"/>
              <a:gd name="T66" fmla="*/ 378 w 908"/>
              <a:gd name="T67" fmla="*/ 222 h 907"/>
              <a:gd name="T68" fmla="*/ 404 w 908"/>
              <a:gd name="T69" fmla="*/ 228 h 907"/>
              <a:gd name="T70" fmla="*/ 427 w 908"/>
              <a:gd name="T71" fmla="*/ 238 h 907"/>
              <a:gd name="T72" fmla="*/ 448 w 908"/>
              <a:gd name="T73" fmla="*/ 254 h 907"/>
              <a:gd name="T74" fmla="*/ 465 w 908"/>
              <a:gd name="T75" fmla="*/ 275 h 907"/>
              <a:gd name="T76" fmla="*/ 481 w 908"/>
              <a:gd name="T77" fmla="*/ 282 h 907"/>
              <a:gd name="T78" fmla="*/ 502 w 908"/>
              <a:gd name="T79" fmla="*/ 257 h 907"/>
              <a:gd name="T80" fmla="*/ 526 w 908"/>
              <a:gd name="T81" fmla="*/ 240 h 907"/>
              <a:gd name="T82" fmla="*/ 552 w 908"/>
              <a:gd name="T83" fmla="*/ 228 h 907"/>
              <a:gd name="T84" fmla="*/ 576 w 908"/>
              <a:gd name="T85" fmla="*/ 222 h 907"/>
              <a:gd name="T86" fmla="*/ 611 w 908"/>
              <a:gd name="T87" fmla="*/ 221 h 907"/>
              <a:gd name="T88" fmla="*/ 649 w 908"/>
              <a:gd name="T89" fmla="*/ 229 h 907"/>
              <a:gd name="T90" fmla="*/ 674 w 908"/>
              <a:gd name="T91" fmla="*/ 240 h 907"/>
              <a:gd name="T92" fmla="*/ 692 w 908"/>
              <a:gd name="T93" fmla="*/ 253 h 907"/>
              <a:gd name="T94" fmla="*/ 707 w 908"/>
              <a:gd name="T95" fmla="*/ 270 h 907"/>
              <a:gd name="T96" fmla="*/ 721 w 908"/>
              <a:gd name="T97" fmla="*/ 290 h 907"/>
              <a:gd name="T98" fmla="*/ 731 w 908"/>
              <a:gd name="T99" fmla="*/ 315 h 907"/>
              <a:gd name="T100" fmla="*/ 739 w 908"/>
              <a:gd name="T101" fmla="*/ 346 h 907"/>
              <a:gd name="T102" fmla="*/ 742 w 908"/>
              <a:gd name="T103" fmla="*/ 381 h 907"/>
              <a:gd name="T104" fmla="*/ 0 w 908"/>
              <a:gd name="T105" fmla="*/ 907 h 907"/>
              <a:gd name="T106" fmla="*/ 908 w 908"/>
              <a:gd name="T107" fmla="*/ 453 h 907"/>
              <a:gd name="T108" fmla="*/ 0 w 908"/>
              <a:gd name="T109" fmla="*/ 0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743" y="408"/>
                </a:moveTo>
                <a:lnTo>
                  <a:pt x="743" y="675"/>
                </a:lnTo>
                <a:lnTo>
                  <a:pt x="653" y="675"/>
                </a:lnTo>
                <a:lnTo>
                  <a:pt x="653" y="409"/>
                </a:lnTo>
                <a:lnTo>
                  <a:pt x="652" y="390"/>
                </a:lnTo>
                <a:lnTo>
                  <a:pt x="651" y="382"/>
                </a:lnTo>
                <a:lnTo>
                  <a:pt x="650" y="374"/>
                </a:lnTo>
                <a:lnTo>
                  <a:pt x="648" y="360"/>
                </a:lnTo>
                <a:lnTo>
                  <a:pt x="644" y="348"/>
                </a:lnTo>
                <a:lnTo>
                  <a:pt x="640" y="337"/>
                </a:lnTo>
                <a:lnTo>
                  <a:pt x="636" y="328"/>
                </a:lnTo>
                <a:lnTo>
                  <a:pt x="630" y="320"/>
                </a:lnTo>
                <a:lnTo>
                  <a:pt x="625" y="314"/>
                </a:lnTo>
                <a:lnTo>
                  <a:pt x="619" y="309"/>
                </a:lnTo>
                <a:lnTo>
                  <a:pt x="613" y="305"/>
                </a:lnTo>
                <a:lnTo>
                  <a:pt x="607" y="302"/>
                </a:lnTo>
                <a:lnTo>
                  <a:pt x="601" y="299"/>
                </a:lnTo>
                <a:lnTo>
                  <a:pt x="595" y="298"/>
                </a:lnTo>
                <a:lnTo>
                  <a:pt x="589" y="297"/>
                </a:lnTo>
                <a:lnTo>
                  <a:pt x="584" y="297"/>
                </a:lnTo>
                <a:lnTo>
                  <a:pt x="579" y="296"/>
                </a:lnTo>
                <a:lnTo>
                  <a:pt x="575" y="297"/>
                </a:lnTo>
                <a:lnTo>
                  <a:pt x="571" y="297"/>
                </a:lnTo>
                <a:lnTo>
                  <a:pt x="565" y="298"/>
                </a:lnTo>
                <a:lnTo>
                  <a:pt x="559" y="299"/>
                </a:lnTo>
                <a:lnTo>
                  <a:pt x="552" y="301"/>
                </a:lnTo>
                <a:lnTo>
                  <a:pt x="546" y="304"/>
                </a:lnTo>
                <a:lnTo>
                  <a:pt x="539" y="308"/>
                </a:lnTo>
                <a:lnTo>
                  <a:pt x="532" y="313"/>
                </a:lnTo>
                <a:lnTo>
                  <a:pt x="526" y="320"/>
                </a:lnTo>
                <a:lnTo>
                  <a:pt x="520" y="327"/>
                </a:lnTo>
                <a:lnTo>
                  <a:pt x="517" y="332"/>
                </a:lnTo>
                <a:lnTo>
                  <a:pt x="514" y="337"/>
                </a:lnTo>
                <a:lnTo>
                  <a:pt x="511" y="342"/>
                </a:lnTo>
                <a:lnTo>
                  <a:pt x="509" y="348"/>
                </a:lnTo>
                <a:lnTo>
                  <a:pt x="507" y="354"/>
                </a:lnTo>
                <a:lnTo>
                  <a:pt x="505" y="360"/>
                </a:lnTo>
                <a:lnTo>
                  <a:pt x="503" y="368"/>
                </a:lnTo>
                <a:lnTo>
                  <a:pt x="502" y="375"/>
                </a:lnTo>
                <a:lnTo>
                  <a:pt x="500" y="392"/>
                </a:lnTo>
                <a:lnTo>
                  <a:pt x="499" y="402"/>
                </a:lnTo>
                <a:lnTo>
                  <a:pt x="499" y="411"/>
                </a:lnTo>
                <a:lnTo>
                  <a:pt x="499" y="675"/>
                </a:lnTo>
                <a:lnTo>
                  <a:pt x="410" y="675"/>
                </a:lnTo>
                <a:lnTo>
                  <a:pt x="410" y="409"/>
                </a:lnTo>
                <a:lnTo>
                  <a:pt x="409" y="390"/>
                </a:lnTo>
                <a:lnTo>
                  <a:pt x="409" y="382"/>
                </a:lnTo>
                <a:lnTo>
                  <a:pt x="408" y="374"/>
                </a:lnTo>
                <a:lnTo>
                  <a:pt x="405" y="360"/>
                </a:lnTo>
                <a:lnTo>
                  <a:pt x="402" y="348"/>
                </a:lnTo>
                <a:lnTo>
                  <a:pt x="398" y="337"/>
                </a:lnTo>
                <a:lnTo>
                  <a:pt x="393" y="328"/>
                </a:lnTo>
                <a:lnTo>
                  <a:pt x="388" y="320"/>
                </a:lnTo>
                <a:lnTo>
                  <a:pt x="382" y="314"/>
                </a:lnTo>
                <a:lnTo>
                  <a:pt x="376" y="309"/>
                </a:lnTo>
                <a:lnTo>
                  <a:pt x="370" y="305"/>
                </a:lnTo>
                <a:lnTo>
                  <a:pt x="364" y="302"/>
                </a:lnTo>
                <a:lnTo>
                  <a:pt x="358" y="299"/>
                </a:lnTo>
                <a:lnTo>
                  <a:pt x="352" y="298"/>
                </a:lnTo>
                <a:lnTo>
                  <a:pt x="347" y="297"/>
                </a:lnTo>
                <a:lnTo>
                  <a:pt x="342" y="297"/>
                </a:lnTo>
                <a:lnTo>
                  <a:pt x="337" y="296"/>
                </a:lnTo>
                <a:lnTo>
                  <a:pt x="333" y="297"/>
                </a:lnTo>
                <a:lnTo>
                  <a:pt x="328" y="297"/>
                </a:lnTo>
                <a:lnTo>
                  <a:pt x="323" y="298"/>
                </a:lnTo>
                <a:lnTo>
                  <a:pt x="317" y="299"/>
                </a:lnTo>
                <a:lnTo>
                  <a:pt x="310" y="301"/>
                </a:lnTo>
                <a:lnTo>
                  <a:pt x="304" y="304"/>
                </a:lnTo>
                <a:lnTo>
                  <a:pt x="297" y="308"/>
                </a:lnTo>
                <a:lnTo>
                  <a:pt x="291" y="313"/>
                </a:lnTo>
                <a:lnTo>
                  <a:pt x="284" y="320"/>
                </a:lnTo>
                <a:lnTo>
                  <a:pt x="278" y="327"/>
                </a:lnTo>
                <a:lnTo>
                  <a:pt x="276" y="332"/>
                </a:lnTo>
                <a:lnTo>
                  <a:pt x="273" y="337"/>
                </a:lnTo>
                <a:lnTo>
                  <a:pt x="268" y="348"/>
                </a:lnTo>
                <a:lnTo>
                  <a:pt x="264" y="360"/>
                </a:lnTo>
                <a:lnTo>
                  <a:pt x="262" y="368"/>
                </a:lnTo>
                <a:lnTo>
                  <a:pt x="261" y="375"/>
                </a:lnTo>
                <a:lnTo>
                  <a:pt x="259" y="392"/>
                </a:lnTo>
                <a:lnTo>
                  <a:pt x="259" y="402"/>
                </a:lnTo>
                <a:lnTo>
                  <a:pt x="258" y="411"/>
                </a:lnTo>
                <a:lnTo>
                  <a:pt x="258" y="675"/>
                </a:lnTo>
                <a:lnTo>
                  <a:pt x="169" y="675"/>
                </a:lnTo>
                <a:lnTo>
                  <a:pt x="169" y="230"/>
                </a:lnTo>
                <a:lnTo>
                  <a:pt x="255" y="230"/>
                </a:lnTo>
                <a:lnTo>
                  <a:pt x="255" y="280"/>
                </a:lnTo>
                <a:lnTo>
                  <a:pt x="260" y="272"/>
                </a:lnTo>
                <a:lnTo>
                  <a:pt x="265" y="264"/>
                </a:lnTo>
                <a:lnTo>
                  <a:pt x="271" y="257"/>
                </a:lnTo>
                <a:lnTo>
                  <a:pt x="277" y="251"/>
                </a:lnTo>
                <a:lnTo>
                  <a:pt x="284" y="246"/>
                </a:lnTo>
                <a:lnTo>
                  <a:pt x="291" y="241"/>
                </a:lnTo>
                <a:lnTo>
                  <a:pt x="298" y="237"/>
                </a:lnTo>
                <a:lnTo>
                  <a:pt x="305" y="233"/>
                </a:lnTo>
                <a:lnTo>
                  <a:pt x="312" y="230"/>
                </a:lnTo>
                <a:lnTo>
                  <a:pt x="319" y="227"/>
                </a:lnTo>
                <a:lnTo>
                  <a:pt x="334" y="223"/>
                </a:lnTo>
                <a:lnTo>
                  <a:pt x="341" y="222"/>
                </a:lnTo>
                <a:lnTo>
                  <a:pt x="348" y="221"/>
                </a:lnTo>
                <a:lnTo>
                  <a:pt x="360" y="221"/>
                </a:lnTo>
                <a:lnTo>
                  <a:pt x="369" y="221"/>
                </a:lnTo>
                <a:lnTo>
                  <a:pt x="378" y="222"/>
                </a:lnTo>
                <a:lnTo>
                  <a:pt x="387" y="223"/>
                </a:lnTo>
                <a:lnTo>
                  <a:pt x="395" y="225"/>
                </a:lnTo>
                <a:lnTo>
                  <a:pt x="404" y="228"/>
                </a:lnTo>
                <a:lnTo>
                  <a:pt x="412" y="231"/>
                </a:lnTo>
                <a:lnTo>
                  <a:pt x="419" y="234"/>
                </a:lnTo>
                <a:lnTo>
                  <a:pt x="427" y="238"/>
                </a:lnTo>
                <a:lnTo>
                  <a:pt x="434" y="243"/>
                </a:lnTo>
                <a:lnTo>
                  <a:pt x="441" y="248"/>
                </a:lnTo>
                <a:lnTo>
                  <a:pt x="448" y="254"/>
                </a:lnTo>
                <a:lnTo>
                  <a:pt x="454" y="261"/>
                </a:lnTo>
                <a:lnTo>
                  <a:pt x="460" y="268"/>
                </a:lnTo>
                <a:lnTo>
                  <a:pt x="465" y="275"/>
                </a:lnTo>
                <a:lnTo>
                  <a:pt x="470" y="283"/>
                </a:lnTo>
                <a:lnTo>
                  <a:pt x="475" y="292"/>
                </a:lnTo>
                <a:lnTo>
                  <a:pt x="481" y="282"/>
                </a:lnTo>
                <a:lnTo>
                  <a:pt x="488" y="273"/>
                </a:lnTo>
                <a:lnTo>
                  <a:pt x="495" y="265"/>
                </a:lnTo>
                <a:lnTo>
                  <a:pt x="502" y="257"/>
                </a:lnTo>
                <a:lnTo>
                  <a:pt x="510" y="251"/>
                </a:lnTo>
                <a:lnTo>
                  <a:pt x="518" y="245"/>
                </a:lnTo>
                <a:lnTo>
                  <a:pt x="526" y="240"/>
                </a:lnTo>
                <a:lnTo>
                  <a:pt x="535" y="235"/>
                </a:lnTo>
                <a:lnTo>
                  <a:pt x="543" y="232"/>
                </a:lnTo>
                <a:lnTo>
                  <a:pt x="552" y="228"/>
                </a:lnTo>
                <a:lnTo>
                  <a:pt x="560" y="226"/>
                </a:lnTo>
                <a:lnTo>
                  <a:pt x="568" y="224"/>
                </a:lnTo>
                <a:lnTo>
                  <a:pt x="576" y="222"/>
                </a:lnTo>
                <a:lnTo>
                  <a:pt x="584" y="221"/>
                </a:lnTo>
                <a:lnTo>
                  <a:pt x="598" y="221"/>
                </a:lnTo>
                <a:lnTo>
                  <a:pt x="611" y="221"/>
                </a:lnTo>
                <a:lnTo>
                  <a:pt x="624" y="223"/>
                </a:lnTo>
                <a:lnTo>
                  <a:pt x="636" y="225"/>
                </a:lnTo>
                <a:lnTo>
                  <a:pt x="649" y="229"/>
                </a:lnTo>
                <a:lnTo>
                  <a:pt x="662" y="234"/>
                </a:lnTo>
                <a:lnTo>
                  <a:pt x="668" y="237"/>
                </a:lnTo>
                <a:lnTo>
                  <a:pt x="674" y="240"/>
                </a:lnTo>
                <a:lnTo>
                  <a:pt x="680" y="244"/>
                </a:lnTo>
                <a:lnTo>
                  <a:pt x="686" y="248"/>
                </a:lnTo>
                <a:lnTo>
                  <a:pt x="692" y="253"/>
                </a:lnTo>
                <a:lnTo>
                  <a:pt x="697" y="258"/>
                </a:lnTo>
                <a:lnTo>
                  <a:pt x="702" y="264"/>
                </a:lnTo>
                <a:lnTo>
                  <a:pt x="707" y="270"/>
                </a:lnTo>
                <a:lnTo>
                  <a:pt x="712" y="276"/>
                </a:lnTo>
                <a:lnTo>
                  <a:pt x="716" y="283"/>
                </a:lnTo>
                <a:lnTo>
                  <a:pt x="721" y="290"/>
                </a:lnTo>
                <a:lnTo>
                  <a:pt x="724" y="298"/>
                </a:lnTo>
                <a:lnTo>
                  <a:pt x="728" y="307"/>
                </a:lnTo>
                <a:lnTo>
                  <a:pt x="731" y="315"/>
                </a:lnTo>
                <a:lnTo>
                  <a:pt x="734" y="325"/>
                </a:lnTo>
                <a:lnTo>
                  <a:pt x="736" y="335"/>
                </a:lnTo>
                <a:lnTo>
                  <a:pt x="739" y="346"/>
                </a:lnTo>
                <a:lnTo>
                  <a:pt x="740" y="357"/>
                </a:lnTo>
                <a:lnTo>
                  <a:pt x="741" y="369"/>
                </a:lnTo>
                <a:lnTo>
                  <a:pt x="742" y="381"/>
                </a:lnTo>
                <a:lnTo>
                  <a:pt x="743" y="394"/>
                </a:lnTo>
                <a:lnTo>
                  <a:pt x="743" y="408"/>
                </a:lnTo>
                <a:close/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</a:path>
            </a:pathLst>
          </a:custGeom>
          <a:solidFill>
            <a:srgbClr val="19F1C2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5" name="Freeform 17"/>
          <p:cNvSpPr>
            <a:spLocks noChangeAspect="1" noEditPoints="1"/>
          </p:cNvSpPr>
          <p:nvPr userDrawn="1"/>
        </p:nvSpPr>
        <p:spPr bwMode="auto">
          <a:xfrm>
            <a:off x="3918089" y="-595"/>
            <a:ext cx="1306033" cy="1285880"/>
          </a:xfrm>
          <a:custGeom>
            <a:avLst/>
            <a:gdLst>
              <a:gd name="T0" fmla="*/ 587 w 907"/>
              <a:gd name="T1" fmla="*/ 676 h 908"/>
              <a:gd name="T2" fmla="*/ 587 w 907"/>
              <a:gd name="T3" fmla="*/ 444 h 908"/>
              <a:gd name="T4" fmla="*/ 586 w 907"/>
              <a:gd name="T5" fmla="*/ 428 h 908"/>
              <a:gd name="T6" fmla="*/ 583 w 907"/>
              <a:gd name="T7" fmla="*/ 412 h 908"/>
              <a:gd name="T8" fmla="*/ 580 w 907"/>
              <a:gd name="T9" fmla="*/ 397 h 908"/>
              <a:gd name="T10" fmla="*/ 575 w 907"/>
              <a:gd name="T11" fmla="*/ 383 h 908"/>
              <a:gd name="T12" fmla="*/ 566 w 907"/>
              <a:gd name="T13" fmla="*/ 364 h 908"/>
              <a:gd name="T14" fmla="*/ 555 w 907"/>
              <a:gd name="T15" fmla="*/ 347 h 908"/>
              <a:gd name="T16" fmla="*/ 546 w 907"/>
              <a:gd name="T17" fmla="*/ 337 h 908"/>
              <a:gd name="T18" fmla="*/ 532 w 907"/>
              <a:gd name="T19" fmla="*/ 325 h 908"/>
              <a:gd name="T20" fmla="*/ 516 w 907"/>
              <a:gd name="T21" fmla="*/ 314 h 908"/>
              <a:gd name="T22" fmla="*/ 504 w 907"/>
              <a:gd name="T23" fmla="*/ 309 h 908"/>
              <a:gd name="T24" fmla="*/ 492 w 907"/>
              <a:gd name="T25" fmla="*/ 305 h 908"/>
              <a:gd name="T26" fmla="*/ 479 w 907"/>
              <a:gd name="T27" fmla="*/ 303 h 908"/>
              <a:gd name="T28" fmla="*/ 460 w 907"/>
              <a:gd name="T29" fmla="*/ 301 h 908"/>
              <a:gd name="T30" fmla="*/ 439 w 907"/>
              <a:gd name="T31" fmla="*/ 302 h 908"/>
              <a:gd name="T32" fmla="*/ 419 w 907"/>
              <a:gd name="T33" fmla="*/ 307 h 908"/>
              <a:gd name="T34" fmla="*/ 407 w 907"/>
              <a:gd name="T35" fmla="*/ 312 h 908"/>
              <a:gd name="T36" fmla="*/ 395 w 907"/>
              <a:gd name="T37" fmla="*/ 317 h 908"/>
              <a:gd name="T38" fmla="*/ 383 w 907"/>
              <a:gd name="T39" fmla="*/ 325 h 908"/>
              <a:gd name="T40" fmla="*/ 373 w 907"/>
              <a:gd name="T41" fmla="*/ 333 h 908"/>
              <a:gd name="T42" fmla="*/ 363 w 907"/>
              <a:gd name="T43" fmla="*/ 343 h 908"/>
              <a:gd name="T44" fmla="*/ 354 w 907"/>
              <a:gd name="T45" fmla="*/ 354 h 908"/>
              <a:gd name="T46" fmla="*/ 345 w 907"/>
              <a:gd name="T47" fmla="*/ 366 h 908"/>
              <a:gd name="T48" fmla="*/ 335 w 907"/>
              <a:gd name="T49" fmla="*/ 387 h 908"/>
              <a:gd name="T50" fmla="*/ 327 w 907"/>
              <a:gd name="T51" fmla="*/ 410 h 908"/>
              <a:gd name="T52" fmla="*/ 324 w 907"/>
              <a:gd name="T53" fmla="*/ 427 h 908"/>
              <a:gd name="T54" fmla="*/ 321 w 907"/>
              <a:gd name="T55" fmla="*/ 446 h 908"/>
              <a:gd name="T56" fmla="*/ 321 w 907"/>
              <a:gd name="T57" fmla="*/ 676 h 908"/>
              <a:gd name="T58" fmla="*/ 231 w 907"/>
              <a:gd name="T59" fmla="*/ 230 h 908"/>
              <a:gd name="T60" fmla="*/ 318 w 907"/>
              <a:gd name="T61" fmla="*/ 305 h 908"/>
              <a:gd name="T62" fmla="*/ 329 w 907"/>
              <a:gd name="T63" fmla="*/ 286 h 908"/>
              <a:gd name="T64" fmla="*/ 344 w 907"/>
              <a:gd name="T65" fmla="*/ 270 h 908"/>
              <a:gd name="T66" fmla="*/ 352 w 907"/>
              <a:gd name="T67" fmla="*/ 262 h 908"/>
              <a:gd name="T68" fmla="*/ 371 w 907"/>
              <a:gd name="T69" fmla="*/ 249 h 908"/>
              <a:gd name="T70" fmla="*/ 392 w 907"/>
              <a:gd name="T71" fmla="*/ 238 h 908"/>
              <a:gd name="T72" fmla="*/ 414 w 907"/>
              <a:gd name="T73" fmla="*/ 230 h 908"/>
              <a:gd name="T74" fmla="*/ 438 w 907"/>
              <a:gd name="T75" fmla="*/ 224 h 908"/>
              <a:gd name="T76" fmla="*/ 461 w 907"/>
              <a:gd name="T77" fmla="*/ 221 h 908"/>
              <a:gd name="T78" fmla="*/ 492 w 907"/>
              <a:gd name="T79" fmla="*/ 221 h 908"/>
              <a:gd name="T80" fmla="*/ 520 w 907"/>
              <a:gd name="T81" fmla="*/ 225 h 908"/>
              <a:gd name="T82" fmla="*/ 538 w 907"/>
              <a:gd name="T83" fmla="*/ 230 h 908"/>
              <a:gd name="T84" fmla="*/ 556 w 907"/>
              <a:gd name="T85" fmla="*/ 236 h 908"/>
              <a:gd name="T86" fmla="*/ 573 w 907"/>
              <a:gd name="T87" fmla="*/ 244 h 908"/>
              <a:gd name="T88" fmla="*/ 590 w 907"/>
              <a:gd name="T89" fmla="*/ 253 h 908"/>
              <a:gd name="T90" fmla="*/ 605 w 907"/>
              <a:gd name="T91" fmla="*/ 265 h 908"/>
              <a:gd name="T92" fmla="*/ 619 w 907"/>
              <a:gd name="T93" fmla="*/ 278 h 908"/>
              <a:gd name="T94" fmla="*/ 632 w 907"/>
              <a:gd name="T95" fmla="*/ 293 h 908"/>
              <a:gd name="T96" fmla="*/ 644 w 907"/>
              <a:gd name="T97" fmla="*/ 310 h 908"/>
              <a:gd name="T98" fmla="*/ 654 w 907"/>
              <a:gd name="T99" fmla="*/ 328 h 908"/>
              <a:gd name="T100" fmla="*/ 663 w 907"/>
              <a:gd name="T101" fmla="*/ 349 h 908"/>
              <a:gd name="T102" fmla="*/ 669 w 907"/>
              <a:gd name="T103" fmla="*/ 372 h 908"/>
              <a:gd name="T104" fmla="*/ 674 w 907"/>
              <a:gd name="T105" fmla="*/ 397 h 908"/>
              <a:gd name="T106" fmla="*/ 676 w 907"/>
              <a:gd name="T107" fmla="*/ 424 h 908"/>
              <a:gd name="T108" fmla="*/ 676 w 907"/>
              <a:gd name="T109" fmla="*/ 676 h 908"/>
              <a:gd name="T110" fmla="*/ 453 w 907"/>
              <a:gd name="T111" fmla="*/ 908 h 908"/>
              <a:gd name="T112" fmla="*/ 907 w 907"/>
              <a:gd name="T113" fmla="*/ 453 h 908"/>
              <a:gd name="T114" fmla="*/ 453 w 907"/>
              <a:gd name="T115" fmla="*/ 0 h 908"/>
              <a:gd name="T116" fmla="*/ 0 w 907"/>
              <a:gd name="T117" fmla="*/ 453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7" h="908">
                <a:moveTo>
                  <a:pt x="676" y="676"/>
                </a:moveTo>
                <a:lnTo>
                  <a:pt x="587" y="676"/>
                </a:lnTo>
                <a:lnTo>
                  <a:pt x="587" y="453"/>
                </a:lnTo>
                <a:lnTo>
                  <a:pt x="587" y="444"/>
                </a:lnTo>
                <a:lnTo>
                  <a:pt x="586" y="436"/>
                </a:lnTo>
                <a:lnTo>
                  <a:pt x="586" y="428"/>
                </a:lnTo>
                <a:lnTo>
                  <a:pt x="585" y="420"/>
                </a:lnTo>
                <a:lnTo>
                  <a:pt x="583" y="412"/>
                </a:lnTo>
                <a:lnTo>
                  <a:pt x="581" y="404"/>
                </a:lnTo>
                <a:lnTo>
                  <a:pt x="580" y="397"/>
                </a:lnTo>
                <a:lnTo>
                  <a:pt x="577" y="390"/>
                </a:lnTo>
                <a:lnTo>
                  <a:pt x="575" y="383"/>
                </a:lnTo>
                <a:lnTo>
                  <a:pt x="572" y="376"/>
                </a:lnTo>
                <a:lnTo>
                  <a:pt x="566" y="364"/>
                </a:lnTo>
                <a:lnTo>
                  <a:pt x="559" y="352"/>
                </a:lnTo>
                <a:lnTo>
                  <a:pt x="555" y="347"/>
                </a:lnTo>
                <a:lnTo>
                  <a:pt x="550" y="342"/>
                </a:lnTo>
                <a:lnTo>
                  <a:pt x="546" y="337"/>
                </a:lnTo>
                <a:lnTo>
                  <a:pt x="541" y="333"/>
                </a:lnTo>
                <a:lnTo>
                  <a:pt x="532" y="325"/>
                </a:lnTo>
                <a:lnTo>
                  <a:pt x="521" y="317"/>
                </a:lnTo>
                <a:lnTo>
                  <a:pt x="516" y="314"/>
                </a:lnTo>
                <a:lnTo>
                  <a:pt x="510" y="312"/>
                </a:lnTo>
                <a:lnTo>
                  <a:pt x="504" y="309"/>
                </a:lnTo>
                <a:lnTo>
                  <a:pt x="498" y="307"/>
                </a:lnTo>
                <a:lnTo>
                  <a:pt x="492" y="305"/>
                </a:lnTo>
                <a:lnTo>
                  <a:pt x="486" y="304"/>
                </a:lnTo>
                <a:lnTo>
                  <a:pt x="479" y="303"/>
                </a:lnTo>
                <a:lnTo>
                  <a:pt x="473" y="302"/>
                </a:lnTo>
                <a:lnTo>
                  <a:pt x="460" y="301"/>
                </a:lnTo>
                <a:lnTo>
                  <a:pt x="446" y="302"/>
                </a:lnTo>
                <a:lnTo>
                  <a:pt x="439" y="302"/>
                </a:lnTo>
                <a:lnTo>
                  <a:pt x="432" y="304"/>
                </a:lnTo>
                <a:lnTo>
                  <a:pt x="419" y="307"/>
                </a:lnTo>
                <a:lnTo>
                  <a:pt x="413" y="309"/>
                </a:lnTo>
                <a:lnTo>
                  <a:pt x="407" y="312"/>
                </a:lnTo>
                <a:lnTo>
                  <a:pt x="401" y="314"/>
                </a:lnTo>
                <a:lnTo>
                  <a:pt x="395" y="317"/>
                </a:lnTo>
                <a:lnTo>
                  <a:pt x="389" y="321"/>
                </a:lnTo>
                <a:lnTo>
                  <a:pt x="383" y="325"/>
                </a:lnTo>
                <a:lnTo>
                  <a:pt x="378" y="329"/>
                </a:lnTo>
                <a:lnTo>
                  <a:pt x="373" y="333"/>
                </a:lnTo>
                <a:lnTo>
                  <a:pt x="367" y="338"/>
                </a:lnTo>
                <a:lnTo>
                  <a:pt x="363" y="343"/>
                </a:lnTo>
                <a:lnTo>
                  <a:pt x="358" y="348"/>
                </a:lnTo>
                <a:lnTo>
                  <a:pt x="354" y="354"/>
                </a:lnTo>
                <a:lnTo>
                  <a:pt x="349" y="360"/>
                </a:lnTo>
                <a:lnTo>
                  <a:pt x="345" y="366"/>
                </a:lnTo>
                <a:lnTo>
                  <a:pt x="338" y="380"/>
                </a:lnTo>
                <a:lnTo>
                  <a:pt x="335" y="387"/>
                </a:lnTo>
                <a:lnTo>
                  <a:pt x="332" y="394"/>
                </a:lnTo>
                <a:lnTo>
                  <a:pt x="327" y="410"/>
                </a:lnTo>
                <a:lnTo>
                  <a:pt x="325" y="419"/>
                </a:lnTo>
                <a:lnTo>
                  <a:pt x="324" y="427"/>
                </a:lnTo>
                <a:lnTo>
                  <a:pt x="322" y="436"/>
                </a:lnTo>
                <a:lnTo>
                  <a:pt x="321" y="446"/>
                </a:lnTo>
                <a:lnTo>
                  <a:pt x="321" y="466"/>
                </a:lnTo>
                <a:lnTo>
                  <a:pt x="321" y="676"/>
                </a:lnTo>
                <a:lnTo>
                  <a:pt x="231" y="676"/>
                </a:lnTo>
                <a:lnTo>
                  <a:pt x="231" y="230"/>
                </a:lnTo>
                <a:lnTo>
                  <a:pt x="318" y="230"/>
                </a:lnTo>
                <a:lnTo>
                  <a:pt x="318" y="305"/>
                </a:lnTo>
                <a:lnTo>
                  <a:pt x="323" y="296"/>
                </a:lnTo>
                <a:lnTo>
                  <a:pt x="329" y="286"/>
                </a:lnTo>
                <a:lnTo>
                  <a:pt x="336" y="278"/>
                </a:lnTo>
                <a:lnTo>
                  <a:pt x="344" y="270"/>
                </a:lnTo>
                <a:lnTo>
                  <a:pt x="348" y="266"/>
                </a:lnTo>
                <a:lnTo>
                  <a:pt x="352" y="262"/>
                </a:lnTo>
                <a:lnTo>
                  <a:pt x="361" y="255"/>
                </a:lnTo>
                <a:lnTo>
                  <a:pt x="371" y="249"/>
                </a:lnTo>
                <a:lnTo>
                  <a:pt x="381" y="243"/>
                </a:lnTo>
                <a:lnTo>
                  <a:pt x="392" y="238"/>
                </a:lnTo>
                <a:lnTo>
                  <a:pt x="403" y="233"/>
                </a:lnTo>
                <a:lnTo>
                  <a:pt x="414" y="230"/>
                </a:lnTo>
                <a:lnTo>
                  <a:pt x="426" y="226"/>
                </a:lnTo>
                <a:lnTo>
                  <a:pt x="438" y="224"/>
                </a:lnTo>
                <a:lnTo>
                  <a:pt x="449" y="222"/>
                </a:lnTo>
                <a:lnTo>
                  <a:pt x="461" y="221"/>
                </a:lnTo>
                <a:lnTo>
                  <a:pt x="473" y="221"/>
                </a:lnTo>
                <a:lnTo>
                  <a:pt x="492" y="221"/>
                </a:lnTo>
                <a:lnTo>
                  <a:pt x="511" y="224"/>
                </a:lnTo>
                <a:lnTo>
                  <a:pt x="520" y="225"/>
                </a:lnTo>
                <a:lnTo>
                  <a:pt x="529" y="227"/>
                </a:lnTo>
                <a:lnTo>
                  <a:pt x="538" y="230"/>
                </a:lnTo>
                <a:lnTo>
                  <a:pt x="547" y="233"/>
                </a:lnTo>
                <a:lnTo>
                  <a:pt x="556" y="236"/>
                </a:lnTo>
                <a:lnTo>
                  <a:pt x="565" y="240"/>
                </a:lnTo>
                <a:lnTo>
                  <a:pt x="573" y="244"/>
                </a:lnTo>
                <a:lnTo>
                  <a:pt x="582" y="248"/>
                </a:lnTo>
                <a:lnTo>
                  <a:pt x="590" y="253"/>
                </a:lnTo>
                <a:lnTo>
                  <a:pt x="597" y="259"/>
                </a:lnTo>
                <a:lnTo>
                  <a:pt x="605" y="265"/>
                </a:lnTo>
                <a:lnTo>
                  <a:pt x="612" y="271"/>
                </a:lnTo>
                <a:lnTo>
                  <a:pt x="619" y="278"/>
                </a:lnTo>
                <a:lnTo>
                  <a:pt x="626" y="285"/>
                </a:lnTo>
                <a:lnTo>
                  <a:pt x="632" y="293"/>
                </a:lnTo>
                <a:lnTo>
                  <a:pt x="638" y="301"/>
                </a:lnTo>
                <a:lnTo>
                  <a:pt x="644" y="310"/>
                </a:lnTo>
                <a:lnTo>
                  <a:pt x="649" y="319"/>
                </a:lnTo>
                <a:lnTo>
                  <a:pt x="654" y="328"/>
                </a:lnTo>
                <a:lnTo>
                  <a:pt x="659" y="338"/>
                </a:lnTo>
                <a:lnTo>
                  <a:pt x="663" y="349"/>
                </a:lnTo>
                <a:lnTo>
                  <a:pt x="666" y="360"/>
                </a:lnTo>
                <a:lnTo>
                  <a:pt x="669" y="372"/>
                </a:lnTo>
                <a:lnTo>
                  <a:pt x="672" y="384"/>
                </a:lnTo>
                <a:lnTo>
                  <a:pt x="674" y="397"/>
                </a:lnTo>
                <a:lnTo>
                  <a:pt x="675" y="410"/>
                </a:lnTo>
                <a:lnTo>
                  <a:pt x="676" y="424"/>
                </a:lnTo>
                <a:lnTo>
                  <a:pt x="676" y="438"/>
                </a:lnTo>
                <a:lnTo>
                  <a:pt x="676" y="676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3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rgbClr val="19F1C2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6" name="Freeform 18"/>
          <p:cNvSpPr>
            <a:spLocks noChangeAspect="1" noEditPoints="1"/>
          </p:cNvSpPr>
          <p:nvPr userDrawn="1"/>
        </p:nvSpPr>
        <p:spPr bwMode="auto">
          <a:xfrm>
            <a:off x="7837077" y="-595"/>
            <a:ext cx="1306033" cy="1285880"/>
          </a:xfrm>
          <a:custGeom>
            <a:avLst/>
            <a:gdLst>
              <a:gd name="T0" fmla="*/ 433 w 907"/>
              <a:gd name="T1" fmla="*/ 300 h 908"/>
              <a:gd name="T2" fmla="*/ 403 w 907"/>
              <a:gd name="T3" fmla="*/ 308 h 908"/>
              <a:gd name="T4" fmla="*/ 366 w 907"/>
              <a:gd name="T5" fmla="*/ 332 h 908"/>
              <a:gd name="T6" fmla="*/ 343 w 907"/>
              <a:gd name="T7" fmla="*/ 360 h 908"/>
              <a:gd name="T8" fmla="*/ 325 w 907"/>
              <a:gd name="T9" fmla="*/ 398 h 908"/>
              <a:gd name="T10" fmla="*/ 316 w 907"/>
              <a:gd name="T11" fmla="*/ 455 h 908"/>
              <a:gd name="T12" fmla="*/ 321 w 907"/>
              <a:gd name="T13" fmla="*/ 497 h 908"/>
              <a:gd name="T14" fmla="*/ 330 w 907"/>
              <a:gd name="T15" fmla="*/ 524 h 908"/>
              <a:gd name="T16" fmla="*/ 343 w 907"/>
              <a:gd name="T17" fmla="*/ 549 h 908"/>
              <a:gd name="T18" fmla="*/ 361 w 907"/>
              <a:gd name="T19" fmla="*/ 571 h 908"/>
              <a:gd name="T20" fmla="*/ 383 w 907"/>
              <a:gd name="T21" fmla="*/ 589 h 908"/>
              <a:gd name="T22" fmla="*/ 410 w 907"/>
              <a:gd name="T23" fmla="*/ 603 h 908"/>
              <a:gd name="T24" fmla="*/ 441 w 907"/>
              <a:gd name="T25" fmla="*/ 610 h 908"/>
              <a:gd name="T26" fmla="*/ 484 w 907"/>
              <a:gd name="T27" fmla="*/ 608 h 908"/>
              <a:gd name="T28" fmla="*/ 520 w 907"/>
              <a:gd name="T29" fmla="*/ 596 h 908"/>
              <a:gd name="T30" fmla="*/ 547 w 907"/>
              <a:gd name="T31" fmla="*/ 577 h 908"/>
              <a:gd name="T32" fmla="*/ 565 w 907"/>
              <a:gd name="T33" fmla="*/ 557 h 908"/>
              <a:gd name="T34" fmla="*/ 583 w 907"/>
              <a:gd name="T35" fmla="*/ 524 h 908"/>
              <a:gd name="T36" fmla="*/ 592 w 907"/>
              <a:gd name="T37" fmla="*/ 483 h 908"/>
              <a:gd name="T38" fmla="*/ 594 w 907"/>
              <a:gd name="T39" fmla="*/ 445 h 908"/>
              <a:gd name="T40" fmla="*/ 587 w 907"/>
              <a:gd name="T41" fmla="*/ 400 h 908"/>
              <a:gd name="T42" fmla="*/ 577 w 907"/>
              <a:gd name="T43" fmla="*/ 370 h 908"/>
              <a:gd name="T44" fmla="*/ 561 w 907"/>
              <a:gd name="T45" fmla="*/ 346 h 908"/>
              <a:gd name="T46" fmla="*/ 526 w 907"/>
              <a:gd name="T47" fmla="*/ 315 h 908"/>
              <a:gd name="T48" fmla="*/ 503 w 907"/>
              <a:gd name="T49" fmla="*/ 305 h 908"/>
              <a:gd name="T50" fmla="*/ 471 w 907"/>
              <a:gd name="T51" fmla="*/ 298 h 908"/>
              <a:gd name="T52" fmla="*/ 453 w 907"/>
              <a:gd name="T53" fmla="*/ 908 h 908"/>
              <a:gd name="T54" fmla="*/ 453 w 907"/>
              <a:gd name="T55" fmla="*/ 0 h 908"/>
              <a:gd name="T56" fmla="*/ 681 w 907"/>
              <a:gd name="T57" fmla="*/ 676 h 908"/>
              <a:gd name="T58" fmla="*/ 585 w 907"/>
              <a:gd name="T59" fmla="*/ 631 h 908"/>
              <a:gd name="T60" fmla="*/ 549 w 907"/>
              <a:gd name="T61" fmla="*/ 660 h 908"/>
              <a:gd name="T62" fmla="*/ 514 w 907"/>
              <a:gd name="T63" fmla="*/ 676 h 908"/>
              <a:gd name="T64" fmla="*/ 473 w 907"/>
              <a:gd name="T65" fmla="*/ 685 h 908"/>
              <a:gd name="T66" fmla="*/ 427 w 907"/>
              <a:gd name="T67" fmla="*/ 685 h 908"/>
              <a:gd name="T68" fmla="*/ 382 w 907"/>
              <a:gd name="T69" fmla="*/ 676 h 908"/>
              <a:gd name="T70" fmla="*/ 342 w 907"/>
              <a:gd name="T71" fmla="*/ 658 h 908"/>
              <a:gd name="T72" fmla="*/ 306 w 907"/>
              <a:gd name="T73" fmla="*/ 633 h 908"/>
              <a:gd name="T74" fmla="*/ 276 w 907"/>
              <a:gd name="T75" fmla="*/ 602 h 908"/>
              <a:gd name="T76" fmla="*/ 253 w 907"/>
              <a:gd name="T77" fmla="*/ 565 h 908"/>
              <a:gd name="T78" fmla="*/ 236 w 907"/>
              <a:gd name="T79" fmla="*/ 523 h 908"/>
              <a:gd name="T80" fmla="*/ 228 w 907"/>
              <a:gd name="T81" fmla="*/ 478 h 908"/>
              <a:gd name="T82" fmla="*/ 228 w 907"/>
              <a:gd name="T83" fmla="*/ 430 h 908"/>
              <a:gd name="T84" fmla="*/ 235 w 907"/>
              <a:gd name="T85" fmla="*/ 390 h 908"/>
              <a:gd name="T86" fmla="*/ 248 w 907"/>
              <a:gd name="T87" fmla="*/ 353 h 908"/>
              <a:gd name="T88" fmla="*/ 270 w 907"/>
              <a:gd name="T89" fmla="*/ 315 h 908"/>
              <a:gd name="T90" fmla="*/ 298 w 907"/>
              <a:gd name="T91" fmla="*/ 282 h 908"/>
              <a:gd name="T92" fmla="*/ 323 w 907"/>
              <a:gd name="T93" fmla="*/ 261 h 908"/>
              <a:gd name="T94" fmla="*/ 361 w 907"/>
              <a:gd name="T95" fmla="*/ 240 h 908"/>
              <a:gd name="T96" fmla="*/ 404 w 907"/>
              <a:gd name="T97" fmla="*/ 227 h 908"/>
              <a:gd name="T98" fmla="*/ 451 w 907"/>
              <a:gd name="T99" fmla="*/ 222 h 908"/>
              <a:gd name="T100" fmla="*/ 494 w 907"/>
              <a:gd name="T101" fmla="*/ 226 h 908"/>
              <a:gd name="T102" fmla="*/ 532 w 907"/>
              <a:gd name="T103" fmla="*/ 239 h 908"/>
              <a:gd name="T104" fmla="*/ 560 w 907"/>
              <a:gd name="T105" fmla="*/ 255 h 908"/>
              <a:gd name="T106" fmla="*/ 585 w 907"/>
              <a:gd name="T107" fmla="*/ 277 h 908"/>
              <a:gd name="T108" fmla="*/ 681 w 907"/>
              <a:gd name="T109" fmla="*/ 676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7" h="908">
                <a:moveTo>
                  <a:pt x="459" y="298"/>
                </a:moveTo>
                <a:lnTo>
                  <a:pt x="450" y="298"/>
                </a:lnTo>
                <a:lnTo>
                  <a:pt x="441" y="299"/>
                </a:lnTo>
                <a:lnTo>
                  <a:pt x="433" y="300"/>
                </a:lnTo>
                <a:lnTo>
                  <a:pt x="425" y="301"/>
                </a:lnTo>
                <a:lnTo>
                  <a:pt x="417" y="303"/>
                </a:lnTo>
                <a:lnTo>
                  <a:pt x="410" y="306"/>
                </a:lnTo>
                <a:lnTo>
                  <a:pt x="403" y="308"/>
                </a:lnTo>
                <a:lnTo>
                  <a:pt x="396" y="312"/>
                </a:lnTo>
                <a:lnTo>
                  <a:pt x="383" y="319"/>
                </a:lnTo>
                <a:lnTo>
                  <a:pt x="371" y="328"/>
                </a:lnTo>
                <a:lnTo>
                  <a:pt x="366" y="332"/>
                </a:lnTo>
                <a:lnTo>
                  <a:pt x="361" y="337"/>
                </a:lnTo>
                <a:lnTo>
                  <a:pt x="351" y="348"/>
                </a:lnTo>
                <a:lnTo>
                  <a:pt x="347" y="354"/>
                </a:lnTo>
                <a:lnTo>
                  <a:pt x="343" y="360"/>
                </a:lnTo>
                <a:lnTo>
                  <a:pt x="336" y="372"/>
                </a:lnTo>
                <a:lnTo>
                  <a:pt x="333" y="378"/>
                </a:lnTo>
                <a:lnTo>
                  <a:pt x="330" y="385"/>
                </a:lnTo>
                <a:lnTo>
                  <a:pt x="325" y="398"/>
                </a:lnTo>
                <a:lnTo>
                  <a:pt x="321" y="412"/>
                </a:lnTo>
                <a:lnTo>
                  <a:pt x="318" y="426"/>
                </a:lnTo>
                <a:lnTo>
                  <a:pt x="316" y="440"/>
                </a:lnTo>
                <a:lnTo>
                  <a:pt x="316" y="455"/>
                </a:lnTo>
                <a:lnTo>
                  <a:pt x="316" y="469"/>
                </a:lnTo>
                <a:lnTo>
                  <a:pt x="317" y="476"/>
                </a:lnTo>
                <a:lnTo>
                  <a:pt x="318" y="483"/>
                </a:lnTo>
                <a:lnTo>
                  <a:pt x="321" y="497"/>
                </a:lnTo>
                <a:lnTo>
                  <a:pt x="323" y="504"/>
                </a:lnTo>
                <a:lnTo>
                  <a:pt x="325" y="511"/>
                </a:lnTo>
                <a:lnTo>
                  <a:pt x="327" y="517"/>
                </a:lnTo>
                <a:lnTo>
                  <a:pt x="330" y="524"/>
                </a:lnTo>
                <a:lnTo>
                  <a:pt x="333" y="530"/>
                </a:lnTo>
                <a:lnTo>
                  <a:pt x="336" y="537"/>
                </a:lnTo>
                <a:lnTo>
                  <a:pt x="339" y="543"/>
                </a:lnTo>
                <a:lnTo>
                  <a:pt x="343" y="549"/>
                </a:lnTo>
                <a:lnTo>
                  <a:pt x="347" y="555"/>
                </a:lnTo>
                <a:lnTo>
                  <a:pt x="351" y="561"/>
                </a:lnTo>
                <a:lnTo>
                  <a:pt x="356" y="566"/>
                </a:lnTo>
                <a:lnTo>
                  <a:pt x="361" y="571"/>
                </a:lnTo>
                <a:lnTo>
                  <a:pt x="366" y="576"/>
                </a:lnTo>
                <a:lnTo>
                  <a:pt x="371" y="581"/>
                </a:lnTo>
                <a:lnTo>
                  <a:pt x="377" y="585"/>
                </a:lnTo>
                <a:lnTo>
                  <a:pt x="383" y="589"/>
                </a:lnTo>
                <a:lnTo>
                  <a:pt x="389" y="593"/>
                </a:lnTo>
                <a:lnTo>
                  <a:pt x="396" y="597"/>
                </a:lnTo>
                <a:lnTo>
                  <a:pt x="403" y="600"/>
                </a:lnTo>
                <a:lnTo>
                  <a:pt x="410" y="603"/>
                </a:lnTo>
                <a:lnTo>
                  <a:pt x="417" y="605"/>
                </a:lnTo>
                <a:lnTo>
                  <a:pt x="425" y="607"/>
                </a:lnTo>
                <a:lnTo>
                  <a:pt x="433" y="608"/>
                </a:lnTo>
                <a:lnTo>
                  <a:pt x="441" y="610"/>
                </a:lnTo>
                <a:lnTo>
                  <a:pt x="450" y="610"/>
                </a:lnTo>
                <a:lnTo>
                  <a:pt x="459" y="611"/>
                </a:lnTo>
                <a:lnTo>
                  <a:pt x="471" y="610"/>
                </a:lnTo>
                <a:lnTo>
                  <a:pt x="484" y="608"/>
                </a:lnTo>
                <a:lnTo>
                  <a:pt x="497" y="605"/>
                </a:lnTo>
                <a:lnTo>
                  <a:pt x="509" y="601"/>
                </a:lnTo>
                <a:lnTo>
                  <a:pt x="515" y="599"/>
                </a:lnTo>
                <a:lnTo>
                  <a:pt x="520" y="596"/>
                </a:lnTo>
                <a:lnTo>
                  <a:pt x="532" y="589"/>
                </a:lnTo>
                <a:lnTo>
                  <a:pt x="537" y="586"/>
                </a:lnTo>
                <a:lnTo>
                  <a:pt x="542" y="582"/>
                </a:lnTo>
                <a:lnTo>
                  <a:pt x="547" y="577"/>
                </a:lnTo>
                <a:lnTo>
                  <a:pt x="552" y="573"/>
                </a:lnTo>
                <a:lnTo>
                  <a:pt x="557" y="568"/>
                </a:lnTo>
                <a:lnTo>
                  <a:pt x="561" y="562"/>
                </a:lnTo>
                <a:lnTo>
                  <a:pt x="565" y="557"/>
                </a:lnTo>
                <a:lnTo>
                  <a:pt x="569" y="551"/>
                </a:lnTo>
                <a:lnTo>
                  <a:pt x="577" y="538"/>
                </a:lnTo>
                <a:lnTo>
                  <a:pt x="580" y="531"/>
                </a:lnTo>
                <a:lnTo>
                  <a:pt x="583" y="524"/>
                </a:lnTo>
                <a:lnTo>
                  <a:pt x="587" y="509"/>
                </a:lnTo>
                <a:lnTo>
                  <a:pt x="589" y="500"/>
                </a:lnTo>
                <a:lnTo>
                  <a:pt x="591" y="492"/>
                </a:lnTo>
                <a:lnTo>
                  <a:pt x="592" y="483"/>
                </a:lnTo>
                <a:lnTo>
                  <a:pt x="593" y="474"/>
                </a:lnTo>
                <a:lnTo>
                  <a:pt x="594" y="464"/>
                </a:lnTo>
                <a:lnTo>
                  <a:pt x="594" y="455"/>
                </a:lnTo>
                <a:lnTo>
                  <a:pt x="594" y="445"/>
                </a:lnTo>
                <a:lnTo>
                  <a:pt x="593" y="435"/>
                </a:lnTo>
                <a:lnTo>
                  <a:pt x="592" y="426"/>
                </a:lnTo>
                <a:lnTo>
                  <a:pt x="591" y="417"/>
                </a:lnTo>
                <a:lnTo>
                  <a:pt x="587" y="400"/>
                </a:lnTo>
                <a:lnTo>
                  <a:pt x="585" y="392"/>
                </a:lnTo>
                <a:lnTo>
                  <a:pt x="583" y="385"/>
                </a:lnTo>
                <a:lnTo>
                  <a:pt x="580" y="377"/>
                </a:lnTo>
                <a:lnTo>
                  <a:pt x="577" y="370"/>
                </a:lnTo>
                <a:lnTo>
                  <a:pt x="573" y="364"/>
                </a:lnTo>
                <a:lnTo>
                  <a:pt x="569" y="357"/>
                </a:lnTo>
                <a:lnTo>
                  <a:pt x="565" y="352"/>
                </a:lnTo>
                <a:lnTo>
                  <a:pt x="561" y="346"/>
                </a:lnTo>
                <a:lnTo>
                  <a:pt x="552" y="336"/>
                </a:lnTo>
                <a:lnTo>
                  <a:pt x="542" y="327"/>
                </a:lnTo>
                <a:lnTo>
                  <a:pt x="532" y="319"/>
                </a:lnTo>
                <a:lnTo>
                  <a:pt x="526" y="315"/>
                </a:lnTo>
                <a:lnTo>
                  <a:pt x="520" y="312"/>
                </a:lnTo>
                <a:lnTo>
                  <a:pt x="515" y="309"/>
                </a:lnTo>
                <a:lnTo>
                  <a:pt x="509" y="307"/>
                </a:lnTo>
                <a:lnTo>
                  <a:pt x="503" y="305"/>
                </a:lnTo>
                <a:lnTo>
                  <a:pt x="497" y="303"/>
                </a:lnTo>
                <a:lnTo>
                  <a:pt x="490" y="301"/>
                </a:lnTo>
                <a:lnTo>
                  <a:pt x="484" y="300"/>
                </a:lnTo>
                <a:lnTo>
                  <a:pt x="471" y="298"/>
                </a:lnTo>
                <a:lnTo>
                  <a:pt x="465" y="298"/>
                </a:lnTo>
                <a:lnTo>
                  <a:pt x="459" y="298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4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4"/>
                </a:lnTo>
                <a:lnTo>
                  <a:pt x="0" y="908"/>
                </a:lnTo>
                <a:close/>
                <a:moveTo>
                  <a:pt x="681" y="676"/>
                </a:moveTo>
                <a:lnTo>
                  <a:pt x="591" y="676"/>
                </a:lnTo>
                <a:lnTo>
                  <a:pt x="591" y="624"/>
                </a:lnTo>
                <a:lnTo>
                  <a:pt x="588" y="627"/>
                </a:lnTo>
                <a:lnTo>
                  <a:pt x="585" y="631"/>
                </a:lnTo>
                <a:lnTo>
                  <a:pt x="579" y="637"/>
                </a:lnTo>
                <a:lnTo>
                  <a:pt x="572" y="644"/>
                </a:lnTo>
                <a:lnTo>
                  <a:pt x="565" y="649"/>
                </a:lnTo>
                <a:lnTo>
                  <a:pt x="549" y="660"/>
                </a:lnTo>
                <a:lnTo>
                  <a:pt x="541" y="665"/>
                </a:lnTo>
                <a:lnTo>
                  <a:pt x="532" y="669"/>
                </a:lnTo>
                <a:lnTo>
                  <a:pt x="523" y="673"/>
                </a:lnTo>
                <a:lnTo>
                  <a:pt x="514" y="676"/>
                </a:lnTo>
                <a:lnTo>
                  <a:pt x="504" y="679"/>
                </a:lnTo>
                <a:lnTo>
                  <a:pt x="494" y="682"/>
                </a:lnTo>
                <a:lnTo>
                  <a:pt x="484" y="684"/>
                </a:lnTo>
                <a:lnTo>
                  <a:pt x="473" y="685"/>
                </a:lnTo>
                <a:lnTo>
                  <a:pt x="462" y="686"/>
                </a:lnTo>
                <a:lnTo>
                  <a:pt x="451" y="686"/>
                </a:lnTo>
                <a:lnTo>
                  <a:pt x="439" y="686"/>
                </a:lnTo>
                <a:lnTo>
                  <a:pt x="427" y="685"/>
                </a:lnTo>
                <a:lnTo>
                  <a:pt x="415" y="684"/>
                </a:lnTo>
                <a:lnTo>
                  <a:pt x="404" y="682"/>
                </a:lnTo>
                <a:lnTo>
                  <a:pt x="393" y="679"/>
                </a:lnTo>
                <a:lnTo>
                  <a:pt x="382" y="676"/>
                </a:lnTo>
                <a:lnTo>
                  <a:pt x="372" y="672"/>
                </a:lnTo>
                <a:lnTo>
                  <a:pt x="361" y="668"/>
                </a:lnTo>
                <a:lnTo>
                  <a:pt x="351" y="663"/>
                </a:lnTo>
                <a:lnTo>
                  <a:pt x="342" y="658"/>
                </a:lnTo>
                <a:lnTo>
                  <a:pt x="332" y="653"/>
                </a:lnTo>
                <a:lnTo>
                  <a:pt x="323" y="647"/>
                </a:lnTo>
                <a:lnTo>
                  <a:pt x="315" y="640"/>
                </a:lnTo>
                <a:lnTo>
                  <a:pt x="306" y="633"/>
                </a:lnTo>
                <a:lnTo>
                  <a:pt x="298" y="626"/>
                </a:lnTo>
                <a:lnTo>
                  <a:pt x="291" y="618"/>
                </a:lnTo>
                <a:lnTo>
                  <a:pt x="283" y="610"/>
                </a:lnTo>
                <a:lnTo>
                  <a:pt x="276" y="602"/>
                </a:lnTo>
                <a:lnTo>
                  <a:pt x="270" y="593"/>
                </a:lnTo>
                <a:lnTo>
                  <a:pt x="264" y="584"/>
                </a:lnTo>
                <a:lnTo>
                  <a:pt x="258" y="575"/>
                </a:lnTo>
                <a:lnTo>
                  <a:pt x="253" y="565"/>
                </a:lnTo>
                <a:lnTo>
                  <a:pt x="248" y="555"/>
                </a:lnTo>
                <a:lnTo>
                  <a:pt x="244" y="545"/>
                </a:lnTo>
                <a:lnTo>
                  <a:pt x="240" y="534"/>
                </a:lnTo>
                <a:lnTo>
                  <a:pt x="236" y="523"/>
                </a:lnTo>
                <a:lnTo>
                  <a:pt x="234" y="512"/>
                </a:lnTo>
                <a:lnTo>
                  <a:pt x="231" y="501"/>
                </a:lnTo>
                <a:lnTo>
                  <a:pt x="229" y="489"/>
                </a:lnTo>
                <a:lnTo>
                  <a:pt x="228" y="478"/>
                </a:lnTo>
                <a:lnTo>
                  <a:pt x="227" y="466"/>
                </a:lnTo>
                <a:lnTo>
                  <a:pt x="227" y="454"/>
                </a:lnTo>
                <a:lnTo>
                  <a:pt x="227" y="442"/>
                </a:lnTo>
                <a:lnTo>
                  <a:pt x="228" y="430"/>
                </a:lnTo>
                <a:lnTo>
                  <a:pt x="229" y="418"/>
                </a:lnTo>
                <a:lnTo>
                  <a:pt x="231" y="407"/>
                </a:lnTo>
                <a:lnTo>
                  <a:pt x="234" y="396"/>
                </a:lnTo>
                <a:lnTo>
                  <a:pt x="235" y="390"/>
                </a:lnTo>
                <a:lnTo>
                  <a:pt x="236" y="385"/>
                </a:lnTo>
                <a:lnTo>
                  <a:pt x="240" y="374"/>
                </a:lnTo>
                <a:lnTo>
                  <a:pt x="244" y="363"/>
                </a:lnTo>
                <a:lnTo>
                  <a:pt x="248" y="353"/>
                </a:lnTo>
                <a:lnTo>
                  <a:pt x="253" y="343"/>
                </a:lnTo>
                <a:lnTo>
                  <a:pt x="258" y="333"/>
                </a:lnTo>
                <a:lnTo>
                  <a:pt x="264" y="324"/>
                </a:lnTo>
                <a:lnTo>
                  <a:pt x="270" y="315"/>
                </a:lnTo>
                <a:lnTo>
                  <a:pt x="276" y="306"/>
                </a:lnTo>
                <a:lnTo>
                  <a:pt x="283" y="298"/>
                </a:lnTo>
                <a:lnTo>
                  <a:pt x="291" y="290"/>
                </a:lnTo>
                <a:lnTo>
                  <a:pt x="298" y="282"/>
                </a:lnTo>
                <a:lnTo>
                  <a:pt x="306" y="275"/>
                </a:lnTo>
                <a:lnTo>
                  <a:pt x="310" y="271"/>
                </a:lnTo>
                <a:lnTo>
                  <a:pt x="315" y="268"/>
                </a:lnTo>
                <a:lnTo>
                  <a:pt x="323" y="261"/>
                </a:lnTo>
                <a:lnTo>
                  <a:pt x="332" y="255"/>
                </a:lnTo>
                <a:lnTo>
                  <a:pt x="342" y="250"/>
                </a:lnTo>
                <a:lnTo>
                  <a:pt x="351" y="245"/>
                </a:lnTo>
                <a:lnTo>
                  <a:pt x="361" y="240"/>
                </a:lnTo>
                <a:lnTo>
                  <a:pt x="372" y="236"/>
                </a:lnTo>
                <a:lnTo>
                  <a:pt x="382" y="232"/>
                </a:lnTo>
                <a:lnTo>
                  <a:pt x="393" y="229"/>
                </a:lnTo>
                <a:lnTo>
                  <a:pt x="404" y="227"/>
                </a:lnTo>
                <a:lnTo>
                  <a:pt x="415" y="225"/>
                </a:lnTo>
                <a:lnTo>
                  <a:pt x="427" y="223"/>
                </a:lnTo>
                <a:lnTo>
                  <a:pt x="439" y="222"/>
                </a:lnTo>
                <a:lnTo>
                  <a:pt x="451" y="222"/>
                </a:lnTo>
                <a:lnTo>
                  <a:pt x="462" y="222"/>
                </a:lnTo>
                <a:lnTo>
                  <a:pt x="473" y="223"/>
                </a:lnTo>
                <a:lnTo>
                  <a:pt x="484" y="224"/>
                </a:lnTo>
                <a:lnTo>
                  <a:pt x="494" y="226"/>
                </a:lnTo>
                <a:lnTo>
                  <a:pt x="504" y="229"/>
                </a:lnTo>
                <a:lnTo>
                  <a:pt x="513" y="231"/>
                </a:lnTo>
                <a:lnTo>
                  <a:pt x="523" y="235"/>
                </a:lnTo>
                <a:lnTo>
                  <a:pt x="532" y="239"/>
                </a:lnTo>
                <a:lnTo>
                  <a:pt x="540" y="243"/>
                </a:lnTo>
                <a:lnTo>
                  <a:pt x="549" y="247"/>
                </a:lnTo>
                <a:lnTo>
                  <a:pt x="557" y="253"/>
                </a:lnTo>
                <a:lnTo>
                  <a:pt x="560" y="255"/>
                </a:lnTo>
                <a:lnTo>
                  <a:pt x="564" y="258"/>
                </a:lnTo>
                <a:lnTo>
                  <a:pt x="571" y="264"/>
                </a:lnTo>
                <a:lnTo>
                  <a:pt x="578" y="270"/>
                </a:lnTo>
                <a:lnTo>
                  <a:pt x="585" y="277"/>
                </a:lnTo>
                <a:lnTo>
                  <a:pt x="591" y="283"/>
                </a:lnTo>
                <a:lnTo>
                  <a:pt x="591" y="231"/>
                </a:lnTo>
                <a:lnTo>
                  <a:pt x="681" y="231"/>
                </a:lnTo>
                <a:lnTo>
                  <a:pt x="681" y="676"/>
                </a:lnTo>
                <a:close/>
              </a:path>
            </a:pathLst>
          </a:custGeom>
          <a:solidFill>
            <a:srgbClr val="19F1C2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7" name="Freeform 19"/>
          <p:cNvSpPr>
            <a:spLocks noChangeAspect="1" noEditPoints="1"/>
          </p:cNvSpPr>
          <p:nvPr userDrawn="1"/>
        </p:nvSpPr>
        <p:spPr bwMode="auto">
          <a:xfrm>
            <a:off x="-1237" y="-7404"/>
            <a:ext cx="1306667" cy="1286466"/>
          </a:xfrm>
          <a:custGeom>
            <a:avLst/>
            <a:gdLst>
              <a:gd name="T0" fmla="*/ 424 w 908"/>
              <a:gd name="T1" fmla="*/ 683 h 908"/>
              <a:gd name="T2" fmla="*/ 365 w 908"/>
              <a:gd name="T3" fmla="*/ 671 h 908"/>
              <a:gd name="T4" fmla="*/ 304 w 908"/>
              <a:gd name="T5" fmla="*/ 647 h 908"/>
              <a:gd name="T6" fmla="*/ 247 w 908"/>
              <a:gd name="T7" fmla="*/ 610 h 908"/>
              <a:gd name="T8" fmla="*/ 286 w 908"/>
              <a:gd name="T9" fmla="*/ 536 h 908"/>
              <a:gd name="T10" fmla="*/ 321 w 908"/>
              <a:gd name="T11" fmla="*/ 562 h 908"/>
              <a:gd name="T12" fmla="*/ 365 w 908"/>
              <a:gd name="T13" fmla="*/ 585 h 908"/>
              <a:gd name="T14" fmla="*/ 405 w 908"/>
              <a:gd name="T15" fmla="*/ 598 h 908"/>
              <a:gd name="T16" fmla="*/ 441 w 908"/>
              <a:gd name="T17" fmla="*/ 604 h 908"/>
              <a:gd name="T18" fmla="*/ 508 w 908"/>
              <a:gd name="T19" fmla="*/ 602 h 908"/>
              <a:gd name="T20" fmla="*/ 551 w 908"/>
              <a:gd name="T21" fmla="*/ 589 h 908"/>
              <a:gd name="T22" fmla="*/ 571 w 908"/>
              <a:gd name="T23" fmla="*/ 575 h 908"/>
              <a:gd name="T24" fmla="*/ 582 w 908"/>
              <a:gd name="T25" fmla="*/ 556 h 908"/>
              <a:gd name="T26" fmla="*/ 583 w 908"/>
              <a:gd name="T27" fmla="*/ 539 h 908"/>
              <a:gd name="T28" fmla="*/ 575 w 908"/>
              <a:gd name="T29" fmla="*/ 524 h 908"/>
              <a:gd name="T30" fmla="*/ 559 w 908"/>
              <a:gd name="T31" fmla="*/ 512 h 908"/>
              <a:gd name="T32" fmla="*/ 521 w 908"/>
              <a:gd name="T33" fmla="*/ 501 h 908"/>
              <a:gd name="T34" fmla="*/ 394 w 908"/>
              <a:gd name="T35" fmla="*/ 483 h 908"/>
              <a:gd name="T36" fmla="*/ 324 w 908"/>
              <a:gd name="T37" fmla="*/ 465 h 908"/>
              <a:gd name="T38" fmla="*/ 280 w 908"/>
              <a:gd name="T39" fmla="*/ 442 h 908"/>
              <a:gd name="T40" fmla="*/ 257 w 908"/>
              <a:gd name="T41" fmla="*/ 420 h 908"/>
              <a:gd name="T42" fmla="*/ 243 w 908"/>
              <a:gd name="T43" fmla="*/ 392 h 908"/>
              <a:gd name="T44" fmla="*/ 237 w 908"/>
              <a:gd name="T45" fmla="*/ 356 h 908"/>
              <a:gd name="T46" fmla="*/ 242 w 908"/>
              <a:gd name="T47" fmla="*/ 328 h 908"/>
              <a:gd name="T48" fmla="*/ 254 w 908"/>
              <a:gd name="T49" fmla="*/ 302 h 908"/>
              <a:gd name="T50" fmla="*/ 274 w 908"/>
              <a:gd name="T51" fmla="*/ 279 h 908"/>
              <a:gd name="T52" fmla="*/ 299 w 908"/>
              <a:gd name="T53" fmla="*/ 260 h 908"/>
              <a:gd name="T54" fmla="*/ 347 w 908"/>
              <a:gd name="T55" fmla="*/ 237 h 908"/>
              <a:gd name="T56" fmla="*/ 422 w 908"/>
              <a:gd name="T57" fmla="*/ 222 h 908"/>
              <a:gd name="T58" fmla="*/ 489 w 908"/>
              <a:gd name="T59" fmla="*/ 224 h 908"/>
              <a:gd name="T60" fmla="*/ 545 w 908"/>
              <a:gd name="T61" fmla="*/ 235 h 908"/>
              <a:gd name="T62" fmla="*/ 596 w 908"/>
              <a:gd name="T63" fmla="*/ 255 h 908"/>
              <a:gd name="T64" fmla="*/ 641 w 908"/>
              <a:gd name="T65" fmla="*/ 283 h 908"/>
              <a:gd name="T66" fmla="*/ 591 w 908"/>
              <a:gd name="T67" fmla="*/ 351 h 908"/>
              <a:gd name="T68" fmla="*/ 550 w 908"/>
              <a:gd name="T69" fmla="*/ 325 h 908"/>
              <a:gd name="T70" fmla="*/ 503 w 908"/>
              <a:gd name="T71" fmla="*/ 308 h 908"/>
              <a:gd name="T72" fmla="*/ 462 w 908"/>
              <a:gd name="T73" fmla="*/ 302 h 908"/>
              <a:gd name="T74" fmla="*/ 416 w 908"/>
              <a:gd name="T75" fmla="*/ 303 h 908"/>
              <a:gd name="T76" fmla="*/ 372 w 908"/>
              <a:gd name="T77" fmla="*/ 313 h 908"/>
              <a:gd name="T78" fmla="*/ 343 w 908"/>
              <a:gd name="T79" fmla="*/ 329 h 908"/>
              <a:gd name="T80" fmla="*/ 328 w 908"/>
              <a:gd name="T81" fmla="*/ 347 h 908"/>
              <a:gd name="T82" fmla="*/ 328 w 908"/>
              <a:gd name="T83" fmla="*/ 366 h 908"/>
              <a:gd name="T84" fmla="*/ 338 w 908"/>
              <a:gd name="T85" fmla="*/ 380 h 908"/>
              <a:gd name="T86" fmla="*/ 369 w 908"/>
              <a:gd name="T87" fmla="*/ 395 h 908"/>
              <a:gd name="T88" fmla="*/ 443 w 908"/>
              <a:gd name="T89" fmla="*/ 407 h 908"/>
              <a:gd name="T90" fmla="*/ 550 w 908"/>
              <a:gd name="T91" fmla="*/ 424 h 908"/>
              <a:gd name="T92" fmla="*/ 607 w 908"/>
              <a:gd name="T93" fmla="*/ 442 h 908"/>
              <a:gd name="T94" fmla="*/ 639 w 908"/>
              <a:gd name="T95" fmla="*/ 462 h 908"/>
              <a:gd name="T96" fmla="*/ 658 w 908"/>
              <a:gd name="T97" fmla="*/ 483 h 908"/>
              <a:gd name="T98" fmla="*/ 670 w 908"/>
              <a:gd name="T99" fmla="*/ 511 h 908"/>
              <a:gd name="T100" fmla="*/ 674 w 908"/>
              <a:gd name="T101" fmla="*/ 545 h 908"/>
              <a:gd name="T102" fmla="*/ 670 w 908"/>
              <a:gd name="T103" fmla="*/ 573 h 908"/>
              <a:gd name="T104" fmla="*/ 659 w 908"/>
              <a:gd name="T105" fmla="*/ 600 h 908"/>
              <a:gd name="T106" fmla="*/ 641 w 908"/>
              <a:gd name="T107" fmla="*/ 624 h 908"/>
              <a:gd name="T108" fmla="*/ 616 w 908"/>
              <a:gd name="T109" fmla="*/ 644 h 908"/>
              <a:gd name="T110" fmla="*/ 569 w 908"/>
              <a:gd name="T111" fmla="*/ 668 h 908"/>
              <a:gd name="T112" fmla="*/ 510 w 908"/>
              <a:gd name="T113" fmla="*/ 683 h 908"/>
              <a:gd name="T114" fmla="*/ 0 w 908"/>
              <a:gd name="T115" fmla="*/ 908 h 908"/>
              <a:gd name="T116" fmla="*/ 908 w 908"/>
              <a:gd name="T117" fmla="*/ 0 h 908"/>
              <a:gd name="T118" fmla="*/ 0 w 908"/>
              <a:gd name="T119" fmla="*/ 908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466" y="685"/>
                </a:moveTo>
                <a:lnTo>
                  <a:pt x="452" y="685"/>
                </a:lnTo>
                <a:lnTo>
                  <a:pt x="438" y="684"/>
                </a:lnTo>
                <a:lnTo>
                  <a:pt x="424" y="683"/>
                </a:lnTo>
                <a:lnTo>
                  <a:pt x="410" y="681"/>
                </a:lnTo>
                <a:lnTo>
                  <a:pt x="395" y="678"/>
                </a:lnTo>
                <a:lnTo>
                  <a:pt x="380" y="675"/>
                </a:lnTo>
                <a:lnTo>
                  <a:pt x="365" y="671"/>
                </a:lnTo>
                <a:lnTo>
                  <a:pt x="350" y="666"/>
                </a:lnTo>
                <a:lnTo>
                  <a:pt x="335" y="661"/>
                </a:lnTo>
                <a:lnTo>
                  <a:pt x="319" y="654"/>
                </a:lnTo>
                <a:lnTo>
                  <a:pt x="304" y="647"/>
                </a:lnTo>
                <a:lnTo>
                  <a:pt x="290" y="639"/>
                </a:lnTo>
                <a:lnTo>
                  <a:pt x="275" y="631"/>
                </a:lnTo>
                <a:lnTo>
                  <a:pt x="261" y="621"/>
                </a:lnTo>
                <a:lnTo>
                  <a:pt x="247" y="610"/>
                </a:lnTo>
                <a:lnTo>
                  <a:pt x="240" y="605"/>
                </a:lnTo>
                <a:lnTo>
                  <a:pt x="233" y="599"/>
                </a:lnTo>
                <a:lnTo>
                  <a:pt x="283" y="533"/>
                </a:lnTo>
                <a:lnTo>
                  <a:pt x="286" y="536"/>
                </a:lnTo>
                <a:lnTo>
                  <a:pt x="296" y="544"/>
                </a:lnTo>
                <a:lnTo>
                  <a:pt x="303" y="550"/>
                </a:lnTo>
                <a:lnTo>
                  <a:pt x="311" y="556"/>
                </a:lnTo>
                <a:lnTo>
                  <a:pt x="321" y="562"/>
                </a:lnTo>
                <a:lnTo>
                  <a:pt x="332" y="569"/>
                </a:lnTo>
                <a:lnTo>
                  <a:pt x="345" y="576"/>
                </a:lnTo>
                <a:lnTo>
                  <a:pt x="358" y="582"/>
                </a:lnTo>
                <a:lnTo>
                  <a:pt x="365" y="585"/>
                </a:lnTo>
                <a:lnTo>
                  <a:pt x="373" y="588"/>
                </a:lnTo>
                <a:lnTo>
                  <a:pt x="388" y="594"/>
                </a:lnTo>
                <a:lnTo>
                  <a:pt x="396" y="596"/>
                </a:lnTo>
                <a:lnTo>
                  <a:pt x="405" y="598"/>
                </a:lnTo>
                <a:lnTo>
                  <a:pt x="414" y="600"/>
                </a:lnTo>
                <a:lnTo>
                  <a:pt x="423" y="602"/>
                </a:lnTo>
                <a:lnTo>
                  <a:pt x="432" y="603"/>
                </a:lnTo>
                <a:lnTo>
                  <a:pt x="441" y="604"/>
                </a:lnTo>
                <a:lnTo>
                  <a:pt x="460" y="605"/>
                </a:lnTo>
                <a:lnTo>
                  <a:pt x="478" y="605"/>
                </a:lnTo>
                <a:lnTo>
                  <a:pt x="494" y="604"/>
                </a:lnTo>
                <a:lnTo>
                  <a:pt x="508" y="602"/>
                </a:lnTo>
                <a:lnTo>
                  <a:pt x="521" y="599"/>
                </a:lnTo>
                <a:lnTo>
                  <a:pt x="533" y="596"/>
                </a:lnTo>
                <a:lnTo>
                  <a:pt x="543" y="593"/>
                </a:lnTo>
                <a:lnTo>
                  <a:pt x="551" y="589"/>
                </a:lnTo>
                <a:lnTo>
                  <a:pt x="559" y="585"/>
                </a:lnTo>
                <a:lnTo>
                  <a:pt x="565" y="580"/>
                </a:lnTo>
                <a:lnTo>
                  <a:pt x="568" y="578"/>
                </a:lnTo>
                <a:lnTo>
                  <a:pt x="571" y="575"/>
                </a:lnTo>
                <a:lnTo>
                  <a:pt x="575" y="571"/>
                </a:lnTo>
                <a:lnTo>
                  <a:pt x="578" y="566"/>
                </a:lnTo>
                <a:lnTo>
                  <a:pt x="580" y="561"/>
                </a:lnTo>
                <a:lnTo>
                  <a:pt x="582" y="556"/>
                </a:lnTo>
                <a:lnTo>
                  <a:pt x="583" y="552"/>
                </a:lnTo>
                <a:lnTo>
                  <a:pt x="583" y="547"/>
                </a:lnTo>
                <a:lnTo>
                  <a:pt x="583" y="543"/>
                </a:lnTo>
                <a:lnTo>
                  <a:pt x="583" y="539"/>
                </a:lnTo>
                <a:lnTo>
                  <a:pt x="582" y="536"/>
                </a:lnTo>
                <a:lnTo>
                  <a:pt x="580" y="533"/>
                </a:lnTo>
                <a:lnTo>
                  <a:pt x="577" y="526"/>
                </a:lnTo>
                <a:lnTo>
                  <a:pt x="575" y="524"/>
                </a:lnTo>
                <a:lnTo>
                  <a:pt x="572" y="521"/>
                </a:lnTo>
                <a:lnTo>
                  <a:pt x="569" y="519"/>
                </a:lnTo>
                <a:lnTo>
                  <a:pt x="566" y="516"/>
                </a:lnTo>
                <a:lnTo>
                  <a:pt x="559" y="512"/>
                </a:lnTo>
                <a:lnTo>
                  <a:pt x="551" y="509"/>
                </a:lnTo>
                <a:lnTo>
                  <a:pt x="542" y="506"/>
                </a:lnTo>
                <a:lnTo>
                  <a:pt x="532" y="503"/>
                </a:lnTo>
                <a:lnTo>
                  <a:pt x="521" y="501"/>
                </a:lnTo>
                <a:lnTo>
                  <a:pt x="498" y="497"/>
                </a:lnTo>
                <a:lnTo>
                  <a:pt x="447" y="490"/>
                </a:lnTo>
                <a:lnTo>
                  <a:pt x="412" y="485"/>
                </a:lnTo>
                <a:lnTo>
                  <a:pt x="394" y="483"/>
                </a:lnTo>
                <a:lnTo>
                  <a:pt x="376" y="479"/>
                </a:lnTo>
                <a:lnTo>
                  <a:pt x="358" y="475"/>
                </a:lnTo>
                <a:lnTo>
                  <a:pt x="341" y="471"/>
                </a:lnTo>
                <a:lnTo>
                  <a:pt x="324" y="465"/>
                </a:lnTo>
                <a:lnTo>
                  <a:pt x="308" y="459"/>
                </a:lnTo>
                <a:lnTo>
                  <a:pt x="301" y="455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8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1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2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2"/>
                </a:lnTo>
                <a:lnTo>
                  <a:pt x="327" y="356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4"/>
                </a:lnTo>
                <a:lnTo>
                  <a:pt x="443" y="407"/>
                </a:lnTo>
                <a:lnTo>
                  <a:pt x="473" y="411"/>
                </a:lnTo>
                <a:lnTo>
                  <a:pt x="513" y="417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2"/>
                </a:lnTo>
                <a:lnTo>
                  <a:pt x="645" y="467"/>
                </a:lnTo>
                <a:lnTo>
                  <a:pt x="649" y="472"/>
                </a:lnTo>
                <a:lnTo>
                  <a:pt x="654" y="478"/>
                </a:lnTo>
                <a:lnTo>
                  <a:pt x="658" y="483"/>
                </a:lnTo>
                <a:lnTo>
                  <a:pt x="662" y="490"/>
                </a:lnTo>
                <a:lnTo>
                  <a:pt x="665" y="496"/>
                </a:lnTo>
                <a:lnTo>
                  <a:pt x="668" y="503"/>
                </a:lnTo>
                <a:lnTo>
                  <a:pt x="670" y="511"/>
                </a:lnTo>
                <a:lnTo>
                  <a:pt x="672" y="518"/>
                </a:lnTo>
                <a:lnTo>
                  <a:pt x="673" y="527"/>
                </a:lnTo>
                <a:lnTo>
                  <a:pt x="674" y="535"/>
                </a:lnTo>
                <a:lnTo>
                  <a:pt x="674" y="545"/>
                </a:lnTo>
                <a:lnTo>
                  <a:pt x="674" y="552"/>
                </a:lnTo>
                <a:lnTo>
                  <a:pt x="673" y="559"/>
                </a:lnTo>
                <a:lnTo>
                  <a:pt x="672" y="566"/>
                </a:lnTo>
                <a:lnTo>
                  <a:pt x="670" y="573"/>
                </a:lnTo>
                <a:lnTo>
                  <a:pt x="668" y="580"/>
                </a:lnTo>
                <a:lnTo>
                  <a:pt x="666" y="587"/>
                </a:lnTo>
                <a:lnTo>
                  <a:pt x="663" y="593"/>
                </a:lnTo>
                <a:lnTo>
                  <a:pt x="659" y="600"/>
                </a:lnTo>
                <a:lnTo>
                  <a:pt x="655" y="606"/>
                </a:lnTo>
                <a:lnTo>
                  <a:pt x="651" y="612"/>
                </a:lnTo>
                <a:lnTo>
                  <a:pt x="646" y="618"/>
                </a:lnTo>
                <a:lnTo>
                  <a:pt x="641" y="624"/>
                </a:lnTo>
                <a:lnTo>
                  <a:pt x="635" y="629"/>
                </a:lnTo>
                <a:lnTo>
                  <a:pt x="629" y="634"/>
                </a:lnTo>
                <a:lnTo>
                  <a:pt x="623" y="639"/>
                </a:lnTo>
                <a:lnTo>
                  <a:pt x="616" y="644"/>
                </a:lnTo>
                <a:lnTo>
                  <a:pt x="609" y="649"/>
                </a:lnTo>
                <a:lnTo>
                  <a:pt x="602" y="653"/>
                </a:lnTo>
                <a:lnTo>
                  <a:pt x="586" y="661"/>
                </a:lnTo>
                <a:lnTo>
                  <a:pt x="569" y="668"/>
                </a:lnTo>
                <a:lnTo>
                  <a:pt x="560" y="672"/>
                </a:lnTo>
                <a:lnTo>
                  <a:pt x="550" y="674"/>
                </a:lnTo>
                <a:lnTo>
                  <a:pt x="531" y="679"/>
                </a:lnTo>
                <a:lnTo>
                  <a:pt x="510" y="683"/>
                </a:lnTo>
                <a:lnTo>
                  <a:pt x="499" y="684"/>
                </a:lnTo>
                <a:lnTo>
                  <a:pt x="488" y="685"/>
                </a:lnTo>
                <a:lnTo>
                  <a:pt x="466" y="685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rgbClr val="19F1C2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8" name="Freeform 20"/>
          <p:cNvSpPr>
            <a:spLocks noChangeAspect="1" noEditPoints="1"/>
          </p:cNvSpPr>
          <p:nvPr userDrawn="1"/>
        </p:nvSpPr>
        <p:spPr bwMode="auto">
          <a:xfrm>
            <a:off x="5224114" y="1"/>
            <a:ext cx="1306382" cy="1285880"/>
          </a:xfrm>
          <a:custGeom>
            <a:avLst/>
            <a:gdLst>
              <a:gd name="T0" fmla="*/ 908 w 908"/>
              <a:gd name="T1" fmla="*/ 453 h 908"/>
              <a:gd name="T2" fmla="*/ 0 w 908"/>
              <a:gd name="T3" fmla="*/ 453 h 908"/>
              <a:gd name="T4" fmla="*/ 431 w 908"/>
              <a:gd name="T5" fmla="*/ 684 h 908"/>
              <a:gd name="T6" fmla="*/ 386 w 908"/>
              <a:gd name="T7" fmla="*/ 675 h 908"/>
              <a:gd name="T8" fmla="*/ 344 w 908"/>
              <a:gd name="T9" fmla="*/ 657 h 908"/>
              <a:gd name="T10" fmla="*/ 307 w 908"/>
              <a:gd name="T11" fmla="*/ 632 h 908"/>
              <a:gd name="T12" fmla="*/ 276 w 908"/>
              <a:gd name="T13" fmla="*/ 601 h 908"/>
              <a:gd name="T14" fmla="*/ 251 w 908"/>
              <a:gd name="T15" fmla="*/ 564 h 908"/>
              <a:gd name="T16" fmla="*/ 233 w 908"/>
              <a:gd name="T17" fmla="*/ 523 h 908"/>
              <a:gd name="T18" fmla="*/ 223 w 908"/>
              <a:gd name="T19" fmla="*/ 477 h 908"/>
              <a:gd name="T20" fmla="*/ 223 w 908"/>
              <a:gd name="T21" fmla="*/ 429 h 908"/>
              <a:gd name="T22" fmla="*/ 233 w 908"/>
              <a:gd name="T23" fmla="*/ 383 h 908"/>
              <a:gd name="T24" fmla="*/ 251 w 908"/>
              <a:gd name="T25" fmla="*/ 342 h 908"/>
              <a:gd name="T26" fmla="*/ 276 w 908"/>
              <a:gd name="T27" fmla="*/ 305 h 908"/>
              <a:gd name="T28" fmla="*/ 307 w 908"/>
              <a:gd name="T29" fmla="*/ 274 h 908"/>
              <a:gd name="T30" fmla="*/ 344 w 908"/>
              <a:gd name="T31" fmla="*/ 249 h 908"/>
              <a:gd name="T32" fmla="*/ 386 w 908"/>
              <a:gd name="T33" fmla="*/ 231 h 908"/>
              <a:gd name="T34" fmla="*/ 431 w 908"/>
              <a:gd name="T35" fmla="*/ 222 h 908"/>
              <a:gd name="T36" fmla="*/ 479 w 908"/>
              <a:gd name="T37" fmla="*/ 222 h 908"/>
              <a:gd name="T38" fmla="*/ 524 w 908"/>
              <a:gd name="T39" fmla="*/ 231 h 908"/>
              <a:gd name="T40" fmla="*/ 565 w 908"/>
              <a:gd name="T41" fmla="*/ 249 h 908"/>
              <a:gd name="T42" fmla="*/ 602 w 908"/>
              <a:gd name="T43" fmla="*/ 274 h 908"/>
              <a:gd name="T44" fmla="*/ 634 w 908"/>
              <a:gd name="T45" fmla="*/ 305 h 908"/>
              <a:gd name="T46" fmla="*/ 659 w 908"/>
              <a:gd name="T47" fmla="*/ 342 h 908"/>
              <a:gd name="T48" fmla="*/ 676 w 908"/>
              <a:gd name="T49" fmla="*/ 383 h 908"/>
              <a:gd name="T50" fmla="*/ 685 w 908"/>
              <a:gd name="T51" fmla="*/ 429 h 908"/>
              <a:gd name="T52" fmla="*/ 685 w 908"/>
              <a:gd name="T53" fmla="*/ 477 h 908"/>
              <a:gd name="T54" fmla="*/ 676 w 908"/>
              <a:gd name="T55" fmla="*/ 523 h 908"/>
              <a:gd name="T56" fmla="*/ 659 w 908"/>
              <a:gd name="T57" fmla="*/ 564 h 908"/>
              <a:gd name="T58" fmla="*/ 634 w 908"/>
              <a:gd name="T59" fmla="*/ 601 h 908"/>
              <a:gd name="T60" fmla="*/ 602 w 908"/>
              <a:gd name="T61" fmla="*/ 632 h 908"/>
              <a:gd name="T62" fmla="*/ 565 w 908"/>
              <a:gd name="T63" fmla="*/ 657 h 908"/>
              <a:gd name="T64" fmla="*/ 524 w 908"/>
              <a:gd name="T65" fmla="*/ 675 h 908"/>
              <a:gd name="T66" fmla="*/ 479 w 908"/>
              <a:gd name="T67" fmla="*/ 684 h 908"/>
              <a:gd name="T68" fmla="*/ 440 w 908"/>
              <a:gd name="T69" fmla="*/ 302 h 908"/>
              <a:gd name="T70" fmla="*/ 406 w 908"/>
              <a:gd name="T71" fmla="*/ 309 h 908"/>
              <a:gd name="T72" fmla="*/ 381 w 908"/>
              <a:gd name="T73" fmla="*/ 321 h 908"/>
              <a:gd name="T74" fmla="*/ 359 w 908"/>
              <a:gd name="T75" fmla="*/ 338 h 908"/>
              <a:gd name="T76" fmla="*/ 341 w 908"/>
              <a:gd name="T77" fmla="*/ 359 h 908"/>
              <a:gd name="T78" fmla="*/ 323 w 908"/>
              <a:gd name="T79" fmla="*/ 391 h 908"/>
              <a:gd name="T80" fmla="*/ 315 w 908"/>
              <a:gd name="T81" fmla="*/ 420 h 908"/>
              <a:gd name="T82" fmla="*/ 313 w 908"/>
              <a:gd name="T83" fmla="*/ 470 h 908"/>
              <a:gd name="T84" fmla="*/ 323 w 908"/>
              <a:gd name="T85" fmla="*/ 515 h 908"/>
              <a:gd name="T86" fmla="*/ 341 w 908"/>
              <a:gd name="T87" fmla="*/ 547 h 908"/>
              <a:gd name="T88" fmla="*/ 359 w 908"/>
              <a:gd name="T89" fmla="*/ 568 h 908"/>
              <a:gd name="T90" fmla="*/ 387 w 908"/>
              <a:gd name="T91" fmla="*/ 588 h 908"/>
              <a:gd name="T92" fmla="*/ 426 w 908"/>
              <a:gd name="T93" fmla="*/ 602 h 908"/>
              <a:gd name="T94" fmla="*/ 469 w 908"/>
              <a:gd name="T95" fmla="*/ 604 h 908"/>
              <a:gd name="T96" fmla="*/ 504 w 908"/>
              <a:gd name="T97" fmla="*/ 597 h 908"/>
              <a:gd name="T98" fmla="*/ 529 w 908"/>
              <a:gd name="T99" fmla="*/ 585 h 908"/>
              <a:gd name="T100" fmla="*/ 551 w 908"/>
              <a:gd name="T101" fmla="*/ 568 h 908"/>
              <a:gd name="T102" fmla="*/ 569 w 908"/>
              <a:gd name="T103" fmla="*/ 547 h 908"/>
              <a:gd name="T104" fmla="*/ 586 w 908"/>
              <a:gd name="T105" fmla="*/ 515 h 908"/>
              <a:gd name="T106" fmla="*/ 595 w 908"/>
              <a:gd name="T107" fmla="*/ 486 h 908"/>
              <a:gd name="T108" fmla="*/ 597 w 908"/>
              <a:gd name="T109" fmla="*/ 436 h 908"/>
              <a:gd name="T110" fmla="*/ 586 w 908"/>
              <a:gd name="T111" fmla="*/ 391 h 908"/>
              <a:gd name="T112" fmla="*/ 569 w 908"/>
              <a:gd name="T113" fmla="*/ 359 h 908"/>
              <a:gd name="T114" fmla="*/ 551 w 908"/>
              <a:gd name="T115" fmla="*/ 338 h 908"/>
              <a:gd name="T116" fmla="*/ 523 w 908"/>
              <a:gd name="T117" fmla="*/ 318 h 908"/>
              <a:gd name="T118" fmla="*/ 484 w 908"/>
              <a:gd name="T119" fmla="*/ 304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0" y="908"/>
                </a:moveTo>
                <a:lnTo>
                  <a:pt x="454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4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  <a:moveTo>
                  <a:pt x="455" y="685"/>
                </a:moveTo>
                <a:lnTo>
                  <a:pt x="443" y="685"/>
                </a:lnTo>
                <a:lnTo>
                  <a:pt x="431" y="684"/>
                </a:lnTo>
                <a:lnTo>
                  <a:pt x="419" y="683"/>
                </a:lnTo>
                <a:lnTo>
                  <a:pt x="408" y="681"/>
                </a:lnTo>
                <a:lnTo>
                  <a:pt x="397" y="678"/>
                </a:lnTo>
                <a:lnTo>
                  <a:pt x="386" y="675"/>
                </a:lnTo>
                <a:lnTo>
                  <a:pt x="375" y="671"/>
                </a:lnTo>
                <a:lnTo>
                  <a:pt x="364" y="667"/>
                </a:lnTo>
                <a:lnTo>
                  <a:pt x="354" y="663"/>
                </a:lnTo>
                <a:lnTo>
                  <a:pt x="344" y="657"/>
                </a:lnTo>
                <a:lnTo>
                  <a:pt x="334" y="652"/>
                </a:lnTo>
                <a:lnTo>
                  <a:pt x="325" y="646"/>
                </a:lnTo>
                <a:lnTo>
                  <a:pt x="316" y="639"/>
                </a:lnTo>
                <a:lnTo>
                  <a:pt x="307" y="632"/>
                </a:lnTo>
                <a:lnTo>
                  <a:pt x="299" y="625"/>
                </a:lnTo>
                <a:lnTo>
                  <a:pt x="291" y="618"/>
                </a:lnTo>
                <a:lnTo>
                  <a:pt x="283" y="610"/>
                </a:lnTo>
                <a:lnTo>
                  <a:pt x="276" y="601"/>
                </a:lnTo>
                <a:lnTo>
                  <a:pt x="269" y="592"/>
                </a:lnTo>
                <a:lnTo>
                  <a:pt x="263" y="583"/>
                </a:lnTo>
                <a:lnTo>
                  <a:pt x="257" y="574"/>
                </a:lnTo>
                <a:lnTo>
                  <a:pt x="251" y="564"/>
                </a:lnTo>
                <a:lnTo>
                  <a:pt x="246" y="554"/>
                </a:lnTo>
                <a:lnTo>
                  <a:pt x="241" y="544"/>
                </a:lnTo>
                <a:lnTo>
                  <a:pt x="237" y="533"/>
                </a:lnTo>
                <a:lnTo>
                  <a:pt x="233" y="523"/>
                </a:lnTo>
                <a:lnTo>
                  <a:pt x="229" y="512"/>
                </a:lnTo>
                <a:lnTo>
                  <a:pt x="227" y="500"/>
                </a:lnTo>
                <a:lnTo>
                  <a:pt x="225" y="489"/>
                </a:lnTo>
                <a:lnTo>
                  <a:pt x="223" y="477"/>
                </a:lnTo>
                <a:lnTo>
                  <a:pt x="222" y="465"/>
                </a:lnTo>
                <a:lnTo>
                  <a:pt x="222" y="453"/>
                </a:lnTo>
                <a:lnTo>
                  <a:pt x="222" y="441"/>
                </a:lnTo>
                <a:lnTo>
                  <a:pt x="223" y="429"/>
                </a:lnTo>
                <a:lnTo>
                  <a:pt x="225" y="417"/>
                </a:lnTo>
                <a:lnTo>
                  <a:pt x="227" y="406"/>
                </a:lnTo>
                <a:lnTo>
                  <a:pt x="229" y="394"/>
                </a:lnTo>
                <a:lnTo>
                  <a:pt x="233" y="383"/>
                </a:lnTo>
                <a:lnTo>
                  <a:pt x="237" y="373"/>
                </a:lnTo>
                <a:lnTo>
                  <a:pt x="241" y="362"/>
                </a:lnTo>
                <a:lnTo>
                  <a:pt x="246" y="352"/>
                </a:lnTo>
                <a:lnTo>
                  <a:pt x="251" y="342"/>
                </a:lnTo>
                <a:lnTo>
                  <a:pt x="257" y="332"/>
                </a:lnTo>
                <a:lnTo>
                  <a:pt x="263" y="323"/>
                </a:lnTo>
                <a:lnTo>
                  <a:pt x="269" y="314"/>
                </a:lnTo>
                <a:lnTo>
                  <a:pt x="276" y="305"/>
                </a:lnTo>
                <a:lnTo>
                  <a:pt x="283" y="297"/>
                </a:lnTo>
                <a:lnTo>
                  <a:pt x="291" y="288"/>
                </a:lnTo>
                <a:lnTo>
                  <a:pt x="299" y="281"/>
                </a:lnTo>
                <a:lnTo>
                  <a:pt x="307" y="274"/>
                </a:lnTo>
                <a:lnTo>
                  <a:pt x="316" y="267"/>
                </a:lnTo>
                <a:lnTo>
                  <a:pt x="325" y="260"/>
                </a:lnTo>
                <a:lnTo>
                  <a:pt x="334" y="254"/>
                </a:lnTo>
                <a:lnTo>
                  <a:pt x="344" y="249"/>
                </a:lnTo>
                <a:lnTo>
                  <a:pt x="354" y="244"/>
                </a:lnTo>
                <a:lnTo>
                  <a:pt x="364" y="239"/>
                </a:lnTo>
                <a:lnTo>
                  <a:pt x="375" y="235"/>
                </a:lnTo>
                <a:lnTo>
                  <a:pt x="386" y="231"/>
                </a:lnTo>
                <a:lnTo>
                  <a:pt x="397" y="228"/>
                </a:lnTo>
                <a:lnTo>
                  <a:pt x="408" y="225"/>
                </a:lnTo>
                <a:lnTo>
                  <a:pt x="419" y="223"/>
                </a:lnTo>
                <a:lnTo>
                  <a:pt x="431" y="222"/>
                </a:lnTo>
                <a:lnTo>
                  <a:pt x="443" y="221"/>
                </a:lnTo>
                <a:lnTo>
                  <a:pt x="455" y="221"/>
                </a:lnTo>
                <a:lnTo>
                  <a:pt x="467" y="221"/>
                </a:lnTo>
                <a:lnTo>
                  <a:pt x="479" y="222"/>
                </a:lnTo>
                <a:lnTo>
                  <a:pt x="490" y="223"/>
                </a:lnTo>
                <a:lnTo>
                  <a:pt x="502" y="225"/>
                </a:lnTo>
                <a:lnTo>
                  <a:pt x="513" y="228"/>
                </a:lnTo>
                <a:lnTo>
                  <a:pt x="524" y="231"/>
                </a:lnTo>
                <a:lnTo>
                  <a:pt x="535" y="235"/>
                </a:lnTo>
                <a:lnTo>
                  <a:pt x="545" y="239"/>
                </a:lnTo>
                <a:lnTo>
                  <a:pt x="555" y="244"/>
                </a:lnTo>
                <a:lnTo>
                  <a:pt x="565" y="249"/>
                </a:lnTo>
                <a:lnTo>
                  <a:pt x="575" y="254"/>
                </a:lnTo>
                <a:lnTo>
                  <a:pt x="585" y="260"/>
                </a:lnTo>
                <a:lnTo>
                  <a:pt x="594" y="267"/>
                </a:lnTo>
                <a:lnTo>
                  <a:pt x="602" y="274"/>
                </a:lnTo>
                <a:lnTo>
                  <a:pt x="611" y="281"/>
                </a:lnTo>
                <a:lnTo>
                  <a:pt x="619" y="288"/>
                </a:lnTo>
                <a:lnTo>
                  <a:pt x="627" y="297"/>
                </a:lnTo>
                <a:lnTo>
                  <a:pt x="634" y="305"/>
                </a:lnTo>
                <a:lnTo>
                  <a:pt x="641" y="314"/>
                </a:lnTo>
                <a:lnTo>
                  <a:pt x="647" y="323"/>
                </a:lnTo>
                <a:lnTo>
                  <a:pt x="653" y="332"/>
                </a:lnTo>
                <a:lnTo>
                  <a:pt x="659" y="342"/>
                </a:lnTo>
                <a:lnTo>
                  <a:pt x="664" y="352"/>
                </a:lnTo>
                <a:lnTo>
                  <a:pt x="668" y="362"/>
                </a:lnTo>
                <a:lnTo>
                  <a:pt x="673" y="373"/>
                </a:lnTo>
                <a:lnTo>
                  <a:pt x="676" y="383"/>
                </a:lnTo>
                <a:lnTo>
                  <a:pt x="679" y="394"/>
                </a:lnTo>
                <a:lnTo>
                  <a:pt x="682" y="406"/>
                </a:lnTo>
                <a:lnTo>
                  <a:pt x="684" y="417"/>
                </a:lnTo>
                <a:lnTo>
                  <a:pt x="685" y="429"/>
                </a:lnTo>
                <a:lnTo>
                  <a:pt x="686" y="441"/>
                </a:lnTo>
                <a:lnTo>
                  <a:pt x="687" y="453"/>
                </a:lnTo>
                <a:lnTo>
                  <a:pt x="686" y="465"/>
                </a:lnTo>
                <a:lnTo>
                  <a:pt x="685" y="477"/>
                </a:lnTo>
                <a:lnTo>
                  <a:pt x="684" y="489"/>
                </a:lnTo>
                <a:lnTo>
                  <a:pt x="682" y="500"/>
                </a:lnTo>
                <a:lnTo>
                  <a:pt x="679" y="512"/>
                </a:lnTo>
                <a:lnTo>
                  <a:pt x="676" y="523"/>
                </a:lnTo>
                <a:lnTo>
                  <a:pt x="673" y="533"/>
                </a:lnTo>
                <a:lnTo>
                  <a:pt x="668" y="544"/>
                </a:lnTo>
                <a:lnTo>
                  <a:pt x="664" y="554"/>
                </a:lnTo>
                <a:lnTo>
                  <a:pt x="659" y="564"/>
                </a:lnTo>
                <a:lnTo>
                  <a:pt x="653" y="574"/>
                </a:lnTo>
                <a:lnTo>
                  <a:pt x="647" y="583"/>
                </a:lnTo>
                <a:lnTo>
                  <a:pt x="641" y="592"/>
                </a:lnTo>
                <a:lnTo>
                  <a:pt x="634" y="601"/>
                </a:lnTo>
                <a:lnTo>
                  <a:pt x="627" y="610"/>
                </a:lnTo>
                <a:lnTo>
                  <a:pt x="619" y="618"/>
                </a:lnTo>
                <a:lnTo>
                  <a:pt x="611" y="625"/>
                </a:lnTo>
                <a:lnTo>
                  <a:pt x="602" y="632"/>
                </a:lnTo>
                <a:lnTo>
                  <a:pt x="594" y="639"/>
                </a:lnTo>
                <a:lnTo>
                  <a:pt x="585" y="646"/>
                </a:lnTo>
                <a:lnTo>
                  <a:pt x="575" y="652"/>
                </a:lnTo>
                <a:lnTo>
                  <a:pt x="565" y="657"/>
                </a:lnTo>
                <a:lnTo>
                  <a:pt x="555" y="663"/>
                </a:lnTo>
                <a:lnTo>
                  <a:pt x="545" y="667"/>
                </a:lnTo>
                <a:lnTo>
                  <a:pt x="535" y="671"/>
                </a:lnTo>
                <a:lnTo>
                  <a:pt x="524" y="675"/>
                </a:lnTo>
                <a:lnTo>
                  <a:pt x="513" y="678"/>
                </a:lnTo>
                <a:lnTo>
                  <a:pt x="502" y="681"/>
                </a:lnTo>
                <a:lnTo>
                  <a:pt x="490" y="683"/>
                </a:lnTo>
                <a:lnTo>
                  <a:pt x="479" y="684"/>
                </a:lnTo>
                <a:lnTo>
                  <a:pt x="467" y="685"/>
                </a:lnTo>
                <a:lnTo>
                  <a:pt x="455" y="685"/>
                </a:lnTo>
                <a:close/>
                <a:moveTo>
                  <a:pt x="455" y="301"/>
                </a:moveTo>
                <a:lnTo>
                  <a:pt x="440" y="302"/>
                </a:lnTo>
                <a:lnTo>
                  <a:pt x="426" y="304"/>
                </a:lnTo>
                <a:lnTo>
                  <a:pt x="419" y="305"/>
                </a:lnTo>
                <a:lnTo>
                  <a:pt x="412" y="307"/>
                </a:lnTo>
                <a:lnTo>
                  <a:pt x="406" y="309"/>
                </a:lnTo>
                <a:lnTo>
                  <a:pt x="399" y="312"/>
                </a:lnTo>
                <a:lnTo>
                  <a:pt x="393" y="315"/>
                </a:lnTo>
                <a:lnTo>
                  <a:pt x="387" y="318"/>
                </a:lnTo>
                <a:lnTo>
                  <a:pt x="381" y="321"/>
                </a:lnTo>
                <a:lnTo>
                  <a:pt x="375" y="325"/>
                </a:lnTo>
                <a:lnTo>
                  <a:pt x="369" y="329"/>
                </a:lnTo>
                <a:lnTo>
                  <a:pt x="364" y="333"/>
                </a:lnTo>
                <a:lnTo>
                  <a:pt x="359" y="338"/>
                </a:lnTo>
                <a:lnTo>
                  <a:pt x="354" y="343"/>
                </a:lnTo>
                <a:lnTo>
                  <a:pt x="349" y="348"/>
                </a:lnTo>
                <a:lnTo>
                  <a:pt x="345" y="353"/>
                </a:lnTo>
                <a:lnTo>
                  <a:pt x="341" y="359"/>
                </a:lnTo>
                <a:lnTo>
                  <a:pt x="337" y="365"/>
                </a:lnTo>
                <a:lnTo>
                  <a:pt x="329" y="377"/>
                </a:lnTo>
                <a:lnTo>
                  <a:pt x="326" y="384"/>
                </a:lnTo>
                <a:lnTo>
                  <a:pt x="323" y="391"/>
                </a:lnTo>
                <a:lnTo>
                  <a:pt x="321" y="398"/>
                </a:lnTo>
                <a:lnTo>
                  <a:pt x="319" y="405"/>
                </a:lnTo>
                <a:lnTo>
                  <a:pt x="317" y="412"/>
                </a:lnTo>
                <a:lnTo>
                  <a:pt x="315" y="420"/>
                </a:lnTo>
                <a:lnTo>
                  <a:pt x="313" y="436"/>
                </a:lnTo>
                <a:lnTo>
                  <a:pt x="312" y="453"/>
                </a:lnTo>
                <a:lnTo>
                  <a:pt x="312" y="462"/>
                </a:lnTo>
                <a:lnTo>
                  <a:pt x="313" y="470"/>
                </a:lnTo>
                <a:lnTo>
                  <a:pt x="314" y="478"/>
                </a:lnTo>
                <a:lnTo>
                  <a:pt x="315" y="486"/>
                </a:lnTo>
                <a:lnTo>
                  <a:pt x="319" y="501"/>
                </a:lnTo>
                <a:lnTo>
                  <a:pt x="323" y="515"/>
                </a:lnTo>
                <a:lnTo>
                  <a:pt x="329" y="529"/>
                </a:lnTo>
                <a:lnTo>
                  <a:pt x="333" y="535"/>
                </a:lnTo>
                <a:lnTo>
                  <a:pt x="337" y="541"/>
                </a:lnTo>
                <a:lnTo>
                  <a:pt x="341" y="547"/>
                </a:lnTo>
                <a:lnTo>
                  <a:pt x="345" y="553"/>
                </a:lnTo>
                <a:lnTo>
                  <a:pt x="349" y="558"/>
                </a:lnTo>
                <a:lnTo>
                  <a:pt x="354" y="563"/>
                </a:lnTo>
                <a:lnTo>
                  <a:pt x="359" y="568"/>
                </a:lnTo>
                <a:lnTo>
                  <a:pt x="364" y="573"/>
                </a:lnTo>
                <a:lnTo>
                  <a:pt x="369" y="577"/>
                </a:lnTo>
                <a:lnTo>
                  <a:pt x="375" y="581"/>
                </a:lnTo>
                <a:lnTo>
                  <a:pt x="387" y="588"/>
                </a:lnTo>
                <a:lnTo>
                  <a:pt x="393" y="591"/>
                </a:lnTo>
                <a:lnTo>
                  <a:pt x="399" y="594"/>
                </a:lnTo>
                <a:lnTo>
                  <a:pt x="412" y="599"/>
                </a:lnTo>
                <a:lnTo>
                  <a:pt x="426" y="602"/>
                </a:lnTo>
                <a:lnTo>
                  <a:pt x="433" y="604"/>
                </a:lnTo>
                <a:lnTo>
                  <a:pt x="440" y="604"/>
                </a:lnTo>
                <a:lnTo>
                  <a:pt x="455" y="605"/>
                </a:lnTo>
                <a:lnTo>
                  <a:pt x="469" y="604"/>
                </a:lnTo>
                <a:lnTo>
                  <a:pt x="484" y="602"/>
                </a:lnTo>
                <a:lnTo>
                  <a:pt x="490" y="601"/>
                </a:lnTo>
                <a:lnTo>
                  <a:pt x="497" y="599"/>
                </a:lnTo>
                <a:lnTo>
                  <a:pt x="504" y="597"/>
                </a:lnTo>
                <a:lnTo>
                  <a:pt x="510" y="594"/>
                </a:lnTo>
                <a:lnTo>
                  <a:pt x="517" y="591"/>
                </a:lnTo>
                <a:lnTo>
                  <a:pt x="523" y="588"/>
                </a:lnTo>
                <a:lnTo>
                  <a:pt x="529" y="585"/>
                </a:lnTo>
                <a:lnTo>
                  <a:pt x="535" y="581"/>
                </a:lnTo>
                <a:lnTo>
                  <a:pt x="540" y="577"/>
                </a:lnTo>
                <a:lnTo>
                  <a:pt x="546" y="573"/>
                </a:lnTo>
                <a:lnTo>
                  <a:pt x="551" y="568"/>
                </a:lnTo>
                <a:lnTo>
                  <a:pt x="556" y="563"/>
                </a:lnTo>
                <a:lnTo>
                  <a:pt x="560" y="558"/>
                </a:lnTo>
                <a:lnTo>
                  <a:pt x="565" y="553"/>
                </a:lnTo>
                <a:lnTo>
                  <a:pt x="569" y="547"/>
                </a:lnTo>
                <a:lnTo>
                  <a:pt x="573" y="541"/>
                </a:lnTo>
                <a:lnTo>
                  <a:pt x="580" y="529"/>
                </a:lnTo>
                <a:lnTo>
                  <a:pt x="583" y="522"/>
                </a:lnTo>
                <a:lnTo>
                  <a:pt x="586" y="515"/>
                </a:lnTo>
                <a:lnTo>
                  <a:pt x="589" y="508"/>
                </a:lnTo>
                <a:lnTo>
                  <a:pt x="591" y="501"/>
                </a:lnTo>
                <a:lnTo>
                  <a:pt x="593" y="494"/>
                </a:lnTo>
                <a:lnTo>
                  <a:pt x="595" y="486"/>
                </a:lnTo>
                <a:lnTo>
                  <a:pt x="597" y="470"/>
                </a:lnTo>
                <a:lnTo>
                  <a:pt x="597" y="453"/>
                </a:lnTo>
                <a:lnTo>
                  <a:pt x="597" y="444"/>
                </a:lnTo>
                <a:lnTo>
                  <a:pt x="597" y="436"/>
                </a:lnTo>
                <a:lnTo>
                  <a:pt x="596" y="428"/>
                </a:lnTo>
                <a:lnTo>
                  <a:pt x="595" y="420"/>
                </a:lnTo>
                <a:lnTo>
                  <a:pt x="591" y="405"/>
                </a:lnTo>
                <a:lnTo>
                  <a:pt x="586" y="391"/>
                </a:lnTo>
                <a:lnTo>
                  <a:pt x="580" y="377"/>
                </a:lnTo>
                <a:lnTo>
                  <a:pt x="577" y="371"/>
                </a:lnTo>
                <a:lnTo>
                  <a:pt x="573" y="365"/>
                </a:lnTo>
                <a:lnTo>
                  <a:pt x="569" y="359"/>
                </a:lnTo>
                <a:lnTo>
                  <a:pt x="565" y="353"/>
                </a:lnTo>
                <a:lnTo>
                  <a:pt x="560" y="348"/>
                </a:lnTo>
                <a:lnTo>
                  <a:pt x="556" y="343"/>
                </a:lnTo>
                <a:lnTo>
                  <a:pt x="551" y="338"/>
                </a:lnTo>
                <a:lnTo>
                  <a:pt x="546" y="333"/>
                </a:lnTo>
                <a:lnTo>
                  <a:pt x="540" y="329"/>
                </a:lnTo>
                <a:lnTo>
                  <a:pt x="535" y="325"/>
                </a:lnTo>
                <a:lnTo>
                  <a:pt x="523" y="318"/>
                </a:lnTo>
                <a:lnTo>
                  <a:pt x="517" y="315"/>
                </a:lnTo>
                <a:lnTo>
                  <a:pt x="510" y="312"/>
                </a:lnTo>
                <a:lnTo>
                  <a:pt x="497" y="307"/>
                </a:lnTo>
                <a:lnTo>
                  <a:pt x="484" y="304"/>
                </a:lnTo>
                <a:lnTo>
                  <a:pt x="477" y="303"/>
                </a:lnTo>
                <a:lnTo>
                  <a:pt x="469" y="302"/>
                </a:lnTo>
                <a:lnTo>
                  <a:pt x="455" y="301"/>
                </a:lnTo>
                <a:close/>
              </a:path>
            </a:pathLst>
          </a:custGeom>
          <a:solidFill>
            <a:srgbClr val="19F1C2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19" name="Freeform 21"/>
          <p:cNvSpPr>
            <a:spLocks noEditPoints="1"/>
          </p:cNvSpPr>
          <p:nvPr userDrawn="1"/>
        </p:nvSpPr>
        <p:spPr bwMode="auto">
          <a:xfrm>
            <a:off x="2611466" y="1"/>
            <a:ext cx="1306629" cy="1285880"/>
          </a:xfrm>
          <a:custGeom>
            <a:avLst/>
            <a:gdLst>
              <a:gd name="T0" fmla="*/ 908 w 908"/>
              <a:gd name="T1" fmla="*/ 453 h 907"/>
              <a:gd name="T2" fmla="*/ 0 w 908"/>
              <a:gd name="T3" fmla="*/ 453 h 907"/>
              <a:gd name="T4" fmla="*/ 591 w 908"/>
              <a:gd name="T5" fmla="*/ 623 h 907"/>
              <a:gd name="T6" fmla="*/ 572 w 908"/>
              <a:gd name="T7" fmla="*/ 643 h 907"/>
              <a:gd name="T8" fmla="*/ 532 w 908"/>
              <a:gd name="T9" fmla="*/ 668 h 907"/>
              <a:gd name="T10" fmla="*/ 494 w 908"/>
              <a:gd name="T11" fmla="*/ 681 h 907"/>
              <a:gd name="T12" fmla="*/ 450 w 908"/>
              <a:gd name="T13" fmla="*/ 685 h 907"/>
              <a:gd name="T14" fmla="*/ 404 w 908"/>
              <a:gd name="T15" fmla="*/ 681 h 907"/>
              <a:gd name="T16" fmla="*/ 361 w 908"/>
              <a:gd name="T17" fmla="*/ 667 h 907"/>
              <a:gd name="T18" fmla="*/ 323 w 908"/>
              <a:gd name="T19" fmla="*/ 646 h 907"/>
              <a:gd name="T20" fmla="*/ 290 w 908"/>
              <a:gd name="T21" fmla="*/ 618 h 907"/>
              <a:gd name="T22" fmla="*/ 264 w 908"/>
              <a:gd name="T23" fmla="*/ 583 h 907"/>
              <a:gd name="T24" fmla="*/ 244 w 908"/>
              <a:gd name="T25" fmla="*/ 544 h 907"/>
              <a:gd name="T26" fmla="*/ 231 w 908"/>
              <a:gd name="T27" fmla="*/ 500 h 907"/>
              <a:gd name="T28" fmla="*/ 227 w 908"/>
              <a:gd name="T29" fmla="*/ 453 h 907"/>
              <a:gd name="T30" fmla="*/ 231 w 908"/>
              <a:gd name="T31" fmla="*/ 406 h 907"/>
              <a:gd name="T32" fmla="*/ 240 w 908"/>
              <a:gd name="T33" fmla="*/ 373 h 907"/>
              <a:gd name="T34" fmla="*/ 258 w 908"/>
              <a:gd name="T35" fmla="*/ 332 h 907"/>
              <a:gd name="T36" fmla="*/ 283 w 908"/>
              <a:gd name="T37" fmla="*/ 297 h 907"/>
              <a:gd name="T38" fmla="*/ 310 w 908"/>
              <a:gd name="T39" fmla="*/ 270 h 907"/>
              <a:gd name="T40" fmla="*/ 342 w 908"/>
              <a:gd name="T41" fmla="*/ 249 h 907"/>
              <a:gd name="T42" fmla="*/ 382 w 908"/>
              <a:gd name="T43" fmla="*/ 231 h 907"/>
              <a:gd name="T44" fmla="*/ 427 w 908"/>
              <a:gd name="T45" fmla="*/ 222 h 907"/>
              <a:gd name="T46" fmla="*/ 473 w 908"/>
              <a:gd name="T47" fmla="*/ 222 h 907"/>
              <a:gd name="T48" fmla="*/ 513 w 908"/>
              <a:gd name="T49" fmla="*/ 231 h 907"/>
              <a:gd name="T50" fmla="*/ 548 w 908"/>
              <a:gd name="T51" fmla="*/ 247 h 907"/>
              <a:gd name="T52" fmla="*/ 571 w 908"/>
              <a:gd name="T53" fmla="*/ 263 h 907"/>
              <a:gd name="T54" fmla="*/ 591 w 908"/>
              <a:gd name="T55" fmla="*/ 230 h 907"/>
              <a:gd name="T56" fmla="*/ 450 w 908"/>
              <a:gd name="T57" fmla="*/ 306 h 907"/>
              <a:gd name="T58" fmla="*/ 417 w 908"/>
              <a:gd name="T59" fmla="*/ 311 h 907"/>
              <a:gd name="T60" fmla="*/ 383 w 908"/>
              <a:gd name="T61" fmla="*/ 327 h 907"/>
              <a:gd name="T62" fmla="*/ 351 w 908"/>
              <a:gd name="T63" fmla="*/ 356 h 907"/>
              <a:gd name="T64" fmla="*/ 332 w 908"/>
              <a:gd name="T65" fmla="*/ 386 h 907"/>
              <a:gd name="T66" fmla="*/ 318 w 908"/>
              <a:gd name="T67" fmla="*/ 434 h 907"/>
              <a:gd name="T68" fmla="*/ 317 w 908"/>
              <a:gd name="T69" fmla="*/ 484 h 907"/>
              <a:gd name="T70" fmla="*/ 325 w 908"/>
              <a:gd name="T71" fmla="*/ 518 h 907"/>
              <a:gd name="T72" fmla="*/ 336 w 908"/>
              <a:gd name="T73" fmla="*/ 545 h 907"/>
              <a:gd name="T74" fmla="*/ 351 w 908"/>
              <a:gd name="T75" fmla="*/ 568 h 907"/>
              <a:gd name="T76" fmla="*/ 371 w 908"/>
              <a:gd name="T77" fmla="*/ 589 h 907"/>
              <a:gd name="T78" fmla="*/ 396 w 908"/>
              <a:gd name="T79" fmla="*/ 605 h 907"/>
              <a:gd name="T80" fmla="*/ 425 w 908"/>
              <a:gd name="T81" fmla="*/ 615 h 907"/>
              <a:gd name="T82" fmla="*/ 458 w 908"/>
              <a:gd name="T83" fmla="*/ 618 h 907"/>
              <a:gd name="T84" fmla="*/ 509 w 908"/>
              <a:gd name="T85" fmla="*/ 609 h 907"/>
              <a:gd name="T86" fmla="*/ 537 w 908"/>
              <a:gd name="T87" fmla="*/ 593 h 907"/>
              <a:gd name="T88" fmla="*/ 557 w 908"/>
              <a:gd name="T89" fmla="*/ 576 h 907"/>
              <a:gd name="T90" fmla="*/ 576 w 908"/>
              <a:gd name="T91" fmla="*/ 546 h 907"/>
              <a:gd name="T92" fmla="*/ 589 w 908"/>
              <a:gd name="T93" fmla="*/ 508 h 907"/>
              <a:gd name="T94" fmla="*/ 594 w 908"/>
              <a:gd name="T95" fmla="*/ 472 h 907"/>
              <a:gd name="T96" fmla="*/ 592 w 908"/>
              <a:gd name="T97" fmla="*/ 434 h 907"/>
              <a:gd name="T98" fmla="*/ 582 w 908"/>
              <a:gd name="T99" fmla="*/ 392 h 907"/>
              <a:gd name="T100" fmla="*/ 569 w 908"/>
              <a:gd name="T101" fmla="*/ 365 h 907"/>
              <a:gd name="T102" fmla="*/ 542 w 908"/>
              <a:gd name="T103" fmla="*/ 334 h 907"/>
              <a:gd name="T104" fmla="*/ 515 w 908"/>
              <a:gd name="T105" fmla="*/ 317 h 907"/>
              <a:gd name="T106" fmla="*/ 490 w 908"/>
              <a:gd name="T107" fmla="*/ 309 h 907"/>
              <a:gd name="T108" fmla="*/ 458 w 908"/>
              <a:gd name="T109" fmla="*/ 305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  <a:moveTo>
                  <a:pt x="680" y="676"/>
                </a:moveTo>
                <a:lnTo>
                  <a:pt x="591" y="676"/>
                </a:lnTo>
                <a:lnTo>
                  <a:pt x="591" y="623"/>
                </a:lnTo>
                <a:lnTo>
                  <a:pt x="588" y="627"/>
                </a:lnTo>
                <a:lnTo>
                  <a:pt x="585" y="630"/>
                </a:lnTo>
                <a:lnTo>
                  <a:pt x="579" y="636"/>
                </a:lnTo>
                <a:lnTo>
                  <a:pt x="572" y="643"/>
                </a:lnTo>
                <a:lnTo>
                  <a:pt x="564" y="649"/>
                </a:lnTo>
                <a:lnTo>
                  <a:pt x="549" y="659"/>
                </a:lnTo>
                <a:lnTo>
                  <a:pt x="541" y="664"/>
                </a:lnTo>
                <a:lnTo>
                  <a:pt x="532" y="668"/>
                </a:lnTo>
                <a:lnTo>
                  <a:pt x="523" y="672"/>
                </a:lnTo>
                <a:lnTo>
                  <a:pt x="514" y="676"/>
                </a:lnTo>
                <a:lnTo>
                  <a:pt x="504" y="678"/>
                </a:lnTo>
                <a:lnTo>
                  <a:pt x="494" y="681"/>
                </a:lnTo>
                <a:lnTo>
                  <a:pt x="484" y="683"/>
                </a:lnTo>
                <a:lnTo>
                  <a:pt x="473" y="684"/>
                </a:lnTo>
                <a:lnTo>
                  <a:pt x="462" y="685"/>
                </a:lnTo>
                <a:lnTo>
                  <a:pt x="450" y="685"/>
                </a:lnTo>
                <a:lnTo>
                  <a:pt x="439" y="685"/>
                </a:lnTo>
                <a:lnTo>
                  <a:pt x="427" y="684"/>
                </a:lnTo>
                <a:lnTo>
                  <a:pt x="415" y="683"/>
                </a:lnTo>
                <a:lnTo>
                  <a:pt x="404" y="681"/>
                </a:lnTo>
                <a:lnTo>
                  <a:pt x="393" y="678"/>
                </a:lnTo>
                <a:lnTo>
                  <a:pt x="382" y="675"/>
                </a:lnTo>
                <a:lnTo>
                  <a:pt x="372" y="671"/>
                </a:lnTo>
                <a:lnTo>
                  <a:pt x="361" y="667"/>
                </a:lnTo>
                <a:lnTo>
                  <a:pt x="351" y="663"/>
                </a:lnTo>
                <a:lnTo>
                  <a:pt x="342" y="657"/>
                </a:lnTo>
                <a:lnTo>
                  <a:pt x="332" y="652"/>
                </a:lnTo>
                <a:lnTo>
                  <a:pt x="323" y="646"/>
                </a:lnTo>
                <a:lnTo>
                  <a:pt x="315" y="639"/>
                </a:lnTo>
                <a:lnTo>
                  <a:pt x="306" y="633"/>
                </a:lnTo>
                <a:lnTo>
                  <a:pt x="298" y="625"/>
                </a:lnTo>
                <a:lnTo>
                  <a:pt x="290" y="618"/>
                </a:lnTo>
                <a:lnTo>
                  <a:pt x="283" y="609"/>
                </a:lnTo>
                <a:lnTo>
                  <a:pt x="276" y="601"/>
                </a:lnTo>
                <a:lnTo>
                  <a:pt x="270" y="592"/>
                </a:lnTo>
                <a:lnTo>
                  <a:pt x="264" y="583"/>
                </a:lnTo>
                <a:lnTo>
                  <a:pt x="258" y="574"/>
                </a:lnTo>
                <a:lnTo>
                  <a:pt x="253" y="564"/>
                </a:lnTo>
                <a:lnTo>
                  <a:pt x="248" y="554"/>
                </a:lnTo>
                <a:lnTo>
                  <a:pt x="244" y="544"/>
                </a:lnTo>
                <a:lnTo>
                  <a:pt x="240" y="533"/>
                </a:lnTo>
                <a:lnTo>
                  <a:pt x="236" y="522"/>
                </a:lnTo>
                <a:lnTo>
                  <a:pt x="233" y="511"/>
                </a:lnTo>
                <a:lnTo>
                  <a:pt x="231" y="500"/>
                </a:lnTo>
                <a:lnTo>
                  <a:pt x="229" y="488"/>
                </a:lnTo>
                <a:lnTo>
                  <a:pt x="228" y="477"/>
                </a:lnTo>
                <a:lnTo>
                  <a:pt x="227" y="465"/>
                </a:lnTo>
                <a:lnTo>
                  <a:pt x="227" y="453"/>
                </a:lnTo>
                <a:lnTo>
                  <a:pt x="227" y="441"/>
                </a:lnTo>
                <a:lnTo>
                  <a:pt x="228" y="429"/>
                </a:lnTo>
                <a:lnTo>
                  <a:pt x="229" y="417"/>
                </a:lnTo>
                <a:lnTo>
                  <a:pt x="231" y="406"/>
                </a:lnTo>
                <a:lnTo>
                  <a:pt x="233" y="395"/>
                </a:lnTo>
                <a:lnTo>
                  <a:pt x="235" y="389"/>
                </a:lnTo>
                <a:lnTo>
                  <a:pt x="236" y="384"/>
                </a:lnTo>
                <a:lnTo>
                  <a:pt x="240" y="373"/>
                </a:lnTo>
                <a:lnTo>
                  <a:pt x="244" y="362"/>
                </a:lnTo>
                <a:lnTo>
                  <a:pt x="248" y="352"/>
                </a:lnTo>
                <a:lnTo>
                  <a:pt x="253" y="342"/>
                </a:lnTo>
                <a:lnTo>
                  <a:pt x="258" y="332"/>
                </a:lnTo>
                <a:lnTo>
                  <a:pt x="264" y="323"/>
                </a:lnTo>
                <a:lnTo>
                  <a:pt x="270" y="314"/>
                </a:lnTo>
                <a:lnTo>
                  <a:pt x="276" y="305"/>
                </a:lnTo>
                <a:lnTo>
                  <a:pt x="283" y="297"/>
                </a:lnTo>
                <a:lnTo>
                  <a:pt x="290" y="289"/>
                </a:lnTo>
                <a:lnTo>
                  <a:pt x="298" y="281"/>
                </a:lnTo>
                <a:lnTo>
                  <a:pt x="306" y="274"/>
                </a:lnTo>
                <a:lnTo>
                  <a:pt x="310" y="270"/>
                </a:lnTo>
                <a:lnTo>
                  <a:pt x="315" y="267"/>
                </a:lnTo>
                <a:lnTo>
                  <a:pt x="323" y="260"/>
                </a:lnTo>
                <a:lnTo>
                  <a:pt x="332" y="254"/>
                </a:lnTo>
                <a:lnTo>
                  <a:pt x="342" y="249"/>
                </a:lnTo>
                <a:lnTo>
                  <a:pt x="351" y="244"/>
                </a:lnTo>
                <a:lnTo>
                  <a:pt x="361" y="239"/>
                </a:lnTo>
                <a:lnTo>
                  <a:pt x="372" y="235"/>
                </a:lnTo>
                <a:lnTo>
                  <a:pt x="382" y="231"/>
                </a:lnTo>
                <a:lnTo>
                  <a:pt x="393" y="228"/>
                </a:lnTo>
                <a:lnTo>
                  <a:pt x="404" y="226"/>
                </a:lnTo>
                <a:lnTo>
                  <a:pt x="415" y="224"/>
                </a:lnTo>
                <a:lnTo>
                  <a:pt x="427" y="222"/>
                </a:lnTo>
                <a:lnTo>
                  <a:pt x="439" y="221"/>
                </a:lnTo>
                <a:lnTo>
                  <a:pt x="450" y="221"/>
                </a:lnTo>
                <a:lnTo>
                  <a:pt x="462" y="221"/>
                </a:lnTo>
                <a:lnTo>
                  <a:pt x="473" y="222"/>
                </a:lnTo>
                <a:lnTo>
                  <a:pt x="483" y="223"/>
                </a:lnTo>
                <a:lnTo>
                  <a:pt x="494" y="225"/>
                </a:lnTo>
                <a:lnTo>
                  <a:pt x="504" y="228"/>
                </a:lnTo>
                <a:lnTo>
                  <a:pt x="513" y="231"/>
                </a:lnTo>
                <a:lnTo>
                  <a:pt x="523" y="234"/>
                </a:lnTo>
                <a:lnTo>
                  <a:pt x="532" y="238"/>
                </a:lnTo>
                <a:lnTo>
                  <a:pt x="540" y="242"/>
                </a:lnTo>
                <a:lnTo>
                  <a:pt x="548" y="247"/>
                </a:lnTo>
                <a:lnTo>
                  <a:pt x="556" y="252"/>
                </a:lnTo>
                <a:lnTo>
                  <a:pt x="560" y="254"/>
                </a:lnTo>
                <a:lnTo>
                  <a:pt x="564" y="257"/>
                </a:lnTo>
                <a:lnTo>
                  <a:pt x="571" y="263"/>
                </a:lnTo>
                <a:lnTo>
                  <a:pt x="578" y="269"/>
                </a:lnTo>
                <a:lnTo>
                  <a:pt x="585" y="276"/>
                </a:lnTo>
                <a:lnTo>
                  <a:pt x="591" y="282"/>
                </a:lnTo>
                <a:lnTo>
                  <a:pt x="591" y="230"/>
                </a:lnTo>
                <a:lnTo>
                  <a:pt x="680" y="230"/>
                </a:lnTo>
                <a:lnTo>
                  <a:pt x="680" y="676"/>
                </a:lnTo>
                <a:close/>
                <a:moveTo>
                  <a:pt x="458" y="305"/>
                </a:moveTo>
                <a:lnTo>
                  <a:pt x="450" y="306"/>
                </a:lnTo>
                <a:lnTo>
                  <a:pt x="441" y="306"/>
                </a:lnTo>
                <a:lnTo>
                  <a:pt x="433" y="308"/>
                </a:lnTo>
                <a:lnTo>
                  <a:pt x="425" y="309"/>
                </a:lnTo>
                <a:lnTo>
                  <a:pt x="417" y="311"/>
                </a:lnTo>
                <a:lnTo>
                  <a:pt x="410" y="314"/>
                </a:lnTo>
                <a:lnTo>
                  <a:pt x="402" y="316"/>
                </a:lnTo>
                <a:lnTo>
                  <a:pt x="396" y="319"/>
                </a:lnTo>
                <a:lnTo>
                  <a:pt x="383" y="327"/>
                </a:lnTo>
                <a:lnTo>
                  <a:pt x="371" y="335"/>
                </a:lnTo>
                <a:lnTo>
                  <a:pt x="366" y="340"/>
                </a:lnTo>
                <a:lnTo>
                  <a:pt x="361" y="345"/>
                </a:lnTo>
                <a:lnTo>
                  <a:pt x="351" y="356"/>
                </a:lnTo>
                <a:lnTo>
                  <a:pt x="347" y="362"/>
                </a:lnTo>
                <a:lnTo>
                  <a:pt x="343" y="367"/>
                </a:lnTo>
                <a:lnTo>
                  <a:pt x="336" y="380"/>
                </a:lnTo>
                <a:lnTo>
                  <a:pt x="332" y="386"/>
                </a:lnTo>
                <a:lnTo>
                  <a:pt x="330" y="393"/>
                </a:lnTo>
                <a:lnTo>
                  <a:pt x="325" y="406"/>
                </a:lnTo>
                <a:lnTo>
                  <a:pt x="321" y="420"/>
                </a:lnTo>
                <a:lnTo>
                  <a:pt x="318" y="434"/>
                </a:lnTo>
                <a:lnTo>
                  <a:pt x="316" y="448"/>
                </a:lnTo>
                <a:lnTo>
                  <a:pt x="316" y="462"/>
                </a:lnTo>
                <a:lnTo>
                  <a:pt x="316" y="476"/>
                </a:lnTo>
                <a:lnTo>
                  <a:pt x="317" y="484"/>
                </a:lnTo>
                <a:lnTo>
                  <a:pt x="318" y="491"/>
                </a:lnTo>
                <a:lnTo>
                  <a:pt x="321" y="505"/>
                </a:lnTo>
                <a:lnTo>
                  <a:pt x="323" y="511"/>
                </a:lnTo>
                <a:lnTo>
                  <a:pt x="325" y="518"/>
                </a:lnTo>
                <a:lnTo>
                  <a:pt x="327" y="525"/>
                </a:lnTo>
                <a:lnTo>
                  <a:pt x="330" y="532"/>
                </a:lnTo>
                <a:lnTo>
                  <a:pt x="332" y="538"/>
                </a:lnTo>
                <a:lnTo>
                  <a:pt x="336" y="545"/>
                </a:lnTo>
                <a:lnTo>
                  <a:pt x="339" y="551"/>
                </a:lnTo>
                <a:lnTo>
                  <a:pt x="343" y="557"/>
                </a:lnTo>
                <a:lnTo>
                  <a:pt x="347" y="563"/>
                </a:lnTo>
                <a:lnTo>
                  <a:pt x="351" y="568"/>
                </a:lnTo>
                <a:lnTo>
                  <a:pt x="356" y="574"/>
                </a:lnTo>
                <a:lnTo>
                  <a:pt x="361" y="579"/>
                </a:lnTo>
                <a:lnTo>
                  <a:pt x="366" y="584"/>
                </a:lnTo>
                <a:lnTo>
                  <a:pt x="371" y="589"/>
                </a:lnTo>
                <a:lnTo>
                  <a:pt x="377" y="593"/>
                </a:lnTo>
                <a:lnTo>
                  <a:pt x="383" y="597"/>
                </a:lnTo>
                <a:lnTo>
                  <a:pt x="389" y="601"/>
                </a:lnTo>
                <a:lnTo>
                  <a:pt x="396" y="605"/>
                </a:lnTo>
                <a:lnTo>
                  <a:pt x="402" y="608"/>
                </a:lnTo>
                <a:lnTo>
                  <a:pt x="410" y="610"/>
                </a:lnTo>
                <a:lnTo>
                  <a:pt x="417" y="613"/>
                </a:lnTo>
                <a:lnTo>
                  <a:pt x="425" y="615"/>
                </a:lnTo>
                <a:lnTo>
                  <a:pt x="433" y="616"/>
                </a:lnTo>
                <a:lnTo>
                  <a:pt x="441" y="617"/>
                </a:lnTo>
                <a:lnTo>
                  <a:pt x="450" y="618"/>
                </a:lnTo>
                <a:lnTo>
                  <a:pt x="458" y="618"/>
                </a:lnTo>
                <a:lnTo>
                  <a:pt x="471" y="618"/>
                </a:lnTo>
                <a:lnTo>
                  <a:pt x="484" y="616"/>
                </a:lnTo>
                <a:lnTo>
                  <a:pt x="496" y="613"/>
                </a:lnTo>
                <a:lnTo>
                  <a:pt x="509" y="609"/>
                </a:lnTo>
                <a:lnTo>
                  <a:pt x="515" y="607"/>
                </a:lnTo>
                <a:lnTo>
                  <a:pt x="520" y="604"/>
                </a:lnTo>
                <a:lnTo>
                  <a:pt x="532" y="597"/>
                </a:lnTo>
                <a:lnTo>
                  <a:pt x="537" y="593"/>
                </a:lnTo>
                <a:lnTo>
                  <a:pt x="542" y="589"/>
                </a:lnTo>
                <a:lnTo>
                  <a:pt x="547" y="585"/>
                </a:lnTo>
                <a:lnTo>
                  <a:pt x="552" y="580"/>
                </a:lnTo>
                <a:lnTo>
                  <a:pt x="557" y="576"/>
                </a:lnTo>
                <a:lnTo>
                  <a:pt x="561" y="570"/>
                </a:lnTo>
                <a:lnTo>
                  <a:pt x="565" y="565"/>
                </a:lnTo>
                <a:lnTo>
                  <a:pt x="569" y="559"/>
                </a:lnTo>
                <a:lnTo>
                  <a:pt x="576" y="546"/>
                </a:lnTo>
                <a:lnTo>
                  <a:pt x="580" y="539"/>
                </a:lnTo>
                <a:lnTo>
                  <a:pt x="582" y="532"/>
                </a:lnTo>
                <a:lnTo>
                  <a:pt x="587" y="516"/>
                </a:lnTo>
                <a:lnTo>
                  <a:pt x="589" y="508"/>
                </a:lnTo>
                <a:lnTo>
                  <a:pt x="591" y="500"/>
                </a:lnTo>
                <a:lnTo>
                  <a:pt x="592" y="491"/>
                </a:lnTo>
                <a:lnTo>
                  <a:pt x="593" y="482"/>
                </a:lnTo>
                <a:lnTo>
                  <a:pt x="594" y="472"/>
                </a:lnTo>
                <a:lnTo>
                  <a:pt x="594" y="462"/>
                </a:lnTo>
                <a:lnTo>
                  <a:pt x="594" y="452"/>
                </a:lnTo>
                <a:lnTo>
                  <a:pt x="593" y="443"/>
                </a:lnTo>
                <a:lnTo>
                  <a:pt x="592" y="434"/>
                </a:lnTo>
                <a:lnTo>
                  <a:pt x="591" y="425"/>
                </a:lnTo>
                <a:lnTo>
                  <a:pt x="587" y="408"/>
                </a:lnTo>
                <a:lnTo>
                  <a:pt x="585" y="400"/>
                </a:lnTo>
                <a:lnTo>
                  <a:pt x="582" y="392"/>
                </a:lnTo>
                <a:lnTo>
                  <a:pt x="580" y="385"/>
                </a:lnTo>
                <a:lnTo>
                  <a:pt x="576" y="378"/>
                </a:lnTo>
                <a:lnTo>
                  <a:pt x="573" y="372"/>
                </a:lnTo>
                <a:lnTo>
                  <a:pt x="569" y="365"/>
                </a:lnTo>
                <a:lnTo>
                  <a:pt x="565" y="359"/>
                </a:lnTo>
                <a:lnTo>
                  <a:pt x="561" y="354"/>
                </a:lnTo>
                <a:lnTo>
                  <a:pt x="552" y="343"/>
                </a:lnTo>
                <a:lnTo>
                  <a:pt x="542" y="334"/>
                </a:lnTo>
                <a:lnTo>
                  <a:pt x="532" y="327"/>
                </a:lnTo>
                <a:lnTo>
                  <a:pt x="526" y="323"/>
                </a:lnTo>
                <a:lnTo>
                  <a:pt x="520" y="320"/>
                </a:lnTo>
                <a:lnTo>
                  <a:pt x="515" y="317"/>
                </a:lnTo>
                <a:lnTo>
                  <a:pt x="509" y="315"/>
                </a:lnTo>
                <a:lnTo>
                  <a:pt x="503" y="313"/>
                </a:lnTo>
                <a:lnTo>
                  <a:pt x="496" y="311"/>
                </a:lnTo>
                <a:lnTo>
                  <a:pt x="490" y="309"/>
                </a:lnTo>
                <a:lnTo>
                  <a:pt x="484" y="308"/>
                </a:lnTo>
                <a:lnTo>
                  <a:pt x="471" y="306"/>
                </a:lnTo>
                <a:lnTo>
                  <a:pt x="465" y="306"/>
                </a:lnTo>
                <a:lnTo>
                  <a:pt x="458" y="305"/>
                </a:lnTo>
                <a:close/>
              </a:path>
            </a:pathLst>
          </a:custGeom>
          <a:solidFill>
            <a:srgbClr val="19F1C2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266CA19-6785-9942-8166-986486A198B0}" type="datetime3">
              <a:rPr lang="nl-NL" smtClean="0"/>
              <a:pPr/>
              <a:t>3/12/15</a:t>
            </a:fld>
            <a:endParaRPr lang="fi-FI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EMG digital input - MOBILE</a:t>
            </a:r>
            <a:endParaRPr lang="fi-FI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27161295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1838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B">
    <p:bg>
      <p:bgPr>
        <a:solidFill>
          <a:srgbClr val="19F1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26920" y="3214993"/>
            <a:ext cx="4244480" cy="1286465"/>
          </a:xfrm>
        </p:spPr>
        <p:txBody>
          <a:bodyPr anchor="b" anchorCtr="0"/>
          <a:lstStyle>
            <a:lvl1pPr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2" name="Footer Placeholder 6"/>
          <p:cNvSpPr txBox="1">
            <a:spLocks/>
          </p:cNvSpPr>
          <p:nvPr userDrawn="1"/>
        </p:nvSpPr>
        <p:spPr>
          <a:xfrm>
            <a:off x="326921" y="4768711"/>
            <a:ext cx="6856536" cy="106633"/>
          </a:xfrm>
          <a:prstGeom prst="rect">
            <a:avLst/>
          </a:prstGeom>
        </p:spPr>
        <p:txBody>
          <a:bodyPr vert="horz" lIns="27034" tIns="27034" rIns="27034" bIns="27034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mtClean="0">
                <a:noFill/>
              </a:rPr>
              <a:t>Presentation name</a:t>
            </a:r>
            <a:endParaRPr lang="fi-FI" dirty="0">
              <a:noFill/>
            </a:endParaRPr>
          </a:p>
        </p:txBody>
      </p:sp>
      <p:sp>
        <p:nvSpPr>
          <p:cNvPr id="43" name="Freeform 16"/>
          <p:cNvSpPr>
            <a:spLocks noChangeAspect="1" noEditPoints="1"/>
          </p:cNvSpPr>
          <p:nvPr userDrawn="1"/>
        </p:nvSpPr>
        <p:spPr bwMode="auto">
          <a:xfrm>
            <a:off x="6530751" y="2571454"/>
            <a:ext cx="1305429" cy="1285880"/>
          </a:xfrm>
          <a:custGeom>
            <a:avLst/>
            <a:gdLst>
              <a:gd name="T0" fmla="*/ 653 w 908"/>
              <a:gd name="T1" fmla="*/ 675 h 907"/>
              <a:gd name="T2" fmla="*/ 651 w 908"/>
              <a:gd name="T3" fmla="*/ 382 h 907"/>
              <a:gd name="T4" fmla="*/ 644 w 908"/>
              <a:gd name="T5" fmla="*/ 348 h 907"/>
              <a:gd name="T6" fmla="*/ 630 w 908"/>
              <a:gd name="T7" fmla="*/ 320 h 907"/>
              <a:gd name="T8" fmla="*/ 613 w 908"/>
              <a:gd name="T9" fmla="*/ 305 h 907"/>
              <a:gd name="T10" fmla="*/ 595 w 908"/>
              <a:gd name="T11" fmla="*/ 298 h 907"/>
              <a:gd name="T12" fmla="*/ 579 w 908"/>
              <a:gd name="T13" fmla="*/ 296 h 907"/>
              <a:gd name="T14" fmla="*/ 565 w 908"/>
              <a:gd name="T15" fmla="*/ 298 h 907"/>
              <a:gd name="T16" fmla="*/ 546 w 908"/>
              <a:gd name="T17" fmla="*/ 304 h 907"/>
              <a:gd name="T18" fmla="*/ 526 w 908"/>
              <a:gd name="T19" fmla="*/ 320 h 907"/>
              <a:gd name="T20" fmla="*/ 514 w 908"/>
              <a:gd name="T21" fmla="*/ 337 h 907"/>
              <a:gd name="T22" fmla="*/ 507 w 908"/>
              <a:gd name="T23" fmla="*/ 354 h 907"/>
              <a:gd name="T24" fmla="*/ 502 w 908"/>
              <a:gd name="T25" fmla="*/ 375 h 907"/>
              <a:gd name="T26" fmla="*/ 499 w 908"/>
              <a:gd name="T27" fmla="*/ 411 h 907"/>
              <a:gd name="T28" fmla="*/ 410 w 908"/>
              <a:gd name="T29" fmla="*/ 409 h 907"/>
              <a:gd name="T30" fmla="*/ 408 w 908"/>
              <a:gd name="T31" fmla="*/ 374 h 907"/>
              <a:gd name="T32" fmla="*/ 398 w 908"/>
              <a:gd name="T33" fmla="*/ 337 h 907"/>
              <a:gd name="T34" fmla="*/ 382 w 908"/>
              <a:gd name="T35" fmla="*/ 314 h 907"/>
              <a:gd name="T36" fmla="*/ 364 w 908"/>
              <a:gd name="T37" fmla="*/ 302 h 907"/>
              <a:gd name="T38" fmla="*/ 347 w 908"/>
              <a:gd name="T39" fmla="*/ 297 h 907"/>
              <a:gd name="T40" fmla="*/ 333 w 908"/>
              <a:gd name="T41" fmla="*/ 297 h 907"/>
              <a:gd name="T42" fmla="*/ 317 w 908"/>
              <a:gd name="T43" fmla="*/ 299 h 907"/>
              <a:gd name="T44" fmla="*/ 297 w 908"/>
              <a:gd name="T45" fmla="*/ 308 h 907"/>
              <a:gd name="T46" fmla="*/ 278 w 908"/>
              <a:gd name="T47" fmla="*/ 327 h 907"/>
              <a:gd name="T48" fmla="*/ 268 w 908"/>
              <a:gd name="T49" fmla="*/ 348 h 907"/>
              <a:gd name="T50" fmla="*/ 261 w 908"/>
              <a:gd name="T51" fmla="*/ 375 h 907"/>
              <a:gd name="T52" fmla="*/ 258 w 908"/>
              <a:gd name="T53" fmla="*/ 411 h 907"/>
              <a:gd name="T54" fmla="*/ 169 w 908"/>
              <a:gd name="T55" fmla="*/ 230 h 907"/>
              <a:gd name="T56" fmla="*/ 260 w 908"/>
              <a:gd name="T57" fmla="*/ 272 h 907"/>
              <a:gd name="T58" fmla="*/ 277 w 908"/>
              <a:gd name="T59" fmla="*/ 251 h 907"/>
              <a:gd name="T60" fmla="*/ 298 w 908"/>
              <a:gd name="T61" fmla="*/ 237 h 907"/>
              <a:gd name="T62" fmla="*/ 319 w 908"/>
              <a:gd name="T63" fmla="*/ 227 h 907"/>
              <a:gd name="T64" fmla="*/ 348 w 908"/>
              <a:gd name="T65" fmla="*/ 221 h 907"/>
              <a:gd name="T66" fmla="*/ 378 w 908"/>
              <a:gd name="T67" fmla="*/ 222 h 907"/>
              <a:gd name="T68" fmla="*/ 404 w 908"/>
              <a:gd name="T69" fmla="*/ 228 h 907"/>
              <a:gd name="T70" fmla="*/ 427 w 908"/>
              <a:gd name="T71" fmla="*/ 238 h 907"/>
              <a:gd name="T72" fmla="*/ 448 w 908"/>
              <a:gd name="T73" fmla="*/ 254 h 907"/>
              <a:gd name="T74" fmla="*/ 465 w 908"/>
              <a:gd name="T75" fmla="*/ 275 h 907"/>
              <a:gd name="T76" fmla="*/ 481 w 908"/>
              <a:gd name="T77" fmla="*/ 282 h 907"/>
              <a:gd name="T78" fmla="*/ 502 w 908"/>
              <a:gd name="T79" fmla="*/ 257 h 907"/>
              <a:gd name="T80" fmla="*/ 526 w 908"/>
              <a:gd name="T81" fmla="*/ 240 h 907"/>
              <a:gd name="T82" fmla="*/ 552 w 908"/>
              <a:gd name="T83" fmla="*/ 228 h 907"/>
              <a:gd name="T84" fmla="*/ 576 w 908"/>
              <a:gd name="T85" fmla="*/ 222 h 907"/>
              <a:gd name="T86" fmla="*/ 611 w 908"/>
              <a:gd name="T87" fmla="*/ 221 h 907"/>
              <a:gd name="T88" fmla="*/ 649 w 908"/>
              <a:gd name="T89" fmla="*/ 229 h 907"/>
              <a:gd name="T90" fmla="*/ 674 w 908"/>
              <a:gd name="T91" fmla="*/ 240 h 907"/>
              <a:gd name="T92" fmla="*/ 692 w 908"/>
              <a:gd name="T93" fmla="*/ 253 h 907"/>
              <a:gd name="T94" fmla="*/ 707 w 908"/>
              <a:gd name="T95" fmla="*/ 270 h 907"/>
              <a:gd name="T96" fmla="*/ 721 w 908"/>
              <a:gd name="T97" fmla="*/ 290 h 907"/>
              <a:gd name="T98" fmla="*/ 731 w 908"/>
              <a:gd name="T99" fmla="*/ 315 h 907"/>
              <a:gd name="T100" fmla="*/ 739 w 908"/>
              <a:gd name="T101" fmla="*/ 346 h 907"/>
              <a:gd name="T102" fmla="*/ 742 w 908"/>
              <a:gd name="T103" fmla="*/ 381 h 907"/>
              <a:gd name="T104" fmla="*/ 0 w 908"/>
              <a:gd name="T105" fmla="*/ 907 h 907"/>
              <a:gd name="T106" fmla="*/ 908 w 908"/>
              <a:gd name="T107" fmla="*/ 453 h 907"/>
              <a:gd name="T108" fmla="*/ 0 w 908"/>
              <a:gd name="T109" fmla="*/ 0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743" y="408"/>
                </a:moveTo>
                <a:lnTo>
                  <a:pt x="743" y="675"/>
                </a:lnTo>
                <a:lnTo>
                  <a:pt x="653" y="675"/>
                </a:lnTo>
                <a:lnTo>
                  <a:pt x="653" y="409"/>
                </a:lnTo>
                <a:lnTo>
                  <a:pt x="652" y="390"/>
                </a:lnTo>
                <a:lnTo>
                  <a:pt x="651" y="382"/>
                </a:lnTo>
                <a:lnTo>
                  <a:pt x="650" y="374"/>
                </a:lnTo>
                <a:lnTo>
                  <a:pt x="648" y="360"/>
                </a:lnTo>
                <a:lnTo>
                  <a:pt x="644" y="348"/>
                </a:lnTo>
                <a:lnTo>
                  <a:pt x="640" y="337"/>
                </a:lnTo>
                <a:lnTo>
                  <a:pt x="636" y="328"/>
                </a:lnTo>
                <a:lnTo>
                  <a:pt x="630" y="320"/>
                </a:lnTo>
                <a:lnTo>
                  <a:pt x="625" y="314"/>
                </a:lnTo>
                <a:lnTo>
                  <a:pt x="619" y="309"/>
                </a:lnTo>
                <a:lnTo>
                  <a:pt x="613" y="305"/>
                </a:lnTo>
                <a:lnTo>
                  <a:pt x="607" y="302"/>
                </a:lnTo>
                <a:lnTo>
                  <a:pt x="601" y="299"/>
                </a:lnTo>
                <a:lnTo>
                  <a:pt x="595" y="298"/>
                </a:lnTo>
                <a:lnTo>
                  <a:pt x="589" y="297"/>
                </a:lnTo>
                <a:lnTo>
                  <a:pt x="584" y="297"/>
                </a:lnTo>
                <a:lnTo>
                  <a:pt x="579" y="296"/>
                </a:lnTo>
                <a:lnTo>
                  <a:pt x="575" y="297"/>
                </a:lnTo>
                <a:lnTo>
                  <a:pt x="571" y="297"/>
                </a:lnTo>
                <a:lnTo>
                  <a:pt x="565" y="298"/>
                </a:lnTo>
                <a:lnTo>
                  <a:pt x="559" y="299"/>
                </a:lnTo>
                <a:lnTo>
                  <a:pt x="552" y="301"/>
                </a:lnTo>
                <a:lnTo>
                  <a:pt x="546" y="304"/>
                </a:lnTo>
                <a:lnTo>
                  <a:pt x="539" y="308"/>
                </a:lnTo>
                <a:lnTo>
                  <a:pt x="532" y="313"/>
                </a:lnTo>
                <a:lnTo>
                  <a:pt x="526" y="320"/>
                </a:lnTo>
                <a:lnTo>
                  <a:pt x="520" y="327"/>
                </a:lnTo>
                <a:lnTo>
                  <a:pt x="517" y="332"/>
                </a:lnTo>
                <a:lnTo>
                  <a:pt x="514" y="337"/>
                </a:lnTo>
                <a:lnTo>
                  <a:pt x="511" y="342"/>
                </a:lnTo>
                <a:lnTo>
                  <a:pt x="509" y="348"/>
                </a:lnTo>
                <a:lnTo>
                  <a:pt x="507" y="354"/>
                </a:lnTo>
                <a:lnTo>
                  <a:pt x="505" y="360"/>
                </a:lnTo>
                <a:lnTo>
                  <a:pt x="503" y="368"/>
                </a:lnTo>
                <a:lnTo>
                  <a:pt x="502" y="375"/>
                </a:lnTo>
                <a:lnTo>
                  <a:pt x="500" y="392"/>
                </a:lnTo>
                <a:lnTo>
                  <a:pt x="499" y="402"/>
                </a:lnTo>
                <a:lnTo>
                  <a:pt x="499" y="411"/>
                </a:lnTo>
                <a:lnTo>
                  <a:pt x="499" y="675"/>
                </a:lnTo>
                <a:lnTo>
                  <a:pt x="410" y="675"/>
                </a:lnTo>
                <a:lnTo>
                  <a:pt x="410" y="409"/>
                </a:lnTo>
                <a:lnTo>
                  <a:pt x="409" y="390"/>
                </a:lnTo>
                <a:lnTo>
                  <a:pt x="409" y="382"/>
                </a:lnTo>
                <a:lnTo>
                  <a:pt x="408" y="374"/>
                </a:lnTo>
                <a:lnTo>
                  <a:pt x="405" y="360"/>
                </a:lnTo>
                <a:lnTo>
                  <a:pt x="402" y="348"/>
                </a:lnTo>
                <a:lnTo>
                  <a:pt x="398" y="337"/>
                </a:lnTo>
                <a:lnTo>
                  <a:pt x="393" y="328"/>
                </a:lnTo>
                <a:lnTo>
                  <a:pt x="388" y="320"/>
                </a:lnTo>
                <a:lnTo>
                  <a:pt x="382" y="314"/>
                </a:lnTo>
                <a:lnTo>
                  <a:pt x="376" y="309"/>
                </a:lnTo>
                <a:lnTo>
                  <a:pt x="370" y="305"/>
                </a:lnTo>
                <a:lnTo>
                  <a:pt x="364" y="302"/>
                </a:lnTo>
                <a:lnTo>
                  <a:pt x="358" y="299"/>
                </a:lnTo>
                <a:lnTo>
                  <a:pt x="352" y="298"/>
                </a:lnTo>
                <a:lnTo>
                  <a:pt x="347" y="297"/>
                </a:lnTo>
                <a:lnTo>
                  <a:pt x="342" y="297"/>
                </a:lnTo>
                <a:lnTo>
                  <a:pt x="337" y="296"/>
                </a:lnTo>
                <a:lnTo>
                  <a:pt x="333" y="297"/>
                </a:lnTo>
                <a:lnTo>
                  <a:pt x="328" y="297"/>
                </a:lnTo>
                <a:lnTo>
                  <a:pt x="323" y="298"/>
                </a:lnTo>
                <a:lnTo>
                  <a:pt x="317" y="299"/>
                </a:lnTo>
                <a:lnTo>
                  <a:pt x="310" y="301"/>
                </a:lnTo>
                <a:lnTo>
                  <a:pt x="304" y="304"/>
                </a:lnTo>
                <a:lnTo>
                  <a:pt x="297" y="308"/>
                </a:lnTo>
                <a:lnTo>
                  <a:pt x="291" y="313"/>
                </a:lnTo>
                <a:lnTo>
                  <a:pt x="284" y="320"/>
                </a:lnTo>
                <a:lnTo>
                  <a:pt x="278" y="327"/>
                </a:lnTo>
                <a:lnTo>
                  <a:pt x="276" y="332"/>
                </a:lnTo>
                <a:lnTo>
                  <a:pt x="273" y="337"/>
                </a:lnTo>
                <a:lnTo>
                  <a:pt x="268" y="348"/>
                </a:lnTo>
                <a:lnTo>
                  <a:pt x="264" y="360"/>
                </a:lnTo>
                <a:lnTo>
                  <a:pt x="262" y="368"/>
                </a:lnTo>
                <a:lnTo>
                  <a:pt x="261" y="375"/>
                </a:lnTo>
                <a:lnTo>
                  <a:pt x="259" y="392"/>
                </a:lnTo>
                <a:lnTo>
                  <a:pt x="259" y="402"/>
                </a:lnTo>
                <a:lnTo>
                  <a:pt x="258" y="411"/>
                </a:lnTo>
                <a:lnTo>
                  <a:pt x="258" y="675"/>
                </a:lnTo>
                <a:lnTo>
                  <a:pt x="169" y="675"/>
                </a:lnTo>
                <a:lnTo>
                  <a:pt x="169" y="230"/>
                </a:lnTo>
                <a:lnTo>
                  <a:pt x="255" y="230"/>
                </a:lnTo>
                <a:lnTo>
                  <a:pt x="255" y="280"/>
                </a:lnTo>
                <a:lnTo>
                  <a:pt x="260" y="272"/>
                </a:lnTo>
                <a:lnTo>
                  <a:pt x="265" y="264"/>
                </a:lnTo>
                <a:lnTo>
                  <a:pt x="271" y="257"/>
                </a:lnTo>
                <a:lnTo>
                  <a:pt x="277" y="251"/>
                </a:lnTo>
                <a:lnTo>
                  <a:pt x="284" y="246"/>
                </a:lnTo>
                <a:lnTo>
                  <a:pt x="291" y="241"/>
                </a:lnTo>
                <a:lnTo>
                  <a:pt x="298" y="237"/>
                </a:lnTo>
                <a:lnTo>
                  <a:pt x="305" y="233"/>
                </a:lnTo>
                <a:lnTo>
                  <a:pt x="312" y="230"/>
                </a:lnTo>
                <a:lnTo>
                  <a:pt x="319" y="227"/>
                </a:lnTo>
                <a:lnTo>
                  <a:pt x="334" y="223"/>
                </a:lnTo>
                <a:lnTo>
                  <a:pt x="341" y="222"/>
                </a:lnTo>
                <a:lnTo>
                  <a:pt x="348" y="221"/>
                </a:lnTo>
                <a:lnTo>
                  <a:pt x="360" y="221"/>
                </a:lnTo>
                <a:lnTo>
                  <a:pt x="369" y="221"/>
                </a:lnTo>
                <a:lnTo>
                  <a:pt x="378" y="222"/>
                </a:lnTo>
                <a:lnTo>
                  <a:pt x="387" y="223"/>
                </a:lnTo>
                <a:lnTo>
                  <a:pt x="395" y="225"/>
                </a:lnTo>
                <a:lnTo>
                  <a:pt x="404" y="228"/>
                </a:lnTo>
                <a:lnTo>
                  <a:pt x="412" y="231"/>
                </a:lnTo>
                <a:lnTo>
                  <a:pt x="419" y="234"/>
                </a:lnTo>
                <a:lnTo>
                  <a:pt x="427" y="238"/>
                </a:lnTo>
                <a:lnTo>
                  <a:pt x="434" y="243"/>
                </a:lnTo>
                <a:lnTo>
                  <a:pt x="441" y="248"/>
                </a:lnTo>
                <a:lnTo>
                  <a:pt x="448" y="254"/>
                </a:lnTo>
                <a:lnTo>
                  <a:pt x="454" y="261"/>
                </a:lnTo>
                <a:lnTo>
                  <a:pt x="460" y="268"/>
                </a:lnTo>
                <a:lnTo>
                  <a:pt x="465" y="275"/>
                </a:lnTo>
                <a:lnTo>
                  <a:pt x="470" y="283"/>
                </a:lnTo>
                <a:lnTo>
                  <a:pt x="475" y="292"/>
                </a:lnTo>
                <a:lnTo>
                  <a:pt x="481" y="282"/>
                </a:lnTo>
                <a:lnTo>
                  <a:pt x="488" y="273"/>
                </a:lnTo>
                <a:lnTo>
                  <a:pt x="495" y="265"/>
                </a:lnTo>
                <a:lnTo>
                  <a:pt x="502" y="257"/>
                </a:lnTo>
                <a:lnTo>
                  <a:pt x="510" y="251"/>
                </a:lnTo>
                <a:lnTo>
                  <a:pt x="518" y="245"/>
                </a:lnTo>
                <a:lnTo>
                  <a:pt x="526" y="240"/>
                </a:lnTo>
                <a:lnTo>
                  <a:pt x="535" y="235"/>
                </a:lnTo>
                <a:lnTo>
                  <a:pt x="543" y="232"/>
                </a:lnTo>
                <a:lnTo>
                  <a:pt x="552" y="228"/>
                </a:lnTo>
                <a:lnTo>
                  <a:pt x="560" y="226"/>
                </a:lnTo>
                <a:lnTo>
                  <a:pt x="568" y="224"/>
                </a:lnTo>
                <a:lnTo>
                  <a:pt x="576" y="222"/>
                </a:lnTo>
                <a:lnTo>
                  <a:pt x="584" y="221"/>
                </a:lnTo>
                <a:lnTo>
                  <a:pt x="598" y="221"/>
                </a:lnTo>
                <a:lnTo>
                  <a:pt x="611" y="221"/>
                </a:lnTo>
                <a:lnTo>
                  <a:pt x="624" y="223"/>
                </a:lnTo>
                <a:lnTo>
                  <a:pt x="636" y="225"/>
                </a:lnTo>
                <a:lnTo>
                  <a:pt x="649" y="229"/>
                </a:lnTo>
                <a:lnTo>
                  <a:pt x="662" y="234"/>
                </a:lnTo>
                <a:lnTo>
                  <a:pt x="668" y="237"/>
                </a:lnTo>
                <a:lnTo>
                  <a:pt x="674" y="240"/>
                </a:lnTo>
                <a:lnTo>
                  <a:pt x="680" y="244"/>
                </a:lnTo>
                <a:lnTo>
                  <a:pt x="686" y="248"/>
                </a:lnTo>
                <a:lnTo>
                  <a:pt x="692" y="253"/>
                </a:lnTo>
                <a:lnTo>
                  <a:pt x="697" y="258"/>
                </a:lnTo>
                <a:lnTo>
                  <a:pt x="702" y="264"/>
                </a:lnTo>
                <a:lnTo>
                  <a:pt x="707" y="270"/>
                </a:lnTo>
                <a:lnTo>
                  <a:pt x="712" y="276"/>
                </a:lnTo>
                <a:lnTo>
                  <a:pt x="716" y="283"/>
                </a:lnTo>
                <a:lnTo>
                  <a:pt x="721" y="290"/>
                </a:lnTo>
                <a:lnTo>
                  <a:pt x="724" y="298"/>
                </a:lnTo>
                <a:lnTo>
                  <a:pt x="728" y="307"/>
                </a:lnTo>
                <a:lnTo>
                  <a:pt x="731" y="315"/>
                </a:lnTo>
                <a:lnTo>
                  <a:pt x="734" y="325"/>
                </a:lnTo>
                <a:lnTo>
                  <a:pt x="736" y="335"/>
                </a:lnTo>
                <a:lnTo>
                  <a:pt x="739" y="346"/>
                </a:lnTo>
                <a:lnTo>
                  <a:pt x="740" y="357"/>
                </a:lnTo>
                <a:lnTo>
                  <a:pt x="741" y="369"/>
                </a:lnTo>
                <a:lnTo>
                  <a:pt x="742" y="381"/>
                </a:lnTo>
                <a:lnTo>
                  <a:pt x="743" y="394"/>
                </a:lnTo>
                <a:lnTo>
                  <a:pt x="743" y="408"/>
                </a:lnTo>
                <a:close/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4" name="Freeform 17"/>
          <p:cNvSpPr>
            <a:spLocks noChangeAspect="1" noEditPoints="1"/>
          </p:cNvSpPr>
          <p:nvPr userDrawn="1"/>
        </p:nvSpPr>
        <p:spPr bwMode="auto">
          <a:xfrm>
            <a:off x="5224117" y="2571454"/>
            <a:ext cx="1306033" cy="1285880"/>
          </a:xfrm>
          <a:custGeom>
            <a:avLst/>
            <a:gdLst>
              <a:gd name="T0" fmla="*/ 587 w 907"/>
              <a:gd name="T1" fmla="*/ 676 h 908"/>
              <a:gd name="T2" fmla="*/ 587 w 907"/>
              <a:gd name="T3" fmla="*/ 444 h 908"/>
              <a:gd name="T4" fmla="*/ 586 w 907"/>
              <a:gd name="T5" fmla="*/ 428 h 908"/>
              <a:gd name="T6" fmla="*/ 583 w 907"/>
              <a:gd name="T7" fmla="*/ 412 h 908"/>
              <a:gd name="T8" fmla="*/ 580 w 907"/>
              <a:gd name="T9" fmla="*/ 397 h 908"/>
              <a:gd name="T10" fmla="*/ 575 w 907"/>
              <a:gd name="T11" fmla="*/ 383 h 908"/>
              <a:gd name="T12" fmla="*/ 566 w 907"/>
              <a:gd name="T13" fmla="*/ 364 h 908"/>
              <a:gd name="T14" fmla="*/ 555 w 907"/>
              <a:gd name="T15" fmla="*/ 347 h 908"/>
              <a:gd name="T16" fmla="*/ 546 w 907"/>
              <a:gd name="T17" fmla="*/ 337 h 908"/>
              <a:gd name="T18" fmla="*/ 532 w 907"/>
              <a:gd name="T19" fmla="*/ 325 h 908"/>
              <a:gd name="T20" fmla="*/ 516 w 907"/>
              <a:gd name="T21" fmla="*/ 314 h 908"/>
              <a:gd name="T22" fmla="*/ 504 w 907"/>
              <a:gd name="T23" fmla="*/ 309 h 908"/>
              <a:gd name="T24" fmla="*/ 492 w 907"/>
              <a:gd name="T25" fmla="*/ 305 h 908"/>
              <a:gd name="T26" fmla="*/ 479 w 907"/>
              <a:gd name="T27" fmla="*/ 303 h 908"/>
              <a:gd name="T28" fmla="*/ 460 w 907"/>
              <a:gd name="T29" fmla="*/ 301 h 908"/>
              <a:gd name="T30" fmla="*/ 439 w 907"/>
              <a:gd name="T31" fmla="*/ 302 h 908"/>
              <a:gd name="T32" fmla="*/ 419 w 907"/>
              <a:gd name="T33" fmla="*/ 307 h 908"/>
              <a:gd name="T34" fmla="*/ 407 w 907"/>
              <a:gd name="T35" fmla="*/ 312 h 908"/>
              <a:gd name="T36" fmla="*/ 395 w 907"/>
              <a:gd name="T37" fmla="*/ 317 h 908"/>
              <a:gd name="T38" fmla="*/ 383 w 907"/>
              <a:gd name="T39" fmla="*/ 325 h 908"/>
              <a:gd name="T40" fmla="*/ 373 w 907"/>
              <a:gd name="T41" fmla="*/ 333 h 908"/>
              <a:gd name="T42" fmla="*/ 363 w 907"/>
              <a:gd name="T43" fmla="*/ 343 h 908"/>
              <a:gd name="T44" fmla="*/ 354 w 907"/>
              <a:gd name="T45" fmla="*/ 354 h 908"/>
              <a:gd name="T46" fmla="*/ 345 w 907"/>
              <a:gd name="T47" fmla="*/ 366 h 908"/>
              <a:gd name="T48" fmla="*/ 335 w 907"/>
              <a:gd name="T49" fmla="*/ 387 h 908"/>
              <a:gd name="T50" fmla="*/ 327 w 907"/>
              <a:gd name="T51" fmla="*/ 410 h 908"/>
              <a:gd name="T52" fmla="*/ 324 w 907"/>
              <a:gd name="T53" fmla="*/ 427 h 908"/>
              <a:gd name="T54" fmla="*/ 321 w 907"/>
              <a:gd name="T55" fmla="*/ 446 h 908"/>
              <a:gd name="T56" fmla="*/ 321 w 907"/>
              <a:gd name="T57" fmla="*/ 676 h 908"/>
              <a:gd name="T58" fmla="*/ 231 w 907"/>
              <a:gd name="T59" fmla="*/ 230 h 908"/>
              <a:gd name="T60" fmla="*/ 318 w 907"/>
              <a:gd name="T61" fmla="*/ 305 h 908"/>
              <a:gd name="T62" fmla="*/ 329 w 907"/>
              <a:gd name="T63" fmla="*/ 286 h 908"/>
              <a:gd name="T64" fmla="*/ 344 w 907"/>
              <a:gd name="T65" fmla="*/ 270 h 908"/>
              <a:gd name="T66" fmla="*/ 352 w 907"/>
              <a:gd name="T67" fmla="*/ 262 h 908"/>
              <a:gd name="T68" fmla="*/ 371 w 907"/>
              <a:gd name="T69" fmla="*/ 249 h 908"/>
              <a:gd name="T70" fmla="*/ 392 w 907"/>
              <a:gd name="T71" fmla="*/ 238 h 908"/>
              <a:gd name="T72" fmla="*/ 414 w 907"/>
              <a:gd name="T73" fmla="*/ 230 h 908"/>
              <a:gd name="T74" fmla="*/ 438 w 907"/>
              <a:gd name="T75" fmla="*/ 224 h 908"/>
              <a:gd name="T76" fmla="*/ 461 w 907"/>
              <a:gd name="T77" fmla="*/ 221 h 908"/>
              <a:gd name="T78" fmla="*/ 492 w 907"/>
              <a:gd name="T79" fmla="*/ 221 h 908"/>
              <a:gd name="T80" fmla="*/ 520 w 907"/>
              <a:gd name="T81" fmla="*/ 225 h 908"/>
              <a:gd name="T82" fmla="*/ 538 w 907"/>
              <a:gd name="T83" fmla="*/ 230 h 908"/>
              <a:gd name="T84" fmla="*/ 556 w 907"/>
              <a:gd name="T85" fmla="*/ 236 h 908"/>
              <a:gd name="T86" fmla="*/ 573 w 907"/>
              <a:gd name="T87" fmla="*/ 244 h 908"/>
              <a:gd name="T88" fmla="*/ 590 w 907"/>
              <a:gd name="T89" fmla="*/ 253 h 908"/>
              <a:gd name="T90" fmla="*/ 605 w 907"/>
              <a:gd name="T91" fmla="*/ 265 h 908"/>
              <a:gd name="T92" fmla="*/ 619 w 907"/>
              <a:gd name="T93" fmla="*/ 278 h 908"/>
              <a:gd name="T94" fmla="*/ 632 w 907"/>
              <a:gd name="T95" fmla="*/ 293 h 908"/>
              <a:gd name="T96" fmla="*/ 644 w 907"/>
              <a:gd name="T97" fmla="*/ 310 h 908"/>
              <a:gd name="T98" fmla="*/ 654 w 907"/>
              <a:gd name="T99" fmla="*/ 328 h 908"/>
              <a:gd name="T100" fmla="*/ 663 w 907"/>
              <a:gd name="T101" fmla="*/ 349 h 908"/>
              <a:gd name="T102" fmla="*/ 669 w 907"/>
              <a:gd name="T103" fmla="*/ 372 h 908"/>
              <a:gd name="T104" fmla="*/ 674 w 907"/>
              <a:gd name="T105" fmla="*/ 397 h 908"/>
              <a:gd name="T106" fmla="*/ 676 w 907"/>
              <a:gd name="T107" fmla="*/ 424 h 908"/>
              <a:gd name="T108" fmla="*/ 676 w 907"/>
              <a:gd name="T109" fmla="*/ 676 h 908"/>
              <a:gd name="T110" fmla="*/ 453 w 907"/>
              <a:gd name="T111" fmla="*/ 908 h 908"/>
              <a:gd name="T112" fmla="*/ 907 w 907"/>
              <a:gd name="T113" fmla="*/ 453 h 908"/>
              <a:gd name="T114" fmla="*/ 453 w 907"/>
              <a:gd name="T115" fmla="*/ 0 h 908"/>
              <a:gd name="T116" fmla="*/ 0 w 907"/>
              <a:gd name="T117" fmla="*/ 453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7" h="908">
                <a:moveTo>
                  <a:pt x="676" y="676"/>
                </a:moveTo>
                <a:lnTo>
                  <a:pt x="587" y="676"/>
                </a:lnTo>
                <a:lnTo>
                  <a:pt x="587" y="453"/>
                </a:lnTo>
                <a:lnTo>
                  <a:pt x="587" y="444"/>
                </a:lnTo>
                <a:lnTo>
                  <a:pt x="586" y="436"/>
                </a:lnTo>
                <a:lnTo>
                  <a:pt x="586" y="428"/>
                </a:lnTo>
                <a:lnTo>
                  <a:pt x="585" y="420"/>
                </a:lnTo>
                <a:lnTo>
                  <a:pt x="583" y="412"/>
                </a:lnTo>
                <a:lnTo>
                  <a:pt x="581" y="404"/>
                </a:lnTo>
                <a:lnTo>
                  <a:pt x="580" y="397"/>
                </a:lnTo>
                <a:lnTo>
                  <a:pt x="577" y="390"/>
                </a:lnTo>
                <a:lnTo>
                  <a:pt x="575" y="383"/>
                </a:lnTo>
                <a:lnTo>
                  <a:pt x="572" y="376"/>
                </a:lnTo>
                <a:lnTo>
                  <a:pt x="566" y="364"/>
                </a:lnTo>
                <a:lnTo>
                  <a:pt x="559" y="352"/>
                </a:lnTo>
                <a:lnTo>
                  <a:pt x="555" y="347"/>
                </a:lnTo>
                <a:lnTo>
                  <a:pt x="550" y="342"/>
                </a:lnTo>
                <a:lnTo>
                  <a:pt x="546" y="337"/>
                </a:lnTo>
                <a:lnTo>
                  <a:pt x="541" y="333"/>
                </a:lnTo>
                <a:lnTo>
                  <a:pt x="532" y="325"/>
                </a:lnTo>
                <a:lnTo>
                  <a:pt x="521" y="317"/>
                </a:lnTo>
                <a:lnTo>
                  <a:pt x="516" y="314"/>
                </a:lnTo>
                <a:lnTo>
                  <a:pt x="510" y="312"/>
                </a:lnTo>
                <a:lnTo>
                  <a:pt x="504" y="309"/>
                </a:lnTo>
                <a:lnTo>
                  <a:pt x="498" y="307"/>
                </a:lnTo>
                <a:lnTo>
                  <a:pt x="492" y="305"/>
                </a:lnTo>
                <a:lnTo>
                  <a:pt x="486" y="304"/>
                </a:lnTo>
                <a:lnTo>
                  <a:pt x="479" y="303"/>
                </a:lnTo>
                <a:lnTo>
                  <a:pt x="473" y="302"/>
                </a:lnTo>
                <a:lnTo>
                  <a:pt x="460" y="301"/>
                </a:lnTo>
                <a:lnTo>
                  <a:pt x="446" y="302"/>
                </a:lnTo>
                <a:lnTo>
                  <a:pt x="439" y="302"/>
                </a:lnTo>
                <a:lnTo>
                  <a:pt x="432" y="304"/>
                </a:lnTo>
                <a:lnTo>
                  <a:pt x="419" y="307"/>
                </a:lnTo>
                <a:lnTo>
                  <a:pt x="413" y="309"/>
                </a:lnTo>
                <a:lnTo>
                  <a:pt x="407" y="312"/>
                </a:lnTo>
                <a:lnTo>
                  <a:pt x="401" y="314"/>
                </a:lnTo>
                <a:lnTo>
                  <a:pt x="395" y="317"/>
                </a:lnTo>
                <a:lnTo>
                  <a:pt x="389" y="321"/>
                </a:lnTo>
                <a:lnTo>
                  <a:pt x="383" y="325"/>
                </a:lnTo>
                <a:lnTo>
                  <a:pt x="378" y="329"/>
                </a:lnTo>
                <a:lnTo>
                  <a:pt x="373" y="333"/>
                </a:lnTo>
                <a:lnTo>
                  <a:pt x="367" y="338"/>
                </a:lnTo>
                <a:lnTo>
                  <a:pt x="363" y="343"/>
                </a:lnTo>
                <a:lnTo>
                  <a:pt x="358" y="348"/>
                </a:lnTo>
                <a:lnTo>
                  <a:pt x="354" y="354"/>
                </a:lnTo>
                <a:lnTo>
                  <a:pt x="349" y="360"/>
                </a:lnTo>
                <a:lnTo>
                  <a:pt x="345" y="366"/>
                </a:lnTo>
                <a:lnTo>
                  <a:pt x="338" y="380"/>
                </a:lnTo>
                <a:lnTo>
                  <a:pt x="335" y="387"/>
                </a:lnTo>
                <a:lnTo>
                  <a:pt x="332" y="394"/>
                </a:lnTo>
                <a:lnTo>
                  <a:pt x="327" y="410"/>
                </a:lnTo>
                <a:lnTo>
                  <a:pt x="325" y="419"/>
                </a:lnTo>
                <a:lnTo>
                  <a:pt x="324" y="427"/>
                </a:lnTo>
                <a:lnTo>
                  <a:pt x="322" y="436"/>
                </a:lnTo>
                <a:lnTo>
                  <a:pt x="321" y="446"/>
                </a:lnTo>
                <a:lnTo>
                  <a:pt x="321" y="466"/>
                </a:lnTo>
                <a:lnTo>
                  <a:pt x="321" y="676"/>
                </a:lnTo>
                <a:lnTo>
                  <a:pt x="231" y="676"/>
                </a:lnTo>
                <a:lnTo>
                  <a:pt x="231" y="230"/>
                </a:lnTo>
                <a:lnTo>
                  <a:pt x="318" y="230"/>
                </a:lnTo>
                <a:lnTo>
                  <a:pt x="318" y="305"/>
                </a:lnTo>
                <a:lnTo>
                  <a:pt x="323" y="296"/>
                </a:lnTo>
                <a:lnTo>
                  <a:pt x="329" y="286"/>
                </a:lnTo>
                <a:lnTo>
                  <a:pt x="336" y="278"/>
                </a:lnTo>
                <a:lnTo>
                  <a:pt x="344" y="270"/>
                </a:lnTo>
                <a:lnTo>
                  <a:pt x="348" y="266"/>
                </a:lnTo>
                <a:lnTo>
                  <a:pt x="352" y="262"/>
                </a:lnTo>
                <a:lnTo>
                  <a:pt x="361" y="255"/>
                </a:lnTo>
                <a:lnTo>
                  <a:pt x="371" y="249"/>
                </a:lnTo>
                <a:lnTo>
                  <a:pt x="381" y="243"/>
                </a:lnTo>
                <a:lnTo>
                  <a:pt x="392" y="238"/>
                </a:lnTo>
                <a:lnTo>
                  <a:pt x="403" y="233"/>
                </a:lnTo>
                <a:lnTo>
                  <a:pt x="414" y="230"/>
                </a:lnTo>
                <a:lnTo>
                  <a:pt x="426" y="226"/>
                </a:lnTo>
                <a:lnTo>
                  <a:pt x="438" y="224"/>
                </a:lnTo>
                <a:lnTo>
                  <a:pt x="449" y="222"/>
                </a:lnTo>
                <a:lnTo>
                  <a:pt x="461" y="221"/>
                </a:lnTo>
                <a:lnTo>
                  <a:pt x="473" y="221"/>
                </a:lnTo>
                <a:lnTo>
                  <a:pt x="492" y="221"/>
                </a:lnTo>
                <a:lnTo>
                  <a:pt x="511" y="224"/>
                </a:lnTo>
                <a:lnTo>
                  <a:pt x="520" y="225"/>
                </a:lnTo>
                <a:lnTo>
                  <a:pt x="529" y="227"/>
                </a:lnTo>
                <a:lnTo>
                  <a:pt x="538" y="230"/>
                </a:lnTo>
                <a:lnTo>
                  <a:pt x="547" y="233"/>
                </a:lnTo>
                <a:lnTo>
                  <a:pt x="556" y="236"/>
                </a:lnTo>
                <a:lnTo>
                  <a:pt x="565" y="240"/>
                </a:lnTo>
                <a:lnTo>
                  <a:pt x="573" y="244"/>
                </a:lnTo>
                <a:lnTo>
                  <a:pt x="582" y="248"/>
                </a:lnTo>
                <a:lnTo>
                  <a:pt x="590" y="253"/>
                </a:lnTo>
                <a:lnTo>
                  <a:pt x="597" y="259"/>
                </a:lnTo>
                <a:lnTo>
                  <a:pt x="605" y="265"/>
                </a:lnTo>
                <a:lnTo>
                  <a:pt x="612" y="271"/>
                </a:lnTo>
                <a:lnTo>
                  <a:pt x="619" y="278"/>
                </a:lnTo>
                <a:lnTo>
                  <a:pt x="626" y="285"/>
                </a:lnTo>
                <a:lnTo>
                  <a:pt x="632" y="293"/>
                </a:lnTo>
                <a:lnTo>
                  <a:pt x="638" y="301"/>
                </a:lnTo>
                <a:lnTo>
                  <a:pt x="644" y="310"/>
                </a:lnTo>
                <a:lnTo>
                  <a:pt x="649" y="319"/>
                </a:lnTo>
                <a:lnTo>
                  <a:pt x="654" y="328"/>
                </a:lnTo>
                <a:lnTo>
                  <a:pt x="659" y="338"/>
                </a:lnTo>
                <a:lnTo>
                  <a:pt x="663" y="349"/>
                </a:lnTo>
                <a:lnTo>
                  <a:pt x="666" y="360"/>
                </a:lnTo>
                <a:lnTo>
                  <a:pt x="669" y="372"/>
                </a:lnTo>
                <a:lnTo>
                  <a:pt x="672" y="384"/>
                </a:lnTo>
                <a:lnTo>
                  <a:pt x="674" y="397"/>
                </a:lnTo>
                <a:lnTo>
                  <a:pt x="675" y="410"/>
                </a:lnTo>
                <a:lnTo>
                  <a:pt x="676" y="424"/>
                </a:lnTo>
                <a:lnTo>
                  <a:pt x="676" y="438"/>
                </a:lnTo>
                <a:lnTo>
                  <a:pt x="676" y="676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3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5" name="Freeform 18"/>
          <p:cNvSpPr>
            <a:spLocks noChangeAspect="1" noEditPoints="1"/>
          </p:cNvSpPr>
          <p:nvPr userDrawn="1"/>
        </p:nvSpPr>
        <p:spPr bwMode="auto">
          <a:xfrm>
            <a:off x="7837077" y="1285285"/>
            <a:ext cx="1306033" cy="1285880"/>
          </a:xfrm>
          <a:custGeom>
            <a:avLst/>
            <a:gdLst>
              <a:gd name="T0" fmla="*/ 433 w 907"/>
              <a:gd name="T1" fmla="*/ 300 h 908"/>
              <a:gd name="T2" fmla="*/ 403 w 907"/>
              <a:gd name="T3" fmla="*/ 308 h 908"/>
              <a:gd name="T4" fmla="*/ 366 w 907"/>
              <a:gd name="T5" fmla="*/ 332 h 908"/>
              <a:gd name="T6" fmla="*/ 343 w 907"/>
              <a:gd name="T7" fmla="*/ 360 h 908"/>
              <a:gd name="T8" fmla="*/ 325 w 907"/>
              <a:gd name="T9" fmla="*/ 398 h 908"/>
              <a:gd name="T10" fmla="*/ 316 w 907"/>
              <a:gd name="T11" fmla="*/ 455 h 908"/>
              <a:gd name="T12" fmla="*/ 321 w 907"/>
              <a:gd name="T13" fmla="*/ 497 h 908"/>
              <a:gd name="T14" fmla="*/ 330 w 907"/>
              <a:gd name="T15" fmla="*/ 524 h 908"/>
              <a:gd name="T16" fmla="*/ 343 w 907"/>
              <a:gd name="T17" fmla="*/ 549 h 908"/>
              <a:gd name="T18" fmla="*/ 361 w 907"/>
              <a:gd name="T19" fmla="*/ 571 h 908"/>
              <a:gd name="T20" fmla="*/ 383 w 907"/>
              <a:gd name="T21" fmla="*/ 589 h 908"/>
              <a:gd name="T22" fmla="*/ 410 w 907"/>
              <a:gd name="T23" fmla="*/ 603 h 908"/>
              <a:gd name="T24" fmla="*/ 441 w 907"/>
              <a:gd name="T25" fmla="*/ 610 h 908"/>
              <a:gd name="T26" fmla="*/ 484 w 907"/>
              <a:gd name="T27" fmla="*/ 608 h 908"/>
              <a:gd name="T28" fmla="*/ 520 w 907"/>
              <a:gd name="T29" fmla="*/ 596 h 908"/>
              <a:gd name="T30" fmla="*/ 547 w 907"/>
              <a:gd name="T31" fmla="*/ 577 h 908"/>
              <a:gd name="T32" fmla="*/ 565 w 907"/>
              <a:gd name="T33" fmla="*/ 557 h 908"/>
              <a:gd name="T34" fmla="*/ 583 w 907"/>
              <a:gd name="T35" fmla="*/ 524 h 908"/>
              <a:gd name="T36" fmla="*/ 592 w 907"/>
              <a:gd name="T37" fmla="*/ 483 h 908"/>
              <a:gd name="T38" fmla="*/ 594 w 907"/>
              <a:gd name="T39" fmla="*/ 445 h 908"/>
              <a:gd name="T40" fmla="*/ 587 w 907"/>
              <a:gd name="T41" fmla="*/ 400 h 908"/>
              <a:gd name="T42" fmla="*/ 577 w 907"/>
              <a:gd name="T43" fmla="*/ 370 h 908"/>
              <a:gd name="T44" fmla="*/ 561 w 907"/>
              <a:gd name="T45" fmla="*/ 346 h 908"/>
              <a:gd name="T46" fmla="*/ 526 w 907"/>
              <a:gd name="T47" fmla="*/ 315 h 908"/>
              <a:gd name="T48" fmla="*/ 503 w 907"/>
              <a:gd name="T49" fmla="*/ 305 h 908"/>
              <a:gd name="T50" fmla="*/ 471 w 907"/>
              <a:gd name="T51" fmla="*/ 298 h 908"/>
              <a:gd name="T52" fmla="*/ 453 w 907"/>
              <a:gd name="T53" fmla="*/ 908 h 908"/>
              <a:gd name="T54" fmla="*/ 453 w 907"/>
              <a:gd name="T55" fmla="*/ 0 h 908"/>
              <a:gd name="T56" fmla="*/ 681 w 907"/>
              <a:gd name="T57" fmla="*/ 676 h 908"/>
              <a:gd name="T58" fmla="*/ 585 w 907"/>
              <a:gd name="T59" fmla="*/ 631 h 908"/>
              <a:gd name="T60" fmla="*/ 549 w 907"/>
              <a:gd name="T61" fmla="*/ 660 h 908"/>
              <a:gd name="T62" fmla="*/ 514 w 907"/>
              <a:gd name="T63" fmla="*/ 676 h 908"/>
              <a:gd name="T64" fmla="*/ 473 w 907"/>
              <a:gd name="T65" fmla="*/ 685 h 908"/>
              <a:gd name="T66" fmla="*/ 427 w 907"/>
              <a:gd name="T67" fmla="*/ 685 h 908"/>
              <a:gd name="T68" fmla="*/ 382 w 907"/>
              <a:gd name="T69" fmla="*/ 676 h 908"/>
              <a:gd name="T70" fmla="*/ 342 w 907"/>
              <a:gd name="T71" fmla="*/ 658 h 908"/>
              <a:gd name="T72" fmla="*/ 306 w 907"/>
              <a:gd name="T73" fmla="*/ 633 h 908"/>
              <a:gd name="T74" fmla="*/ 276 w 907"/>
              <a:gd name="T75" fmla="*/ 602 h 908"/>
              <a:gd name="T76" fmla="*/ 253 w 907"/>
              <a:gd name="T77" fmla="*/ 565 h 908"/>
              <a:gd name="T78" fmla="*/ 236 w 907"/>
              <a:gd name="T79" fmla="*/ 523 h 908"/>
              <a:gd name="T80" fmla="*/ 228 w 907"/>
              <a:gd name="T81" fmla="*/ 478 h 908"/>
              <a:gd name="T82" fmla="*/ 228 w 907"/>
              <a:gd name="T83" fmla="*/ 430 h 908"/>
              <a:gd name="T84" fmla="*/ 235 w 907"/>
              <a:gd name="T85" fmla="*/ 390 h 908"/>
              <a:gd name="T86" fmla="*/ 248 w 907"/>
              <a:gd name="T87" fmla="*/ 353 h 908"/>
              <a:gd name="T88" fmla="*/ 270 w 907"/>
              <a:gd name="T89" fmla="*/ 315 h 908"/>
              <a:gd name="T90" fmla="*/ 298 w 907"/>
              <a:gd name="T91" fmla="*/ 282 h 908"/>
              <a:gd name="T92" fmla="*/ 323 w 907"/>
              <a:gd name="T93" fmla="*/ 261 h 908"/>
              <a:gd name="T94" fmla="*/ 361 w 907"/>
              <a:gd name="T95" fmla="*/ 240 h 908"/>
              <a:gd name="T96" fmla="*/ 404 w 907"/>
              <a:gd name="T97" fmla="*/ 227 h 908"/>
              <a:gd name="T98" fmla="*/ 451 w 907"/>
              <a:gd name="T99" fmla="*/ 222 h 908"/>
              <a:gd name="T100" fmla="*/ 494 w 907"/>
              <a:gd name="T101" fmla="*/ 226 h 908"/>
              <a:gd name="T102" fmla="*/ 532 w 907"/>
              <a:gd name="T103" fmla="*/ 239 h 908"/>
              <a:gd name="T104" fmla="*/ 560 w 907"/>
              <a:gd name="T105" fmla="*/ 255 h 908"/>
              <a:gd name="T106" fmla="*/ 585 w 907"/>
              <a:gd name="T107" fmla="*/ 277 h 908"/>
              <a:gd name="T108" fmla="*/ 681 w 907"/>
              <a:gd name="T109" fmla="*/ 676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7" h="908">
                <a:moveTo>
                  <a:pt x="459" y="298"/>
                </a:moveTo>
                <a:lnTo>
                  <a:pt x="450" y="298"/>
                </a:lnTo>
                <a:lnTo>
                  <a:pt x="441" y="299"/>
                </a:lnTo>
                <a:lnTo>
                  <a:pt x="433" y="300"/>
                </a:lnTo>
                <a:lnTo>
                  <a:pt x="425" y="301"/>
                </a:lnTo>
                <a:lnTo>
                  <a:pt x="417" y="303"/>
                </a:lnTo>
                <a:lnTo>
                  <a:pt x="410" y="306"/>
                </a:lnTo>
                <a:lnTo>
                  <a:pt x="403" y="308"/>
                </a:lnTo>
                <a:lnTo>
                  <a:pt x="396" y="312"/>
                </a:lnTo>
                <a:lnTo>
                  <a:pt x="383" y="319"/>
                </a:lnTo>
                <a:lnTo>
                  <a:pt x="371" y="328"/>
                </a:lnTo>
                <a:lnTo>
                  <a:pt x="366" y="332"/>
                </a:lnTo>
                <a:lnTo>
                  <a:pt x="361" y="337"/>
                </a:lnTo>
                <a:lnTo>
                  <a:pt x="351" y="348"/>
                </a:lnTo>
                <a:lnTo>
                  <a:pt x="347" y="354"/>
                </a:lnTo>
                <a:lnTo>
                  <a:pt x="343" y="360"/>
                </a:lnTo>
                <a:lnTo>
                  <a:pt x="336" y="372"/>
                </a:lnTo>
                <a:lnTo>
                  <a:pt x="333" y="378"/>
                </a:lnTo>
                <a:lnTo>
                  <a:pt x="330" y="385"/>
                </a:lnTo>
                <a:lnTo>
                  <a:pt x="325" y="398"/>
                </a:lnTo>
                <a:lnTo>
                  <a:pt x="321" y="412"/>
                </a:lnTo>
                <a:lnTo>
                  <a:pt x="318" y="426"/>
                </a:lnTo>
                <a:lnTo>
                  <a:pt x="316" y="440"/>
                </a:lnTo>
                <a:lnTo>
                  <a:pt x="316" y="455"/>
                </a:lnTo>
                <a:lnTo>
                  <a:pt x="316" y="469"/>
                </a:lnTo>
                <a:lnTo>
                  <a:pt x="317" y="476"/>
                </a:lnTo>
                <a:lnTo>
                  <a:pt x="318" y="483"/>
                </a:lnTo>
                <a:lnTo>
                  <a:pt x="321" y="497"/>
                </a:lnTo>
                <a:lnTo>
                  <a:pt x="323" y="504"/>
                </a:lnTo>
                <a:lnTo>
                  <a:pt x="325" y="511"/>
                </a:lnTo>
                <a:lnTo>
                  <a:pt x="327" y="517"/>
                </a:lnTo>
                <a:lnTo>
                  <a:pt x="330" y="524"/>
                </a:lnTo>
                <a:lnTo>
                  <a:pt x="333" y="530"/>
                </a:lnTo>
                <a:lnTo>
                  <a:pt x="336" y="537"/>
                </a:lnTo>
                <a:lnTo>
                  <a:pt x="339" y="543"/>
                </a:lnTo>
                <a:lnTo>
                  <a:pt x="343" y="549"/>
                </a:lnTo>
                <a:lnTo>
                  <a:pt x="347" y="555"/>
                </a:lnTo>
                <a:lnTo>
                  <a:pt x="351" y="561"/>
                </a:lnTo>
                <a:lnTo>
                  <a:pt x="356" y="566"/>
                </a:lnTo>
                <a:lnTo>
                  <a:pt x="361" y="571"/>
                </a:lnTo>
                <a:lnTo>
                  <a:pt x="366" y="576"/>
                </a:lnTo>
                <a:lnTo>
                  <a:pt x="371" y="581"/>
                </a:lnTo>
                <a:lnTo>
                  <a:pt x="377" y="585"/>
                </a:lnTo>
                <a:lnTo>
                  <a:pt x="383" y="589"/>
                </a:lnTo>
                <a:lnTo>
                  <a:pt x="389" y="593"/>
                </a:lnTo>
                <a:lnTo>
                  <a:pt x="396" y="597"/>
                </a:lnTo>
                <a:lnTo>
                  <a:pt x="403" y="600"/>
                </a:lnTo>
                <a:lnTo>
                  <a:pt x="410" y="603"/>
                </a:lnTo>
                <a:lnTo>
                  <a:pt x="417" y="605"/>
                </a:lnTo>
                <a:lnTo>
                  <a:pt x="425" y="607"/>
                </a:lnTo>
                <a:lnTo>
                  <a:pt x="433" y="608"/>
                </a:lnTo>
                <a:lnTo>
                  <a:pt x="441" y="610"/>
                </a:lnTo>
                <a:lnTo>
                  <a:pt x="450" y="610"/>
                </a:lnTo>
                <a:lnTo>
                  <a:pt x="459" y="611"/>
                </a:lnTo>
                <a:lnTo>
                  <a:pt x="471" y="610"/>
                </a:lnTo>
                <a:lnTo>
                  <a:pt x="484" y="608"/>
                </a:lnTo>
                <a:lnTo>
                  <a:pt x="497" y="605"/>
                </a:lnTo>
                <a:lnTo>
                  <a:pt x="509" y="601"/>
                </a:lnTo>
                <a:lnTo>
                  <a:pt x="515" y="599"/>
                </a:lnTo>
                <a:lnTo>
                  <a:pt x="520" y="596"/>
                </a:lnTo>
                <a:lnTo>
                  <a:pt x="532" y="589"/>
                </a:lnTo>
                <a:lnTo>
                  <a:pt x="537" y="586"/>
                </a:lnTo>
                <a:lnTo>
                  <a:pt x="542" y="582"/>
                </a:lnTo>
                <a:lnTo>
                  <a:pt x="547" y="577"/>
                </a:lnTo>
                <a:lnTo>
                  <a:pt x="552" y="573"/>
                </a:lnTo>
                <a:lnTo>
                  <a:pt x="557" y="568"/>
                </a:lnTo>
                <a:lnTo>
                  <a:pt x="561" y="562"/>
                </a:lnTo>
                <a:lnTo>
                  <a:pt x="565" y="557"/>
                </a:lnTo>
                <a:lnTo>
                  <a:pt x="569" y="551"/>
                </a:lnTo>
                <a:lnTo>
                  <a:pt x="577" y="538"/>
                </a:lnTo>
                <a:lnTo>
                  <a:pt x="580" y="531"/>
                </a:lnTo>
                <a:lnTo>
                  <a:pt x="583" y="524"/>
                </a:lnTo>
                <a:lnTo>
                  <a:pt x="587" y="509"/>
                </a:lnTo>
                <a:lnTo>
                  <a:pt x="589" y="500"/>
                </a:lnTo>
                <a:lnTo>
                  <a:pt x="591" y="492"/>
                </a:lnTo>
                <a:lnTo>
                  <a:pt x="592" y="483"/>
                </a:lnTo>
                <a:lnTo>
                  <a:pt x="593" y="474"/>
                </a:lnTo>
                <a:lnTo>
                  <a:pt x="594" y="464"/>
                </a:lnTo>
                <a:lnTo>
                  <a:pt x="594" y="455"/>
                </a:lnTo>
                <a:lnTo>
                  <a:pt x="594" y="445"/>
                </a:lnTo>
                <a:lnTo>
                  <a:pt x="593" y="435"/>
                </a:lnTo>
                <a:lnTo>
                  <a:pt x="592" y="426"/>
                </a:lnTo>
                <a:lnTo>
                  <a:pt x="591" y="417"/>
                </a:lnTo>
                <a:lnTo>
                  <a:pt x="587" y="400"/>
                </a:lnTo>
                <a:lnTo>
                  <a:pt x="585" y="392"/>
                </a:lnTo>
                <a:lnTo>
                  <a:pt x="583" y="385"/>
                </a:lnTo>
                <a:lnTo>
                  <a:pt x="580" y="377"/>
                </a:lnTo>
                <a:lnTo>
                  <a:pt x="577" y="370"/>
                </a:lnTo>
                <a:lnTo>
                  <a:pt x="573" y="364"/>
                </a:lnTo>
                <a:lnTo>
                  <a:pt x="569" y="357"/>
                </a:lnTo>
                <a:lnTo>
                  <a:pt x="565" y="352"/>
                </a:lnTo>
                <a:lnTo>
                  <a:pt x="561" y="346"/>
                </a:lnTo>
                <a:lnTo>
                  <a:pt x="552" y="336"/>
                </a:lnTo>
                <a:lnTo>
                  <a:pt x="542" y="327"/>
                </a:lnTo>
                <a:lnTo>
                  <a:pt x="532" y="319"/>
                </a:lnTo>
                <a:lnTo>
                  <a:pt x="526" y="315"/>
                </a:lnTo>
                <a:lnTo>
                  <a:pt x="520" y="312"/>
                </a:lnTo>
                <a:lnTo>
                  <a:pt x="515" y="309"/>
                </a:lnTo>
                <a:lnTo>
                  <a:pt x="509" y="307"/>
                </a:lnTo>
                <a:lnTo>
                  <a:pt x="503" y="305"/>
                </a:lnTo>
                <a:lnTo>
                  <a:pt x="497" y="303"/>
                </a:lnTo>
                <a:lnTo>
                  <a:pt x="490" y="301"/>
                </a:lnTo>
                <a:lnTo>
                  <a:pt x="484" y="300"/>
                </a:lnTo>
                <a:lnTo>
                  <a:pt x="471" y="298"/>
                </a:lnTo>
                <a:lnTo>
                  <a:pt x="465" y="298"/>
                </a:lnTo>
                <a:lnTo>
                  <a:pt x="459" y="298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7" y="908"/>
                </a:lnTo>
                <a:lnTo>
                  <a:pt x="907" y="454"/>
                </a:lnTo>
                <a:lnTo>
                  <a:pt x="907" y="0"/>
                </a:lnTo>
                <a:lnTo>
                  <a:pt x="453" y="0"/>
                </a:lnTo>
                <a:lnTo>
                  <a:pt x="0" y="0"/>
                </a:lnTo>
                <a:lnTo>
                  <a:pt x="0" y="454"/>
                </a:lnTo>
                <a:lnTo>
                  <a:pt x="0" y="908"/>
                </a:lnTo>
                <a:close/>
                <a:moveTo>
                  <a:pt x="681" y="676"/>
                </a:moveTo>
                <a:lnTo>
                  <a:pt x="591" y="676"/>
                </a:lnTo>
                <a:lnTo>
                  <a:pt x="591" y="624"/>
                </a:lnTo>
                <a:lnTo>
                  <a:pt x="588" y="627"/>
                </a:lnTo>
                <a:lnTo>
                  <a:pt x="585" y="631"/>
                </a:lnTo>
                <a:lnTo>
                  <a:pt x="579" y="637"/>
                </a:lnTo>
                <a:lnTo>
                  <a:pt x="572" y="644"/>
                </a:lnTo>
                <a:lnTo>
                  <a:pt x="565" y="649"/>
                </a:lnTo>
                <a:lnTo>
                  <a:pt x="549" y="660"/>
                </a:lnTo>
                <a:lnTo>
                  <a:pt x="541" y="665"/>
                </a:lnTo>
                <a:lnTo>
                  <a:pt x="532" y="669"/>
                </a:lnTo>
                <a:lnTo>
                  <a:pt x="523" y="673"/>
                </a:lnTo>
                <a:lnTo>
                  <a:pt x="514" y="676"/>
                </a:lnTo>
                <a:lnTo>
                  <a:pt x="504" y="679"/>
                </a:lnTo>
                <a:lnTo>
                  <a:pt x="494" y="682"/>
                </a:lnTo>
                <a:lnTo>
                  <a:pt x="484" y="684"/>
                </a:lnTo>
                <a:lnTo>
                  <a:pt x="473" y="685"/>
                </a:lnTo>
                <a:lnTo>
                  <a:pt x="462" y="686"/>
                </a:lnTo>
                <a:lnTo>
                  <a:pt x="451" y="686"/>
                </a:lnTo>
                <a:lnTo>
                  <a:pt x="439" y="686"/>
                </a:lnTo>
                <a:lnTo>
                  <a:pt x="427" y="685"/>
                </a:lnTo>
                <a:lnTo>
                  <a:pt x="415" y="684"/>
                </a:lnTo>
                <a:lnTo>
                  <a:pt x="404" y="682"/>
                </a:lnTo>
                <a:lnTo>
                  <a:pt x="393" y="679"/>
                </a:lnTo>
                <a:lnTo>
                  <a:pt x="382" y="676"/>
                </a:lnTo>
                <a:lnTo>
                  <a:pt x="372" y="672"/>
                </a:lnTo>
                <a:lnTo>
                  <a:pt x="361" y="668"/>
                </a:lnTo>
                <a:lnTo>
                  <a:pt x="351" y="663"/>
                </a:lnTo>
                <a:lnTo>
                  <a:pt x="342" y="658"/>
                </a:lnTo>
                <a:lnTo>
                  <a:pt x="332" y="653"/>
                </a:lnTo>
                <a:lnTo>
                  <a:pt x="323" y="647"/>
                </a:lnTo>
                <a:lnTo>
                  <a:pt x="315" y="640"/>
                </a:lnTo>
                <a:lnTo>
                  <a:pt x="306" y="633"/>
                </a:lnTo>
                <a:lnTo>
                  <a:pt x="298" y="626"/>
                </a:lnTo>
                <a:lnTo>
                  <a:pt x="291" y="618"/>
                </a:lnTo>
                <a:lnTo>
                  <a:pt x="283" y="610"/>
                </a:lnTo>
                <a:lnTo>
                  <a:pt x="276" y="602"/>
                </a:lnTo>
                <a:lnTo>
                  <a:pt x="270" y="593"/>
                </a:lnTo>
                <a:lnTo>
                  <a:pt x="264" y="584"/>
                </a:lnTo>
                <a:lnTo>
                  <a:pt x="258" y="575"/>
                </a:lnTo>
                <a:lnTo>
                  <a:pt x="253" y="565"/>
                </a:lnTo>
                <a:lnTo>
                  <a:pt x="248" y="555"/>
                </a:lnTo>
                <a:lnTo>
                  <a:pt x="244" y="545"/>
                </a:lnTo>
                <a:lnTo>
                  <a:pt x="240" y="534"/>
                </a:lnTo>
                <a:lnTo>
                  <a:pt x="236" y="523"/>
                </a:lnTo>
                <a:lnTo>
                  <a:pt x="234" y="512"/>
                </a:lnTo>
                <a:lnTo>
                  <a:pt x="231" y="501"/>
                </a:lnTo>
                <a:lnTo>
                  <a:pt x="229" y="489"/>
                </a:lnTo>
                <a:lnTo>
                  <a:pt x="228" y="478"/>
                </a:lnTo>
                <a:lnTo>
                  <a:pt x="227" y="466"/>
                </a:lnTo>
                <a:lnTo>
                  <a:pt x="227" y="454"/>
                </a:lnTo>
                <a:lnTo>
                  <a:pt x="227" y="442"/>
                </a:lnTo>
                <a:lnTo>
                  <a:pt x="228" y="430"/>
                </a:lnTo>
                <a:lnTo>
                  <a:pt x="229" y="418"/>
                </a:lnTo>
                <a:lnTo>
                  <a:pt x="231" y="407"/>
                </a:lnTo>
                <a:lnTo>
                  <a:pt x="234" y="396"/>
                </a:lnTo>
                <a:lnTo>
                  <a:pt x="235" y="390"/>
                </a:lnTo>
                <a:lnTo>
                  <a:pt x="236" y="385"/>
                </a:lnTo>
                <a:lnTo>
                  <a:pt x="240" y="374"/>
                </a:lnTo>
                <a:lnTo>
                  <a:pt x="244" y="363"/>
                </a:lnTo>
                <a:lnTo>
                  <a:pt x="248" y="353"/>
                </a:lnTo>
                <a:lnTo>
                  <a:pt x="253" y="343"/>
                </a:lnTo>
                <a:lnTo>
                  <a:pt x="258" y="333"/>
                </a:lnTo>
                <a:lnTo>
                  <a:pt x="264" y="324"/>
                </a:lnTo>
                <a:lnTo>
                  <a:pt x="270" y="315"/>
                </a:lnTo>
                <a:lnTo>
                  <a:pt x="276" y="306"/>
                </a:lnTo>
                <a:lnTo>
                  <a:pt x="283" y="298"/>
                </a:lnTo>
                <a:lnTo>
                  <a:pt x="291" y="290"/>
                </a:lnTo>
                <a:lnTo>
                  <a:pt x="298" y="282"/>
                </a:lnTo>
                <a:lnTo>
                  <a:pt x="306" y="275"/>
                </a:lnTo>
                <a:lnTo>
                  <a:pt x="310" y="271"/>
                </a:lnTo>
                <a:lnTo>
                  <a:pt x="315" y="268"/>
                </a:lnTo>
                <a:lnTo>
                  <a:pt x="323" y="261"/>
                </a:lnTo>
                <a:lnTo>
                  <a:pt x="332" y="255"/>
                </a:lnTo>
                <a:lnTo>
                  <a:pt x="342" y="250"/>
                </a:lnTo>
                <a:lnTo>
                  <a:pt x="351" y="245"/>
                </a:lnTo>
                <a:lnTo>
                  <a:pt x="361" y="240"/>
                </a:lnTo>
                <a:lnTo>
                  <a:pt x="372" y="236"/>
                </a:lnTo>
                <a:lnTo>
                  <a:pt x="382" y="232"/>
                </a:lnTo>
                <a:lnTo>
                  <a:pt x="393" y="229"/>
                </a:lnTo>
                <a:lnTo>
                  <a:pt x="404" y="227"/>
                </a:lnTo>
                <a:lnTo>
                  <a:pt x="415" y="225"/>
                </a:lnTo>
                <a:lnTo>
                  <a:pt x="427" y="223"/>
                </a:lnTo>
                <a:lnTo>
                  <a:pt x="439" y="222"/>
                </a:lnTo>
                <a:lnTo>
                  <a:pt x="451" y="222"/>
                </a:lnTo>
                <a:lnTo>
                  <a:pt x="462" y="222"/>
                </a:lnTo>
                <a:lnTo>
                  <a:pt x="473" y="223"/>
                </a:lnTo>
                <a:lnTo>
                  <a:pt x="484" y="224"/>
                </a:lnTo>
                <a:lnTo>
                  <a:pt x="494" y="226"/>
                </a:lnTo>
                <a:lnTo>
                  <a:pt x="504" y="229"/>
                </a:lnTo>
                <a:lnTo>
                  <a:pt x="513" y="231"/>
                </a:lnTo>
                <a:lnTo>
                  <a:pt x="523" y="235"/>
                </a:lnTo>
                <a:lnTo>
                  <a:pt x="532" y="239"/>
                </a:lnTo>
                <a:lnTo>
                  <a:pt x="540" y="243"/>
                </a:lnTo>
                <a:lnTo>
                  <a:pt x="549" y="247"/>
                </a:lnTo>
                <a:lnTo>
                  <a:pt x="557" y="253"/>
                </a:lnTo>
                <a:lnTo>
                  <a:pt x="560" y="255"/>
                </a:lnTo>
                <a:lnTo>
                  <a:pt x="564" y="258"/>
                </a:lnTo>
                <a:lnTo>
                  <a:pt x="571" y="264"/>
                </a:lnTo>
                <a:lnTo>
                  <a:pt x="578" y="270"/>
                </a:lnTo>
                <a:lnTo>
                  <a:pt x="585" y="277"/>
                </a:lnTo>
                <a:lnTo>
                  <a:pt x="591" y="283"/>
                </a:lnTo>
                <a:lnTo>
                  <a:pt x="591" y="231"/>
                </a:lnTo>
                <a:lnTo>
                  <a:pt x="681" y="231"/>
                </a:lnTo>
                <a:lnTo>
                  <a:pt x="681" y="6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6" name="Freeform 19"/>
          <p:cNvSpPr>
            <a:spLocks noChangeAspect="1" noEditPoints="1"/>
          </p:cNvSpPr>
          <p:nvPr userDrawn="1"/>
        </p:nvSpPr>
        <p:spPr bwMode="auto">
          <a:xfrm>
            <a:off x="2612066" y="-1182"/>
            <a:ext cx="1306667" cy="1286466"/>
          </a:xfrm>
          <a:custGeom>
            <a:avLst/>
            <a:gdLst>
              <a:gd name="T0" fmla="*/ 424 w 908"/>
              <a:gd name="T1" fmla="*/ 683 h 908"/>
              <a:gd name="T2" fmla="*/ 365 w 908"/>
              <a:gd name="T3" fmla="*/ 671 h 908"/>
              <a:gd name="T4" fmla="*/ 304 w 908"/>
              <a:gd name="T5" fmla="*/ 647 h 908"/>
              <a:gd name="T6" fmla="*/ 247 w 908"/>
              <a:gd name="T7" fmla="*/ 610 h 908"/>
              <a:gd name="T8" fmla="*/ 286 w 908"/>
              <a:gd name="T9" fmla="*/ 536 h 908"/>
              <a:gd name="T10" fmla="*/ 321 w 908"/>
              <a:gd name="T11" fmla="*/ 562 h 908"/>
              <a:gd name="T12" fmla="*/ 365 w 908"/>
              <a:gd name="T13" fmla="*/ 585 h 908"/>
              <a:gd name="T14" fmla="*/ 405 w 908"/>
              <a:gd name="T15" fmla="*/ 598 h 908"/>
              <a:gd name="T16" fmla="*/ 441 w 908"/>
              <a:gd name="T17" fmla="*/ 604 h 908"/>
              <a:gd name="T18" fmla="*/ 508 w 908"/>
              <a:gd name="T19" fmla="*/ 602 h 908"/>
              <a:gd name="T20" fmla="*/ 551 w 908"/>
              <a:gd name="T21" fmla="*/ 589 h 908"/>
              <a:gd name="T22" fmla="*/ 571 w 908"/>
              <a:gd name="T23" fmla="*/ 575 h 908"/>
              <a:gd name="T24" fmla="*/ 582 w 908"/>
              <a:gd name="T25" fmla="*/ 556 h 908"/>
              <a:gd name="T26" fmla="*/ 583 w 908"/>
              <a:gd name="T27" fmla="*/ 539 h 908"/>
              <a:gd name="T28" fmla="*/ 575 w 908"/>
              <a:gd name="T29" fmla="*/ 524 h 908"/>
              <a:gd name="T30" fmla="*/ 559 w 908"/>
              <a:gd name="T31" fmla="*/ 512 h 908"/>
              <a:gd name="T32" fmla="*/ 521 w 908"/>
              <a:gd name="T33" fmla="*/ 501 h 908"/>
              <a:gd name="T34" fmla="*/ 394 w 908"/>
              <a:gd name="T35" fmla="*/ 483 h 908"/>
              <a:gd name="T36" fmla="*/ 324 w 908"/>
              <a:gd name="T37" fmla="*/ 465 h 908"/>
              <a:gd name="T38" fmla="*/ 280 w 908"/>
              <a:gd name="T39" fmla="*/ 442 h 908"/>
              <a:gd name="T40" fmla="*/ 257 w 908"/>
              <a:gd name="T41" fmla="*/ 420 h 908"/>
              <a:gd name="T42" fmla="*/ 243 w 908"/>
              <a:gd name="T43" fmla="*/ 392 h 908"/>
              <a:gd name="T44" fmla="*/ 237 w 908"/>
              <a:gd name="T45" fmla="*/ 356 h 908"/>
              <a:gd name="T46" fmla="*/ 242 w 908"/>
              <a:gd name="T47" fmla="*/ 328 h 908"/>
              <a:gd name="T48" fmla="*/ 254 w 908"/>
              <a:gd name="T49" fmla="*/ 302 h 908"/>
              <a:gd name="T50" fmla="*/ 274 w 908"/>
              <a:gd name="T51" fmla="*/ 279 h 908"/>
              <a:gd name="T52" fmla="*/ 299 w 908"/>
              <a:gd name="T53" fmla="*/ 260 h 908"/>
              <a:gd name="T54" fmla="*/ 347 w 908"/>
              <a:gd name="T55" fmla="*/ 237 h 908"/>
              <a:gd name="T56" fmla="*/ 422 w 908"/>
              <a:gd name="T57" fmla="*/ 222 h 908"/>
              <a:gd name="T58" fmla="*/ 489 w 908"/>
              <a:gd name="T59" fmla="*/ 224 h 908"/>
              <a:gd name="T60" fmla="*/ 545 w 908"/>
              <a:gd name="T61" fmla="*/ 235 h 908"/>
              <a:gd name="T62" fmla="*/ 596 w 908"/>
              <a:gd name="T63" fmla="*/ 255 h 908"/>
              <a:gd name="T64" fmla="*/ 641 w 908"/>
              <a:gd name="T65" fmla="*/ 283 h 908"/>
              <a:gd name="T66" fmla="*/ 591 w 908"/>
              <a:gd name="T67" fmla="*/ 351 h 908"/>
              <a:gd name="T68" fmla="*/ 550 w 908"/>
              <a:gd name="T69" fmla="*/ 325 h 908"/>
              <a:gd name="T70" fmla="*/ 503 w 908"/>
              <a:gd name="T71" fmla="*/ 308 h 908"/>
              <a:gd name="T72" fmla="*/ 462 w 908"/>
              <a:gd name="T73" fmla="*/ 302 h 908"/>
              <a:gd name="T74" fmla="*/ 416 w 908"/>
              <a:gd name="T75" fmla="*/ 303 h 908"/>
              <a:gd name="T76" fmla="*/ 372 w 908"/>
              <a:gd name="T77" fmla="*/ 313 h 908"/>
              <a:gd name="T78" fmla="*/ 343 w 908"/>
              <a:gd name="T79" fmla="*/ 329 h 908"/>
              <a:gd name="T80" fmla="*/ 328 w 908"/>
              <a:gd name="T81" fmla="*/ 347 h 908"/>
              <a:gd name="T82" fmla="*/ 328 w 908"/>
              <a:gd name="T83" fmla="*/ 366 h 908"/>
              <a:gd name="T84" fmla="*/ 338 w 908"/>
              <a:gd name="T85" fmla="*/ 380 h 908"/>
              <a:gd name="T86" fmla="*/ 369 w 908"/>
              <a:gd name="T87" fmla="*/ 395 h 908"/>
              <a:gd name="T88" fmla="*/ 443 w 908"/>
              <a:gd name="T89" fmla="*/ 407 h 908"/>
              <a:gd name="T90" fmla="*/ 550 w 908"/>
              <a:gd name="T91" fmla="*/ 424 h 908"/>
              <a:gd name="T92" fmla="*/ 607 w 908"/>
              <a:gd name="T93" fmla="*/ 442 h 908"/>
              <a:gd name="T94" fmla="*/ 639 w 908"/>
              <a:gd name="T95" fmla="*/ 462 h 908"/>
              <a:gd name="T96" fmla="*/ 658 w 908"/>
              <a:gd name="T97" fmla="*/ 483 h 908"/>
              <a:gd name="T98" fmla="*/ 670 w 908"/>
              <a:gd name="T99" fmla="*/ 511 h 908"/>
              <a:gd name="T100" fmla="*/ 674 w 908"/>
              <a:gd name="T101" fmla="*/ 545 h 908"/>
              <a:gd name="T102" fmla="*/ 670 w 908"/>
              <a:gd name="T103" fmla="*/ 573 h 908"/>
              <a:gd name="T104" fmla="*/ 659 w 908"/>
              <a:gd name="T105" fmla="*/ 600 h 908"/>
              <a:gd name="T106" fmla="*/ 641 w 908"/>
              <a:gd name="T107" fmla="*/ 624 h 908"/>
              <a:gd name="T108" fmla="*/ 616 w 908"/>
              <a:gd name="T109" fmla="*/ 644 h 908"/>
              <a:gd name="T110" fmla="*/ 569 w 908"/>
              <a:gd name="T111" fmla="*/ 668 h 908"/>
              <a:gd name="T112" fmla="*/ 510 w 908"/>
              <a:gd name="T113" fmla="*/ 683 h 908"/>
              <a:gd name="T114" fmla="*/ 0 w 908"/>
              <a:gd name="T115" fmla="*/ 908 h 908"/>
              <a:gd name="T116" fmla="*/ 908 w 908"/>
              <a:gd name="T117" fmla="*/ 0 h 908"/>
              <a:gd name="T118" fmla="*/ 0 w 908"/>
              <a:gd name="T119" fmla="*/ 908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466" y="685"/>
                </a:moveTo>
                <a:lnTo>
                  <a:pt x="452" y="685"/>
                </a:lnTo>
                <a:lnTo>
                  <a:pt x="438" y="684"/>
                </a:lnTo>
                <a:lnTo>
                  <a:pt x="424" y="683"/>
                </a:lnTo>
                <a:lnTo>
                  <a:pt x="410" y="681"/>
                </a:lnTo>
                <a:lnTo>
                  <a:pt x="395" y="678"/>
                </a:lnTo>
                <a:lnTo>
                  <a:pt x="380" y="675"/>
                </a:lnTo>
                <a:lnTo>
                  <a:pt x="365" y="671"/>
                </a:lnTo>
                <a:lnTo>
                  <a:pt x="350" y="666"/>
                </a:lnTo>
                <a:lnTo>
                  <a:pt x="335" y="661"/>
                </a:lnTo>
                <a:lnTo>
                  <a:pt x="319" y="654"/>
                </a:lnTo>
                <a:lnTo>
                  <a:pt x="304" y="647"/>
                </a:lnTo>
                <a:lnTo>
                  <a:pt x="290" y="639"/>
                </a:lnTo>
                <a:lnTo>
                  <a:pt x="275" y="631"/>
                </a:lnTo>
                <a:lnTo>
                  <a:pt x="261" y="621"/>
                </a:lnTo>
                <a:lnTo>
                  <a:pt x="247" y="610"/>
                </a:lnTo>
                <a:lnTo>
                  <a:pt x="240" y="605"/>
                </a:lnTo>
                <a:lnTo>
                  <a:pt x="233" y="599"/>
                </a:lnTo>
                <a:lnTo>
                  <a:pt x="283" y="533"/>
                </a:lnTo>
                <a:lnTo>
                  <a:pt x="286" y="536"/>
                </a:lnTo>
                <a:lnTo>
                  <a:pt x="296" y="544"/>
                </a:lnTo>
                <a:lnTo>
                  <a:pt x="303" y="550"/>
                </a:lnTo>
                <a:lnTo>
                  <a:pt x="311" y="556"/>
                </a:lnTo>
                <a:lnTo>
                  <a:pt x="321" y="562"/>
                </a:lnTo>
                <a:lnTo>
                  <a:pt x="332" y="569"/>
                </a:lnTo>
                <a:lnTo>
                  <a:pt x="345" y="576"/>
                </a:lnTo>
                <a:lnTo>
                  <a:pt x="358" y="582"/>
                </a:lnTo>
                <a:lnTo>
                  <a:pt x="365" y="585"/>
                </a:lnTo>
                <a:lnTo>
                  <a:pt x="373" y="588"/>
                </a:lnTo>
                <a:lnTo>
                  <a:pt x="388" y="594"/>
                </a:lnTo>
                <a:lnTo>
                  <a:pt x="396" y="596"/>
                </a:lnTo>
                <a:lnTo>
                  <a:pt x="405" y="598"/>
                </a:lnTo>
                <a:lnTo>
                  <a:pt x="414" y="600"/>
                </a:lnTo>
                <a:lnTo>
                  <a:pt x="423" y="602"/>
                </a:lnTo>
                <a:lnTo>
                  <a:pt x="432" y="603"/>
                </a:lnTo>
                <a:lnTo>
                  <a:pt x="441" y="604"/>
                </a:lnTo>
                <a:lnTo>
                  <a:pt x="460" y="605"/>
                </a:lnTo>
                <a:lnTo>
                  <a:pt x="478" y="605"/>
                </a:lnTo>
                <a:lnTo>
                  <a:pt x="494" y="604"/>
                </a:lnTo>
                <a:lnTo>
                  <a:pt x="508" y="602"/>
                </a:lnTo>
                <a:lnTo>
                  <a:pt x="521" y="599"/>
                </a:lnTo>
                <a:lnTo>
                  <a:pt x="533" y="596"/>
                </a:lnTo>
                <a:lnTo>
                  <a:pt x="543" y="593"/>
                </a:lnTo>
                <a:lnTo>
                  <a:pt x="551" y="589"/>
                </a:lnTo>
                <a:lnTo>
                  <a:pt x="559" y="585"/>
                </a:lnTo>
                <a:lnTo>
                  <a:pt x="565" y="580"/>
                </a:lnTo>
                <a:lnTo>
                  <a:pt x="568" y="578"/>
                </a:lnTo>
                <a:lnTo>
                  <a:pt x="571" y="575"/>
                </a:lnTo>
                <a:lnTo>
                  <a:pt x="575" y="571"/>
                </a:lnTo>
                <a:lnTo>
                  <a:pt x="578" y="566"/>
                </a:lnTo>
                <a:lnTo>
                  <a:pt x="580" y="561"/>
                </a:lnTo>
                <a:lnTo>
                  <a:pt x="582" y="556"/>
                </a:lnTo>
                <a:lnTo>
                  <a:pt x="583" y="552"/>
                </a:lnTo>
                <a:lnTo>
                  <a:pt x="583" y="547"/>
                </a:lnTo>
                <a:lnTo>
                  <a:pt x="583" y="543"/>
                </a:lnTo>
                <a:lnTo>
                  <a:pt x="583" y="539"/>
                </a:lnTo>
                <a:lnTo>
                  <a:pt x="582" y="536"/>
                </a:lnTo>
                <a:lnTo>
                  <a:pt x="580" y="533"/>
                </a:lnTo>
                <a:lnTo>
                  <a:pt x="577" y="526"/>
                </a:lnTo>
                <a:lnTo>
                  <a:pt x="575" y="524"/>
                </a:lnTo>
                <a:lnTo>
                  <a:pt x="572" y="521"/>
                </a:lnTo>
                <a:lnTo>
                  <a:pt x="569" y="519"/>
                </a:lnTo>
                <a:lnTo>
                  <a:pt x="566" y="516"/>
                </a:lnTo>
                <a:lnTo>
                  <a:pt x="559" y="512"/>
                </a:lnTo>
                <a:lnTo>
                  <a:pt x="551" y="509"/>
                </a:lnTo>
                <a:lnTo>
                  <a:pt x="542" y="506"/>
                </a:lnTo>
                <a:lnTo>
                  <a:pt x="532" y="503"/>
                </a:lnTo>
                <a:lnTo>
                  <a:pt x="521" y="501"/>
                </a:lnTo>
                <a:lnTo>
                  <a:pt x="498" y="497"/>
                </a:lnTo>
                <a:lnTo>
                  <a:pt x="447" y="490"/>
                </a:lnTo>
                <a:lnTo>
                  <a:pt x="412" y="485"/>
                </a:lnTo>
                <a:lnTo>
                  <a:pt x="394" y="483"/>
                </a:lnTo>
                <a:lnTo>
                  <a:pt x="376" y="479"/>
                </a:lnTo>
                <a:lnTo>
                  <a:pt x="358" y="475"/>
                </a:lnTo>
                <a:lnTo>
                  <a:pt x="341" y="471"/>
                </a:lnTo>
                <a:lnTo>
                  <a:pt x="324" y="465"/>
                </a:lnTo>
                <a:lnTo>
                  <a:pt x="308" y="459"/>
                </a:lnTo>
                <a:lnTo>
                  <a:pt x="301" y="455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8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1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2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2"/>
                </a:lnTo>
                <a:lnTo>
                  <a:pt x="327" y="356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4"/>
                </a:lnTo>
                <a:lnTo>
                  <a:pt x="443" y="407"/>
                </a:lnTo>
                <a:lnTo>
                  <a:pt x="473" y="411"/>
                </a:lnTo>
                <a:lnTo>
                  <a:pt x="513" y="417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2"/>
                </a:lnTo>
                <a:lnTo>
                  <a:pt x="645" y="467"/>
                </a:lnTo>
                <a:lnTo>
                  <a:pt x="649" y="472"/>
                </a:lnTo>
                <a:lnTo>
                  <a:pt x="654" y="478"/>
                </a:lnTo>
                <a:lnTo>
                  <a:pt x="658" y="483"/>
                </a:lnTo>
                <a:lnTo>
                  <a:pt x="662" y="490"/>
                </a:lnTo>
                <a:lnTo>
                  <a:pt x="665" y="496"/>
                </a:lnTo>
                <a:lnTo>
                  <a:pt x="668" y="503"/>
                </a:lnTo>
                <a:lnTo>
                  <a:pt x="670" y="511"/>
                </a:lnTo>
                <a:lnTo>
                  <a:pt x="672" y="518"/>
                </a:lnTo>
                <a:lnTo>
                  <a:pt x="673" y="527"/>
                </a:lnTo>
                <a:lnTo>
                  <a:pt x="674" y="535"/>
                </a:lnTo>
                <a:lnTo>
                  <a:pt x="674" y="545"/>
                </a:lnTo>
                <a:lnTo>
                  <a:pt x="674" y="552"/>
                </a:lnTo>
                <a:lnTo>
                  <a:pt x="673" y="559"/>
                </a:lnTo>
                <a:lnTo>
                  <a:pt x="672" y="566"/>
                </a:lnTo>
                <a:lnTo>
                  <a:pt x="670" y="573"/>
                </a:lnTo>
                <a:lnTo>
                  <a:pt x="668" y="580"/>
                </a:lnTo>
                <a:lnTo>
                  <a:pt x="666" y="587"/>
                </a:lnTo>
                <a:lnTo>
                  <a:pt x="663" y="593"/>
                </a:lnTo>
                <a:lnTo>
                  <a:pt x="659" y="600"/>
                </a:lnTo>
                <a:lnTo>
                  <a:pt x="655" y="606"/>
                </a:lnTo>
                <a:lnTo>
                  <a:pt x="651" y="612"/>
                </a:lnTo>
                <a:lnTo>
                  <a:pt x="646" y="618"/>
                </a:lnTo>
                <a:lnTo>
                  <a:pt x="641" y="624"/>
                </a:lnTo>
                <a:lnTo>
                  <a:pt x="635" y="629"/>
                </a:lnTo>
                <a:lnTo>
                  <a:pt x="629" y="634"/>
                </a:lnTo>
                <a:lnTo>
                  <a:pt x="623" y="639"/>
                </a:lnTo>
                <a:lnTo>
                  <a:pt x="616" y="644"/>
                </a:lnTo>
                <a:lnTo>
                  <a:pt x="609" y="649"/>
                </a:lnTo>
                <a:lnTo>
                  <a:pt x="602" y="653"/>
                </a:lnTo>
                <a:lnTo>
                  <a:pt x="586" y="661"/>
                </a:lnTo>
                <a:lnTo>
                  <a:pt x="569" y="668"/>
                </a:lnTo>
                <a:lnTo>
                  <a:pt x="560" y="672"/>
                </a:lnTo>
                <a:lnTo>
                  <a:pt x="550" y="674"/>
                </a:lnTo>
                <a:lnTo>
                  <a:pt x="531" y="679"/>
                </a:lnTo>
                <a:lnTo>
                  <a:pt x="510" y="683"/>
                </a:lnTo>
                <a:lnTo>
                  <a:pt x="499" y="684"/>
                </a:lnTo>
                <a:lnTo>
                  <a:pt x="488" y="685"/>
                </a:lnTo>
                <a:lnTo>
                  <a:pt x="466" y="685"/>
                </a:lnTo>
                <a:close/>
                <a:moveTo>
                  <a:pt x="0" y="908"/>
                </a:moveTo>
                <a:lnTo>
                  <a:pt x="453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7" name="Freeform 20"/>
          <p:cNvSpPr>
            <a:spLocks noChangeAspect="1" noEditPoints="1"/>
          </p:cNvSpPr>
          <p:nvPr userDrawn="1"/>
        </p:nvSpPr>
        <p:spPr bwMode="auto">
          <a:xfrm>
            <a:off x="5224114" y="3858217"/>
            <a:ext cx="1306382" cy="1285880"/>
          </a:xfrm>
          <a:custGeom>
            <a:avLst/>
            <a:gdLst>
              <a:gd name="T0" fmla="*/ 908 w 908"/>
              <a:gd name="T1" fmla="*/ 453 h 908"/>
              <a:gd name="T2" fmla="*/ 0 w 908"/>
              <a:gd name="T3" fmla="*/ 453 h 908"/>
              <a:gd name="T4" fmla="*/ 431 w 908"/>
              <a:gd name="T5" fmla="*/ 684 h 908"/>
              <a:gd name="T6" fmla="*/ 386 w 908"/>
              <a:gd name="T7" fmla="*/ 675 h 908"/>
              <a:gd name="T8" fmla="*/ 344 w 908"/>
              <a:gd name="T9" fmla="*/ 657 h 908"/>
              <a:gd name="T10" fmla="*/ 307 w 908"/>
              <a:gd name="T11" fmla="*/ 632 h 908"/>
              <a:gd name="T12" fmla="*/ 276 w 908"/>
              <a:gd name="T13" fmla="*/ 601 h 908"/>
              <a:gd name="T14" fmla="*/ 251 w 908"/>
              <a:gd name="T15" fmla="*/ 564 h 908"/>
              <a:gd name="T16" fmla="*/ 233 w 908"/>
              <a:gd name="T17" fmla="*/ 523 h 908"/>
              <a:gd name="T18" fmla="*/ 223 w 908"/>
              <a:gd name="T19" fmla="*/ 477 h 908"/>
              <a:gd name="T20" fmla="*/ 223 w 908"/>
              <a:gd name="T21" fmla="*/ 429 h 908"/>
              <a:gd name="T22" fmla="*/ 233 w 908"/>
              <a:gd name="T23" fmla="*/ 383 h 908"/>
              <a:gd name="T24" fmla="*/ 251 w 908"/>
              <a:gd name="T25" fmla="*/ 342 h 908"/>
              <a:gd name="T26" fmla="*/ 276 w 908"/>
              <a:gd name="T27" fmla="*/ 305 h 908"/>
              <a:gd name="T28" fmla="*/ 307 w 908"/>
              <a:gd name="T29" fmla="*/ 274 h 908"/>
              <a:gd name="T30" fmla="*/ 344 w 908"/>
              <a:gd name="T31" fmla="*/ 249 h 908"/>
              <a:gd name="T32" fmla="*/ 386 w 908"/>
              <a:gd name="T33" fmla="*/ 231 h 908"/>
              <a:gd name="T34" fmla="*/ 431 w 908"/>
              <a:gd name="T35" fmla="*/ 222 h 908"/>
              <a:gd name="T36" fmla="*/ 479 w 908"/>
              <a:gd name="T37" fmla="*/ 222 h 908"/>
              <a:gd name="T38" fmla="*/ 524 w 908"/>
              <a:gd name="T39" fmla="*/ 231 h 908"/>
              <a:gd name="T40" fmla="*/ 565 w 908"/>
              <a:gd name="T41" fmla="*/ 249 h 908"/>
              <a:gd name="T42" fmla="*/ 602 w 908"/>
              <a:gd name="T43" fmla="*/ 274 h 908"/>
              <a:gd name="T44" fmla="*/ 634 w 908"/>
              <a:gd name="T45" fmla="*/ 305 h 908"/>
              <a:gd name="T46" fmla="*/ 659 w 908"/>
              <a:gd name="T47" fmla="*/ 342 h 908"/>
              <a:gd name="T48" fmla="*/ 676 w 908"/>
              <a:gd name="T49" fmla="*/ 383 h 908"/>
              <a:gd name="T50" fmla="*/ 685 w 908"/>
              <a:gd name="T51" fmla="*/ 429 h 908"/>
              <a:gd name="T52" fmla="*/ 685 w 908"/>
              <a:gd name="T53" fmla="*/ 477 h 908"/>
              <a:gd name="T54" fmla="*/ 676 w 908"/>
              <a:gd name="T55" fmla="*/ 523 h 908"/>
              <a:gd name="T56" fmla="*/ 659 w 908"/>
              <a:gd name="T57" fmla="*/ 564 h 908"/>
              <a:gd name="T58" fmla="*/ 634 w 908"/>
              <a:gd name="T59" fmla="*/ 601 h 908"/>
              <a:gd name="T60" fmla="*/ 602 w 908"/>
              <a:gd name="T61" fmla="*/ 632 h 908"/>
              <a:gd name="T62" fmla="*/ 565 w 908"/>
              <a:gd name="T63" fmla="*/ 657 h 908"/>
              <a:gd name="T64" fmla="*/ 524 w 908"/>
              <a:gd name="T65" fmla="*/ 675 h 908"/>
              <a:gd name="T66" fmla="*/ 479 w 908"/>
              <a:gd name="T67" fmla="*/ 684 h 908"/>
              <a:gd name="T68" fmla="*/ 440 w 908"/>
              <a:gd name="T69" fmla="*/ 302 h 908"/>
              <a:gd name="T70" fmla="*/ 406 w 908"/>
              <a:gd name="T71" fmla="*/ 309 h 908"/>
              <a:gd name="T72" fmla="*/ 381 w 908"/>
              <a:gd name="T73" fmla="*/ 321 h 908"/>
              <a:gd name="T74" fmla="*/ 359 w 908"/>
              <a:gd name="T75" fmla="*/ 338 h 908"/>
              <a:gd name="T76" fmla="*/ 341 w 908"/>
              <a:gd name="T77" fmla="*/ 359 h 908"/>
              <a:gd name="T78" fmla="*/ 323 w 908"/>
              <a:gd name="T79" fmla="*/ 391 h 908"/>
              <a:gd name="T80" fmla="*/ 315 w 908"/>
              <a:gd name="T81" fmla="*/ 420 h 908"/>
              <a:gd name="T82" fmla="*/ 313 w 908"/>
              <a:gd name="T83" fmla="*/ 470 h 908"/>
              <a:gd name="T84" fmla="*/ 323 w 908"/>
              <a:gd name="T85" fmla="*/ 515 h 908"/>
              <a:gd name="T86" fmla="*/ 341 w 908"/>
              <a:gd name="T87" fmla="*/ 547 h 908"/>
              <a:gd name="T88" fmla="*/ 359 w 908"/>
              <a:gd name="T89" fmla="*/ 568 h 908"/>
              <a:gd name="T90" fmla="*/ 387 w 908"/>
              <a:gd name="T91" fmla="*/ 588 h 908"/>
              <a:gd name="T92" fmla="*/ 426 w 908"/>
              <a:gd name="T93" fmla="*/ 602 h 908"/>
              <a:gd name="T94" fmla="*/ 469 w 908"/>
              <a:gd name="T95" fmla="*/ 604 h 908"/>
              <a:gd name="T96" fmla="*/ 504 w 908"/>
              <a:gd name="T97" fmla="*/ 597 h 908"/>
              <a:gd name="T98" fmla="*/ 529 w 908"/>
              <a:gd name="T99" fmla="*/ 585 h 908"/>
              <a:gd name="T100" fmla="*/ 551 w 908"/>
              <a:gd name="T101" fmla="*/ 568 h 908"/>
              <a:gd name="T102" fmla="*/ 569 w 908"/>
              <a:gd name="T103" fmla="*/ 547 h 908"/>
              <a:gd name="T104" fmla="*/ 586 w 908"/>
              <a:gd name="T105" fmla="*/ 515 h 908"/>
              <a:gd name="T106" fmla="*/ 595 w 908"/>
              <a:gd name="T107" fmla="*/ 486 h 908"/>
              <a:gd name="T108" fmla="*/ 597 w 908"/>
              <a:gd name="T109" fmla="*/ 436 h 908"/>
              <a:gd name="T110" fmla="*/ 586 w 908"/>
              <a:gd name="T111" fmla="*/ 391 h 908"/>
              <a:gd name="T112" fmla="*/ 569 w 908"/>
              <a:gd name="T113" fmla="*/ 359 h 908"/>
              <a:gd name="T114" fmla="*/ 551 w 908"/>
              <a:gd name="T115" fmla="*/ 338 h 908"/>
              <a:gd name="T116" fmla="*/ 523 w 908"/>
              <a:gd name="T117" fmla="*/ 318 h 908"/>
              <a:gd name="T118" fmla="*/ 484 w 908"/>
              <a:gd name="T119" fmla="*/ 304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8" h="908">
                <a:moveTo>
                  <a:pt x="0" y="908"/>
                </a:moveTo>
                <a:lnTo>
                  <a:pt x="454" y="908"/>
                </a:lnTo>
                <a:lnTo>
                  <a:pt x="908" y="908"/>
                </a:lnTo>
                <a:lnTo>
                  <a:pt x="908" y="453"/>
                </a:lnTo>
                <a:lnTo>
                  <a:pt x="908" y="0"/>
                </a:lnTo>
                <a:lnTo>
                  <a:pt x="454" y="0"/>
                </a:lnTo>
                <a:lnTo>
                  <a:pt x="0" y="0"/>
                </a:lnTo>
                <a:lnTo>
                  <a:pt x="0" y="453"/>
                </a:lnTo>
                <a:lnTo>
                  <a:pt x="0" y="908"/>
                </a:lnTo>
                <a:close/>
                <a:moveTo>
                  <a:pt x="455" y="685"/>
                </a:moveTo>
                <a:lnTo>
                  <a:pt x="443" y="685"/>
                </a:lnTo>
                <a:lnTo>
                  <a:pt x="431" y="684"/>
                </a:lnTo>
                <a:lnTo>
                  <a:pt x="419" y="683"/>
                </a:lnTo>
                <a:lnTo>
                  <a:pt x="408" y="681"/>
                </a:lnTo>
                <a:lnTo>
                  <a:pt x="397" y="678"/>
                </a:lnTo>
                <a:lnTo>
                  <a:pt x="386" y="675"/>
                </a:lnTo>
                <a:lnTo>
                  <a:pt x="375" y="671"/>
                </a:lnTo>
                <a:lnTo>
                  <a:pt x="364" y="667"/>
                </a:lnTo>
                <a:lnTo>
                  <a:pt x="354" y="663"/>
                </a:lnTo>
                <a:lnTo>
                  <a:pt x="344" y="657"/>
                </a:lnTo>
                <a:lnTo>
                  <a:pt x="334" y="652"/>
                </a:lnTo>
                <a:lnTo>
                  <a:pt x="325" y="646"/>
                </a:lnTo>
                <a:lnTo>
                  <a:pt x="316" y="639"/>
                </a:lnTo>
                <a:lnTo>
                  <a:pt x="307" y="632"/>
                </a:lnTo>
                <a:lnTo>
                  <a:pt x="299" y="625"/>
                </a:lnTo>
                <a:lnTo>
                  <a:pt x="291" y="618"/>
                </a:lnTo>
                <a:lnTo>
                  <a:pt x="283" y="610"/>
                </a:lnTo>
                <a:lnTo>
                  <a:pt x="276" y="601"/>
                </a:lnTo>
                <a:lnTo>
                  <a:pt x="269" y="592"/>
                </a:lnTo>
                <a:lnTo>
                  <a:pt x="263" y="583"/>
                </a:lnTo>
                <a:lnTo>
                  <a:pt x="257" y="574"/>
                </a:lnTo>
                <a:lnTo>
                  <a:pt x="251" y="564"/>
                </a:lnTo>
                <a:lnTo>
                  <a:pt x="246" y="554"/>
                </a:lnTo>
                <a:lnTo>
                  <a:pt x="241" y="544"/>
                </a:lnTo>
                <a:lnTo>
                  <a:pt x="237" y="533"/>
                </a:lnTo>
                <a:lnTo>
                  <a:pt x="233" y="523"/>
                </a:lnTo>
                <a:lnTo>
                  <a:pt x="229" y="512"/>
                </a:lnTo>
                <a:lnTo>
                  <a:pt x="227" y="500"/>
                </a:lnTo>
                <a:lnTo>
                  <a:pt x="225" y="489"/>
                </a:lnTo>
                <a:lnTo>
                  <a:pt x="223" y="477"/>
                </a:lnTo>
                <a:lnTo>
                  <a:pt x="222" y="465"/>
                </a:lnTo>
                <a:lnTo>
                  <a:pt x="222" y="453"/>
                </a:lnTo>
                <a:lnTo>
                  <a:pt x="222" y="441"/>
                </a:lnTo>
                <a:lnTo>
                  <a:pt x="223" y="429"/>
                </a:lnTo>
                <a:lnTo>
                  <a:pt x="225" y="417"/>
                </a:lnTo>
                <a:lnTo>
                  <a:pt x="227" y="406"/>
                </a:lnTo>
                <a:lnTo>
                  <a:pt x="229" y="394"/>
                </a:lnTo>
                <a:lnTo>
                  <a:pt x="233" y="383"/>
                </a:lnTo>
                <a:lnTo>
                  <a:pt x="237" y="373"/>
                </a:lnTo>
                <a:lnTo>
                  <a:pt x="241" y="362"/>
                </a:lnTo>
                <a:lnTo>
                  <a:pt x="246" y="352"/>
                </a:lnTo>
                <a:lnTo>
                  <a:pt x="251" y="342"/>
                </a:lnTo>
                <a:lnTo>
                  <a:pt x="257" y="332"/>
                </a:lnTo>
                <a:lnTo>
                  <a:pt x="263" y="323"/>
                </a:lnTo>
                <a:lnTo>
                  <a:pt x="269" y="314"/>
                </a:lnTo>
                <a:lnTo>
                  <a:pt x="276" y="305"/>
                </a:lnTo>
                <a:lnTo>
                  <a:pt x="283" y="297"/>
                </a:lnTo>
                <a:lnTo>
                  <a:pt x="291" y="288"/>
                </a:lnTo>
                <a:lnTo>
                  <a:pt x="299" y="281"/>
                </a:lnTo>
                <a:lnTo>
                  <a:pt x="307" y="274"/>
                </a:lnTo>
                <a:lnTo>
                  <a:pt x="316" y="267"/>
                </a:lnTo>
                <a:lnTo>
                  <a:pt x="325" y="260"/>
                </a:lnTo>
                <a:lnTo>
                  <a:pt x="334" y="254"/>
                </a:lnTo>
                <a:lnTo>
                  <a:pt x="344" y="249"/>
                </a:lnTo>
                <a:lnTo>
                  <a:pt x="354" y="244"/>
                </a:lnTo>
                <a:lnTo>
                  <a:pt x="364" y="239"/>
                </a:lnTo>
                <a:lnTo>
                  <a:pt x="375" y="235"/>
                </a:lnTo>
                <a:lnTo>
                  <a:pt x="386" y="231"/>
                </a:lnTo>
                <a:lnTo>
                  <a:pt x="397" y="228"/>
                </a:lnTo>
                <a:lnTo>
                  <a:pt x="408" y="225"/>
                </a:lnTo>
                <a:lnTo>
                  <a:pt x="419" y="223"/>
                </a:lnTo>
                <a:lnTo>
                  <a:pt x="431" y="222"/>
                </a:lnTo>
                <a:lnTo>
                  <a:pt x="443" y="221"/>
                </a:lnTo>
                <a:lnTo>
                  <a:pt x="455" y="221"/>
                </a:lnTo>
                <a:lnTo>
                  <a:pt x="467" y="221"/>
                </a:lnTo>
                <a:lnTo>
                  <a:pt x="479" y="222"/>
                </a:lnTo>
                <a:lnTo>
                  <a:pt x="490" y="223"/>
                </a:lnTo>
                <a:lnTo>
                  <a:pt x="502" y="225"/>
                </a:lnTo>
                <a:lnTo>
                  <a:pt x="513" y="228"/>
                </a:lnTo>
                <a:lnTo>
                  <a:pt x="524" y="231"/>
                </a:lnTo>
                <a:lnTo>
                  <a:pt x="535" y="235"/>
                </a:lnTo>
                <a:lnTo>
                  <a:pt x="545" y="239"/>
                </a:lnTo>
                <a:lnTo>
                  <a:pt x="555" y="244"/>
                </a:lnTo>
                <a:lnTo>
                  <a:pt x="565" y="249"/>
                </a:lnTo>
                <a:lnTo>
                  <a:pt x="575" y="254"/>
                </a:lnTo>
                <a:lnTo>
                  <a:pt x="585" y="260"/>
                </a:lnTo>
                <a:lnTo>
                  <a:pt x="594" y="267"/>
                </a:lnTo>
                <a:lnTo>
                  <a:pt x="602" y="274"/>
                </a:lnTo>
                <a:lnTo>
                  <a:pt x="611" y="281"/>
                </a:lnTo>
                <a:lnTo>
                  <a:pt x="619" y="288"/>
                </a:lnTo>
                <a:lnTo>
                  <a:pt x="627" y="297"/>
                </a:lnTo>
                <a:lnTo>
                  <a:pt x="634" y="305"/>
                </a:lnTo>
                <a:lnTo>
                  <a:pt x="641" y="314"/>
                </a:lnTo>
                <a:lnTo>
                  <a:pt x="647" y="323"/>
                </a:lnTo>
                <a:lnTo>
                  <a:pt x="653" y="332"/>
                </a:lnTo>
                <a:lnTo>
                  <a:pt x="659" y="342"/>
                </a:lnTo>
                <a:lnTo>
                  <a:pt x="664" y="352"/>
                </a:lnTo>
                <a:lnTo>
                  <a:pt x="668" y="362"/>
                </a:lnTo>
                <a:lnTo>
                  <a:pt x="673" y="373"/>
                </a:lnTo>
                <a:lnTo>
                  <a:pt x="676" y="383"/>
                </a:lnTo>
                <a:lnTo>
                  <a:pt x="679" y="394"/>
                </a:lnTo>
                <a:lnTo>
                  <a:pt x="682" y="406"/>
                </a:lnTo>
                <a:lnTo>
                  <a:pt x="684" y="417"/>
                </a:lnTo>
                <a:lnTo>
                  <a:pt x="685" y="429"/>
                </a:lnTo>
                <a:lnTo>
                  <a:pt x="686" y="441"/>
                </a:lnTo>
                <a:lnTo>
                  <a:pt x="687" y="453"/>
                </a:lnTo>
                <a:lnTo>
                  <a:pt x="686" y="465"/>
                </a:lnTo>
                <a:lnTo>
                  <a:pt x="685" y="477"/>
                </a:lnTo>
                <a:lnTo>
                  <a:pt x="684" y="489"/>
                </a:lnTo>
                <a:lnTo>
                  <a:pt x="682" y="500"/>
                </a:lnTo>
                <a:lnTo>
                  <a:pt x="679" y="512"/>
                </a:lnTo>
                <a:lnTo>
                  <a:pt x="676" y="523"/>
                </a:lnTo>
                <a:lnTo>
                  <a:pt x="673" y="533"/>
                </a:lnTo>
                <a:lnTo>
                  <a:pt x="668" y="544"/>
                </a:lnTo>
                <a:lnTo>
                  <a:pt x="664" y="554"/>
                </a:lnTo>
                <a:lnTo>
                  <a:pt x="659" y="564"/>
                </a:lnTo>
                <a:lnTo>
                  <a:pt x="653" y="574"/>
                </a:lnTo>
                <a:lnTo>
                  <a:pt x="647" y="583"/>
                </a:lnTo>
                <a:lnTo>
                  <a:pt x="641" y="592"/>
                </a:lnTo>
                <a:lnTo>
                  <a:pt x="634" y="601"/>
                </a:lnTo>
                <a:lnTo>
                  <a:pt x="627" y="610"/>
                </a:lnTo>
                <a:lnTo>
                  <a:pt x="619" y="618"/>
                </a:lnTo>
                <a:lnTo>
                  <a:pt x="611" y="625"/>
                </a:lnTo>
                <a:lnTo>
                  <a:pt x="602" y="632"/>
                </a:lnTo>
                <a:lnTo>
                  <a:pt x="594" y="639"/>
                </a:lnTo>
                <a:lnTo>
                  <a:pt x="585" y="646"/>
                </a:lnTo>
                <a:lnTo>
                  <a:pt x="575" y="652"/>
                </a:lnTo>
                <a:lnTo>
                  <a:pt x="565" y="657"/>
                </a:lnTo>
                <a:lnTo>
                  <a:pt x="555" y="663"/>
                </a:lnTo>
                <a:lnTo>
                  <a:pt x="545" y="667"/>
                </a:lnTo>
                <a:lnTo>
                  <a:pt x="535" y="671"/>
                </a:lnTo>
                <a:lnTo>
                  <a:pt x="524" y="675"/>
                </a:lnTo>
                <a:lnTo>
                  <a:pt x="513" y="678"/>
                </a:lnTo>
                <a:lnTo>
                  <a:pt x="502" y="681"/>
                </a:lnTo>
                <a:lnTo>
                  <a:pt x="490" y="683"/>
                </a:lnTo>
                <a:lnTo>
                  <a:pt x="479" y="684"/>
                </a:lnTo>
                <a:lnTo>
                  <a:pt x="467" y="685"/>
                </a:lnTo>
                <a:lnTo>
                  <a:pt x="455" y="685"/>
                </a:lnTo>
                <a:close/>
                <a:moveTo>
                  <a:pt x="455" y="301"/>
                </a:moveTo>
                <a:lnTo>
                  <a:pt x="440" y="302"/>
                </a:lnTo>
                <a:lnTo>
                  <a:pt x="426" y="304"/>
                </a:lnTo>
                <a:lnTo>
                  <a:pt x="419" y="305"/>
                </a:lnTo>
                <a:lnTo>
                  <a:pt x="412" y="307"/>
                </a:lnTo>
                <a:lnTo>
                  <a:pt x="406" y="309"/>
                </a:lnTo>
                <a:lnTo>
                  <a:pt x="399" y="312"/>
                </a:lnTo>
                <a:lnTo>
                  <a:pt x="393" y="315"/>
                </a:lnTo>
                <a:lnTo>
                  <a:pt x="387" y="318"/>
                </a:lnTo>
                <a:lnTo>
                  <a:pt x="381" y="321"/>
                </a:lnTo>
                <a:lnTo>
                  <a:pt x="375" y="325"/>
                </a:lnTo>
                <a:lnTo>
                  <a:pt x="369" y="329"/>
                </a:lnTo>
                <a:lnTo>
                  <a:pt x="364" y="333"/>
                </a:lnTo>
                <a:lnTo>
                  <a:pt x="359" y="338"/>
                </a:lnTo>
                <a:lnTo>
                  <a:pt x="354" y="343"/>
                </a:lnTo>
                <a:lnTo>
                  <a:pt x="349" y="348"/>
                </a:lnTo>
                <a:lnTo>
                  <a:pt x="345" y="353"/>
                </a:lnTo>
                <a:lnTo>
                  <a:pt x="341" y="359"/>
                </a:lnTo>
                <a:lnTo>
                  <a:pt x="337" y="365"/>
                </a:lnTo>
                <a:lnTo>
                  <a:pt x="329" y="377"/>
                </a:lnTo>
                <a:lnTo>
                  <a:pt x="326" y="384"/>
                </a:lnTo>
                <a:lnTo>
                  <a:pt x="323" y="391"/>
                </a:lnTo>
                <a:lnTo>
                  <a:pt x="321" y="398"/>
                </a:lnTo>
                <a:lnTo>
                  <a:pt x="319" y="405"/>
                </a:lnTo>
                <a:lnTo>
                  <a:pt x="317" y="412"/>
                </a:lnTo>
                <a:lnTo>
                  <a:pt x="315" y="420"/>
                </a:lnTo>
                <a:lnTo>
                  <a:pt x="313" y="436"/>
                </a:lnTo>
                <a:lnTo>
                  <a:pt x="312" y="453"/>
                </a:lnTo>
                <a:lnTo>
                  <a:pt x="312" y="462"/>
                </a:lnTo>
                <a:lnTo>
                  <a:pt x="313" y="470"/>
                </a:lnTo>
                <a:lnTo>
                  <a:pt x="314" y="478"/>
                </a:lnTo>
                <a:lnTo>
                  <a:pt x="315" y="486"/>
                </a:lnTo>
                <a:lnTo>
                  <a:pt x="319" y="501"/>
                </a:lnTo>
                <a:lnTo>
                  <a:pt x="323" y="515"/>
                </a:lnTo>
                <a:lnTo>
                  <a:pt x="329" y="529"/>
                </a:lnTo>
                <a:lnTo>
                  <a:pt x="333" y="535"/>
                </a:lnTo>
                <a:lnTo>
                  <a:pt x="337" y="541"/>
                </a:lnTo>
                <a:lnTo>
                  <a:pt x="341" y="547"/>
                </a:lnTo>
                <a:lnTo>
                  <a:pt x="345" y="553"/>
                </a:lnTo>
                <a:lnTo>
                  <a:pt x="349" y="558"/>
                </a:lnTo>
                <a:lnTo>
                  <a:pt x="354" y="563"/>
                </a:lnTo>
                <a:lnTo>
                  <a:pt x="359" y="568"/>
                </a:lnTo>
                <a:lnTo>
                  <a:pt x="364" y="573"/>
                </a:lnTo>
                <a:lnTo>
                  <a:pt x="369" y="577"/>
                </a:lnTo>
                <a:lnTo>
                  <a:pt x="375" y="581"/>
                </a:lnTo>
                <a:lnTo>
                  <a:pt x="387" y="588"/>
                </a:lnTo>
                <a:lnTo>
                  <a:pt x="393" y="591"/>
                </a:lnTo>
                <a:lnTo>
                  <a:pt x="399" y="594"/>
                </a:lnTo>
                <a:lnTo>
                  <a:pt x="412" y="599"/>
                </a:lnTo>
                <a:lnTo>
                  <a:pt x="426" y="602"/>
                </a:lnTo>
                <a:lnTo>
                  <a:pt x="433" y="604"/>
                </a:lnTo>
                <a:lnTo>
                  <a:pt x="440" y="604"/>
                </a:lnTo>
                <a:lnTo>
                  <a:pt x="455" y="605"/>
                </a:lnTo>
                <a:lnTo>
                  <a:pt x="469" y="604"/>
                </a:lnTo>
                <a:lnTo>
                  <a:pt x="484" y="602"/>
                </a:lnTo>
                <a:lnTo>
                  <a:pt x="490" y="601"/>
                </a:lnTo>
                <a:lnTo>
                  <a:pt x="497" y="599"/>
                </a:lnTo>
                <a:lnTo>
                  <a:pt x="504" y="597"/>
                </a:lnTo>
                <a:lnTo>
                  <a:pt x="510" y="594"/>
                </a:lnTo>
                <a:lnTo>
                  <a:pt x="517" y="591"/>
                </a:lnTo>
                <a:lnTo>
                  <a:pt x="523" y="588"/>
                </a:lnTo>
                <a:lnTo>
                  <a:pt x="529" y="585"/>
                </a:lnTo>
                <a:lnTo>
                  <a:pt x="535" y="581"/>
                </a:lnTo>
                <a:lnTo>
                  <a:pt x="540" y="577"/>
                </a:lnTo>
                <a:lnTo>
                  <a:pt x="546" y="573"/>
                </a:lnTo>
                <a:lnTo>
                  <a:pt x="551" y="568"/>
                </a:lnTo>
                <a:lnTo>
                  <a:pt x="556" y="563"/>
                </a:lnTo>
                <a:lnTo>
                  <a:pt x="560" y="558"/>
                </a:lnTo>
                <a:lnTo>
                  <a:pt x="565" y="553"/>
                </a:lnTo>
                <a:lnTo>
                  <a:pt x="569" y="547"/>
                </a:lnTo>
                <a:lnTo>
                  <a:pt x="573" y="541"/>
                </a:lnTo>
                <a:lnTo>
                  <a:pt x="580" y="529"/>
                </a:lnTo>
                <a:lnTo>
                  <a:pt x="583" y="522"/>
                </a:lnTo>
                <a:lnTo>
                  <a:pt x="586" y="515"/>
                </a:lnTo>
                <a:lnTo>
                  <a:pt x="589" y="508"/>
                </a:lnTo>
                <a:lnTo>
                  <a:pt x="591" y="501"/>
                </a:lnTo>
                <a:lnTo>
                  <a:pt x="593" y="494"/>
                </a:lnTo>
                <a:lnTo>
                  <a:pt x="595" y="486"/>
                </a:lnTo>
                <a:lnTo>
                  <a:pt x="597" y="470"/>
                </a:lnTo>
                <a:lnTo>
                  <a:pt x="597" y="453"/>
                </a:lnTo>
                <a:lnTo>
                  <a:pt x="597" y="444"/>
                </a:lnTo>
                <a:lnTo>
                  <a:pt x="597" y="436"/>
                </a:lnTo>
                <a:lnTo>
                  <a:pt x="596" y="428"/>
                </a:lnTo>
                <a:lnTo>
                  <a:pt x="595" y="420"/>
                </a:lnTo>
                <a:lnTo>
                  <a:pt x="591" y="405"/>
                </a:lnTo>
                <a:lnTo>
                  <a:pt x="586" y="391"/>
                </a:lnTo>
                <a:lnTo>
                  <a:pt x="580" y="377"/>
                </a:lnTo>
                <a:lnTo>
                  <a:pt x="577" y="371"/>
                </a:lnTo>
                <a:lnTo>
                  <a:pt x="573" y="365"/>
                </a:lnTo>
                <a:lnTo>
                  <a:pt x="569" y="359"/>
                </a:lnTo>
                <a:lnTo>
                  <a:pt x="565" y="353"/>
                </a:lnTo>
                <a:lnTo>
                  <a:pt x="560" y="348"/>
                </a:lnTo>
                <a:lnTo>
                  <a:pt x="556" y="343"/>
                </a:lnTo>
                <a:lnTo>
                  <a:pt x="551" y="338"/>
                </a:lnTo>
                <a:lnTo>
                  <a:pt x="546" y="333"/>
                </a:lnTo>
                <a:lnTo>
                  <a:pt x="540" y="329"/>
                </a:lnTo>
                <a:lnTo>
                  <a:pt x="535" y="325"/>
                </a:lnTo>
                <a:lnTo>
                  <a:pt x="523" y="318"/>
                </a:lnTo>
                <a:lnTo>
                  <a:pt x="517" y="315"/>
                </a:lnTo>
                <a:lnTo>
                  <a:pt x="510" y="312"/>
                </a:lnTo>
                <a:lnTo>
                  <a:pt x="497" y="307"/>
                </a:lnTo>
                <a:lnTo>
                  <a:pt x="484" y="304"/>
                </a:lnTo>
                <a:lnTo>
                  <a:pt x="477" y="303"/>
                </a:lnTo>
                <a:lnTo>
                  <a:pt x="469" y="302"/>
                </a:lnTo>
                <a:lnTo>
                  <a:pt x="455" y="3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48" name="Freeform 21"/>
          <p:cNvSpPr>
            <a:spLocks noEditPoints="1"/>
          </p:cNvSpPr>
          <p:nvPr userDrawn="1"/>
        </p:nvSpPr>
        <p:spPr bwMode="auto">
          <a:xfrm>
            <a:off x="2611466" y="1283161"/>
            <a:ext cx="1306629" cy="1285880"/>
          </a:xfrm>
          <a:custGeom>
            <a:avLst/>
            <a:gdLst>
              <a:gd name="T0" fmla="*/ 908 w 908"/>
              <a:gd name="T1" fmla="*/ 453 h 907"/>
              <a:gd name="T2" fmla="*/ 0 w 908"/>
              <a:gd name="T3" fmla="*/ 453 h 907"/>
              <a:gd name="T4" fmla="*/ 591 w 908"/>
              <a:gd name="T5" fmla="*/ 623 h 907"/>
              <a:gd name="T6" fmla="*/ 572 w 908"/>
              <a:gd name="T7" fmla="*/ 643 h 907"/>
              <a:gd name="T8" fmla="*/ 532 w 908"/>
              <a:gd name="T9" fmla="*/ 668 h 907"/>
              <a:gd name="T10" fmla="*/ 494 w 908"/>
              <a:gd name="T11" fmla="*/ 681 h 907"/>
              <a:gd name="T12" fmla="*/ 450 w 908"/>
              <a:gd name="T13" fmla="*/ 685 h 907"/>
              <a:gd name="T14" fmla="*/ 404 w 908"/>
              <a:gd name="T15" fmla="*/ 681 h 907"/>
              <a:gd name="T16" fmla="*/ 361 w 908"/>
              <a:gd name="T17" fmla="*/ 667 h 907"/>
              <a:gd name="T18" fmla="*/ 323 w 908"/>
              <a:gd name="T19" fmla="*/ 646 h 907"/>
              <a:gd name="T20" fmla="*/ 290 w 908"/>
              <a:gd name="T21" fmla="*/ 618 h 907"/>
              <a:gd name="T22" fmla="*/ 264 w 908"/>
              <a:gd name="T23" fmla="*/ 583 h 907"/>
              <a:gd name="T24" fmla="*/ 244 w 908"/>
              <a:gd name="T25" fmla="*/ 544 h 907"/>
              <a:gd name="T26" fmla="*/ 231 w 908"/>
              <a:gd name="T27" fmla="*/ 500 h 907"/>
              <a:gd name="T28" fmla="*/ 227 w 908"/>
              <a:gd name="T29" fmla="*/ 453 h 907"/>
              <a:gd name="T30" fmla="*/ 231 w 908"/>
              <a:gd name="T31" fmla="*/ 406 h 907"/>
              <a:gd name="T32" fmla="*/ 240 w 908"/>
              <a:gd name="T33" fmla="*/ 373 h 907"/>
              <a:gd name="T34" fmla="*/ 258 w 908"/>
              <a:gd name="T35" fmla="*/ 332 h 907"/>
              <a:gd name="T36" fmla="*/ 283 w 908"/>
              <a:gd name="T37" fmla="*/ 297 h 907"/>
              <a:gd name="T38" fmla="*/ 310 w 908"/>
              <a:gd name="T39" fmla="*/ 270 h 907"/>
              <a:gd name="T40" fmla="*/ 342 w 908"/>
              <a:gd name="T41" fmla="*/ 249 h 907"/>
              <a:gd name="T42" fmla="*/ 382 w 908"/>
              <a:gd name="T43" fmla="*/ 231 h 907"/>
              <a:gd name="T44" fmla="*/ 427 w 908"/>
              <a:gd name="T45" fmla="*/ 222 h 907"/>
              <a:gd name="T46" fmla="*/ 473 w 908"/>
              <a:gd name="T47" fmla="*/ 222 h 907"/>
              <a:gd name="T48" fmla="*/ 513 w 908"/>
              <a:gd name="T49" fmla="*/ 231 h 907"/>
              <a:gd name="T50" fmla="*/ 548 w 908"/>
              <a:gd name="T51" fmla="*/ 247 h 907"/>
              <a:gd name="T52" fmla="*/ 571 w 908"/>
              <a:gd name="T53" fmla="*/ 263 h 907"/>
              <a:gd name="T54" fmla="*/ 591 w 908"/>
              <a:gd name="T55" fmla="*/ 230 h 907"/>
              <a:gd name="T56" fmla="*/ 450 w 908"/>
              <a:gd name="T57" fmla="*/ 306 h 907"/>
              <a:gd name="T58" fmla="*/ 417 w 908"/>
              <a:gd name="T59" fmla="*/ 311 h 907"/>
              <a:gd name="T60" fmla="*/ 383 w 908"/>
              <a:gd name="T61" fmla="*/ 327 h 907"/>
              <a:gd name="T62" fmla="*/ 351 w 908"/>
              <a:gd name="T63" fmla="*/ 356 h 907"/>
              <a:gd name="T64" fmla="*/ 332 w 908"/>
              <a:gd name="T65" fmla="*/ 386 h 907"/>
              <a:gd name="T66" fmla="*/ 318 w 908"/>
              <a:gd name="T67" fmla="*/ 434 h 907"/>
              <a:gd name="T68" fmla="*/ 317 w 908"/>
              <a:gd name="T69" fmla="*/ 484 h 907"/>
              <a:gd name="T70" fmla="*/ 325 w 908"/>
              <a:gd name="T71" fmla="*/ 518 h 907"/>
              <a:gd name="T72" fmla="*/ 336 w 908"/>
              <a:gd name="T73" fmla="*/ 545 h 907"/>
              <a:gd name="T74" fmla="*/ 351 w 908"/>
              <a:gd name="T75" fmla="*/ 568 h 907"/>
              <a:gd name="T76" fmla="*/ 371 w 908"/>
              <a:gd name="T77" fmla="*/ 589 h 907"/>
              <a:gd name="T78" fmla="*/ 396 w 908"/>
              <a:gd name="T79" fmla="*/ 605 h 907"/>
              <a:gd name="T80" fmla="*/ 425 w 908"/>
              <a:gd name="T81" fmla="*/ 615 h 907"/>
              <a:gd name="T82" fmla="*/ 458 w 908"/>
              <a:gd name="T83" fmla="*/ 618 h 907"/>
              <a:gd name="T84" fmla="*/ 509 w 908"/>
              <a:gd name="T85" fmla="*/ 609 h 907"/>
              <a:gd name="T86" fmla="*/ 537 w 908"/>
              <a:gd name="T87" fmla="*/ 593 h 907"/>
              <a:gd name="T88" fmla="*/ 557 w 908"/>
              <a:gd name="T89" fmla="*/ 576 h 907"/>
              <a:gd name="T90" fmla="*/ 576 w 908"/>
              <a:gd name="T91" fmla="*/ 546 h 907"/>
              <a:gd name="T92" fmla="*/ 589 w 908"/>
              <a:gd name="T93" fmla="*/ 508 h 907"/>
              <a:gd name="T94" fmla="*/ 594 w 908"/>
              <a:gd name="T95" fmla="*/ 472 h 907"/>
              <a:gd name="T96" fmla="*/ 592 w 908"/>
              <a:gd name="T97" fmla="*/ 434 h 907"/>
              <a:gd name="T98" fmla="*/ 582 w 908"/>
              <a:gd name="T99" fmla="*/ 392 h 907"/>
              <a:gd name="T100" fmla="*/ 569 w 908"/>
              <a:gd name="T101" fmla="*/ 365 h 907"/>
              <a:gd name="T102" fmla="*/ 542 w 908"/>
              <a:gd name="T103" fmla="*/ 334 h 907"/>
              <a:gd name="T104" fmla="*/ 515 w 908"/>
              <a:gd name="T105" fmla="*/ 317 h 907"/>
              <a:gd name="T106" fmla="*/ 490 w 908"/>
              <a:gd name="T107" fmla="*/ 309 h 907"/>
              <a:gd name="T108" fmla="*/ 458 w 908"/>
              <a:gd name="T109" fmla="*/ 305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8" h="907">
                <a:moveTo>
                  <a:pt x="0" y="907"/>
                </a:moveTo>
                <a:lnTo>
                  <a:pt x="453" y="907"/>
                </a:lnTo>
                <a:lnTo>
                  <a:pt x="908" y="907"/>
                </a:lnTo>
                <a:lnTo>
                  <a:pt x="908" y="453"/>
                </a:lnTo>
                <a:lnTo>
                  <a:pt x="908" y="0"/>
                </a:lnTo>
                <a:lnTo>
                  <a:pt x="453" y="0"/>
                </a:lnTo>
                <a:lnTo>
                  <a:pt x="0" y="0"/>
                </a:lnTo>
                <a:lnTo>
                  <a:pt x="0" y="453"/>
                </a:lnTo>
                <a:lnTo>
                  <a:pt x="0" y="907"/>
                </a:lnTo>
                <a:close/>
                <a:moveTo>
                  <a:pt x="680" y="676"/>
                </a:moveTo>
                <a:lnTo>
                  <a:pt x="591" y="676"/>
                </a:lnTo>
                <a:lnTo>
                  <a:pt x="591" y="623"/>
                </a:lnTo>
                <a:lnTo>
                  <a:pt x="588" y="627"/>
                </a:lnTo>
                <a:lnTo>
                  <a:pt x="585" y="630"/>
                </a:lnTo>
                <a:lnTo>
                  <a:pt x="579" y="636"/>
                </a:lnTo>
                <a:lnTo>
                  <a:pt x="572" y="643"/>
                </a:lnTo>
                <a:lnTo>
                  <a:pt x="564" y="649"/>
                </a:lnTo>
                <a:lnTo>
                  <a:pt x="549" y="659"/>
                </a:lnTo>
                <a:lnTo>
                  <a:pt x="541" y="664"/>
                </a:lnTo>
                <a:lnTo>
                  <a:pt x="532" y="668"/>
                </a:lnTo>
                <a:lnTo>
                  <a:pt x="523" y="672"/>
                </a:lnTo>
                <a:lnTo>
                  <a:pt x="514" y="676"/>
                </a:lnTo>
                <a:lnTo>
                  <a:pt x="504" y="678"/>
                </a:lnTo>
                <a:lnTo>
                  <a:pt x="494" y="681"/>
                </a:lnTo>
                <a:lnTo>
                  <a:pt x="484" y="683"/>
                </a:lnTo>
                <a:lnTo>
                  <a:pt x="473" y="684"/>
                </a:lnTo>
                <a:lnTo>
                  <a:pt x="462" y="685"/>
                </a:lnTo>
                <a:lnTo>
                  <a:pt x="450" y="685"/>
                </a:lnTo>
                <a:lnTo>
                  <a:pt x="439" y="685"/>
                </a:lnTo>
                <a:lnTo>
                  <a:pt x="427" y="684"/>
                </a:lnTo>
                <a:lnTo>
                  <a:pt x="415" y="683"/>
                </a:lnTo>
                <a:lnTo>
                  <a:pt x="404" y="681"/>
                </a:lnTo>
                <a:lnTo>
                  <a:pt x="393" y="678"/>
                </a:lnTo>
                <a:lnTo>
                  <a:pt x="382" y="675"/>
                </a:lnTo>
                <a:lnTo>
                  <a:pt x="372" y="671"/>
                </a:lnTo>
                <a:lnTo>
                  <a:pt x="361" y="667"/>
                </a:lnTo>
                <a:lnTo>
                  <a:pt x="351" y="663"/>
                </a:lnTo>
                <a:lnTo>
                  <a:pt x="342" y="657"/>
                </a:lnTo>
                <a:lnTo>
                  <a:pt x="332" y="652"/>
                </a:lnTo>
                <a:lnTo>
                  <a:pt x="323" y="646"/>
                </a:lnTo>
                <a:lnTo>
                  <a:pt x="315" y="639"/>
                </a:lnTo>
                <a:lnTo>
                  <a:pt x="306" y="633"/>
                </a:lnTo>
                <a:lnTo>
                  <a:pt x="298" y="625"/>
                </a:lnTo>
                <a:lnTo>
                  <a:pt x="290" y="618"/>
                </a:lnTo>
                <a:lnTo>
                  <a:pt x="283" y="609"/>
                </a:lnTo>
                <a:lnTo>
                  <a:pt x="276" y="601"/>
                </a:lnTo>
                <a:lnTo>
                  <a:pt x="270" y="592"/>
                </a:lnTo>
                <a:lnTo>
                  <a:pt x="264" y="583"/>
                </a:lnTo>
                <a:lnTo>
                  <a:pt x="258" y="574"/>
                </a:lnTo>
                <a:lnTo>
                  <a:pt x="253" y="564"/>
                </a:lnTo>
                <a:lnTo>
                  <a:pt x="248" y="554"/>
                </a:lnTo>
                <a:lnTo>
                  <a:pt x="244" y="544"/>
                </a:lnTo>
                <a:lnTo>
                  <a:pt x="240" y="533"/>
                </a:lnTo>
                <a:lnTo>
                  <a:pt x="236" y="522"/>
                </a:lnTo>
                <a:lnTo>
                  <a:pt x="233" y="511"/>
                </a:lnTo>
                <a:lnTo>
                  <a:pt x="231" y="500"/>
                </a:lnTo>
                <a:lnTo>
                  <a:pt x="229" y="488"/>
                </a:lnTo>
                <a:lnTo>
                  <a:pt x="228" y="477"/>
                </a:lnTo>
                <a:lnTo>
                  <a:pt x="227" y="465"/>
                </a:lnTo>
                <a:lnTo>
                  <a:pt x="227" y="453"/>
                </a:lnTo>
                <a:lnTo>
                  <a:pt x="227" y="441"/>
                </a:lnTo>
                <a:lnTo>
                  <a:pt x="228" y="429"/>
                </a:lnTo>
                <a:lnTo>
                  <a:pt x="229" y="417"/>
                </a:lnTo>
                <a:lnTo>
                  <a:pt x="231" y="406"/>
                </a:lnTo>
                <a:lnTo>
                  <a:pt x="233" y="395"/>
                </a:lnTo>
                <a:lnTo>
                  <a:pt x="235" y="389"/>
                </a:lnTo>
                <a:lnTo>
                  <a:pt x="236" y="384"/>
                </a:lnTo>
                <a:lnTo>
                  <a:pt x="240" y="373"/>
                </a:lnTo>
                <a:lnTo>
                  <a:pt x="244" y="362"/>
                </a:lnTo>
                <a:lnTo>
                  <a:pt x="248" y="352"/>
                </a:lnTo>
                <a:lnTo>
                  <a:pt x="253" y="342"/>
                </a:lnTo>
                <a:lnTo>
                  <a:pt x="258" y="332"/>
                </a:lnTo>
                <a:lnTo>
                  <a:pt x="264" y="323"/>
                </a:lnTo>
                <a:lnTo>
                  <a:pt x="270" y="314"/>
                </a:lnTo>
                <a:lnTo>
                  <a:pt x="276" y="305"/>
                </a:lnTo>
                <a:lnTo>
                  <a:pt x="283" y="297"/>
                </a:lnTo>
                <a:lnTo>
                  <a:pt x="290" y="289"/>
                </a:lnTo>
                <a:lnTo>
                  <a:pt x="298" y="281"/>
                </a:lnTo>
                <a:lnTo>
                  <a:pt x="306" y="274"/>
                </a:lnTo>
                <a:lnTo>
                  <a:pt x="310" y="270"/>
                </a:lnTo>
                <a:lnTo>
                  <a:pt x="315" y="267"/>
                </a:lnTo>
                <a:lnTo>
                  <a:pt x="323" y="260"/>
                </a:lnTo>
                <a:lnTo>
                  <a:pt x="332" y="254"/>
                </a:lnTo>
                <a:lnTo>
                  <a:pt x="342" y="249"/>
                </a:lnTo>
                <a:lnTo>
                  <a:pt x="351" y="244"/>
                </a:lnTo>
                <a:lnTo>
                  <a:pt x="361" y="239"/>
                </a:lnTo>
                <a:lnTo>
                  <a:pt x="372" y="235"/>
                </a:lnTo>
                <a:lnTo>
                  <a:pt x="382" y="231"/>
                </a:lnTo>
                <a:lnTo>
                  <a:pt x="393" y="228"/>
                </a:lnTo>
                <a:lnTo>
                  <a:pt x="404" y="226"/>
                </a:lnTo>
                <a:lnTo>
                  <a:pt x="415" y="224"/>
                </a:lnTo>
                <a:lnTo>
                  <a:pt x="427" y="222"/>
                </a:lnTo>
                <a:lnTo>
                  <a:pt x="439" y="221"/>
                </a:lnTo>
                <a:lnTo>
                  <a:pt x="450" y="221"/>
                </a:lnTo>
                <a:lnTo>
                  <a:pt x="462" y="221"/>
                </a:lnTo>
                <a:lnTo>
                  <a:pt x="473" y="222"/>
                </a:lnTo>
                <a:lnTo>
                  <a:pt x="483" y="223"/>
                </a:lnTo>
                <a:lnTo>
                  <a:pt x="494" y="225"/>
                </a:lnTo>
                <a:lnTo>
                  <a:pt x="504" y="228"/>
                </a:lnTo>
                <a:lnTo>
                  <a:pt x="513" y="231"/>
                </a:lnTo>
                <a:lnTo>
                  <a:pt x="523" y="234"/>
                </a:lnTo>
                <a:lnTo>
                  <a:pt x="532" y="238"/>
                </a:lnTo>
                <a:lnTo>
                  <a:pt x="540" y="242"/>
                </a:lnTo>
                <a:lnTo>
                  <a:pt x="548" y="247"/>
                </a:lnTo>
                <a:lnTo>
                  <a:pt x="556" y="252"/>
                </a:lnTo>
                <a:lnTo>
                  <a:pt x="560" y="254"/>
                </a:lnTo>
                <a:lnTo>
                  <a:pt x="564" y="257"/>
                </a:lnTo>
                <a:lnTo>
                  <a:pt x="571" y="263"/>
                </a:lnTo>
                <a:lnTo>
                  <a:pt x="578" y="269"/>
                </a:lnTo>
                <a:lnTo>
                  <a:pt x="585" y="276"/>
                </a:lnTo>
                <a:lnTo>
                  <a:pt x="591" y="282"/>
                </a:lnTo>
                <a:lnTo>
                  <a:pt x="591" y="230"/>
                </a:lnTo>
                <a:lnTo>
                  <a:pt x="680" y="230"/>
                </a:lnTo>
                <a:lnTo>
                  <a:pt x="680" y="676"/>
                </a:lnTo>
                <a:close/>
                <a:moveTo>
                  <a:pt x="458" y="305"/>
                </a:moveTo>
                <a:lnTo>
                  <a:pt x="450" y="306"/>
                </a:lnTo>
                <a:lnTo>
                  <a:pt x="441" y="306"/>
                </a:lnTo>
                <a:lnTo>
                  <a:pt x="433" y="308"/>
                </a:lnTo>
                <a:lnTo>
                  <a:pt x="425" y="309"/>
                </a:lnTo>
                <a:lnTo>
                  <a:pt x="417" y="311"/>
                </a:lnTo>
                <a:lnTo>
                  <a:pt x="410" y="314"/>
                </a:lnTo>
                <a:lnTo>
                  <a:pt x="402" y="316"/>
                </a:lnTo>
                <a:lnTo>
                  <a:pt x="396" y="319"/>
                </a:lnTo>
                <a:lnTo>
                  <a:pt x="383" y="327"/>
                </a:lnTo>
                <a:lnTo>
                  <a:pt x="371" y="335"/>
                </a:lnTo>
                <a:lnTo>
                  <a:pt x="366" y="340"/>
                </a:lnTo>
                <a:lnTo>
                  <a:pt x="361" y="345"/>
                </a:lnTo>
                <a:lnTo>
                  <a:pt x="351" y="356"/>
                </a:lnTo>
                <a:lnTo>
                  <a:pt x="347" y="362"/>
                </a:lnTo>
                <a:lnTo>
                  <a:pt x="343" y="367"/>
                </a:lnTo>
                <a:lnTo>
                  <a:pt x="336" y="380"/>
                </a:lnTo>
                <a:lnTo>
                  <a:pt x="332" y="386"/>
                </a:lnTo>
                <a:lnTo>
                  <a:pt x="330" y="393"/>
                </a:lnTo>
                <a:lnTo>
                  <a:pt x="325" y="406"/>
                </a:lnTo>
                <a:lnTo>
                  <a:pt x="321" y="420"/>
                </a:lnTo>
                <a:lnTo>
                  <a:pt x="318" y="434"/>
                </a:lnTo>
                <a:lnTo>
                  <a:pt x="316" y="448"/>
                </a:lnTo>
                <a:lnTo>
                  <a:pt x="316" y="462"/>
                </a:lnTo>
                <a:lnTo>
                  <a:pt x="316" y="476"/>
                </a:lnTo>
                <a:lnTo>
                  <a:pt x="317" y="484"/>
                </a:lnTo>
                <a:lnTo>
                  <a:pt x="318" y="491"/>
                </a:lnTo>
                <a:lnTo>
                  <a:pt x="321" y="505"/>
                </a:lnTo>
                <a:lnTo>
                  <a:pt x="323" y="511"/>
                </a:lnTo>
                <a:lnTo>
                  <a:pt x="325" y="518"/>
                </a:lnTo>
                <a:lnTo>
                  <a:pt x="327" y="525"/>
                </a:lnTo>
                <a:lnTo>
                  <a:pt x="330" y="532"/>
                </a:lnTo>
                <a:lnTo>
                  <a:pt x="332" y="538"/>
                </a:lnTo>
                <a:lnTo>
                  <a:pt x="336" y="545"/>
                </a:lnTo>
                <a:lnTo>
                  <a:pt x="339" y="551"/>
                </a:lnTo>
                <a:lnTo>
                  <a:pt x="343" y="557"/>
                </a:lnTo>
                <a:lnTo>
                  <a:pt x="347" y="563"/>
                </a:lnTo>
                <a:lnTo>
                  <a:pt x="351" y="568"/>
                </a:lnTo>
                <a:lnTo>
                  <a:pt x="356" y="574"/>
                </a:lnTo>
                <a:lnTo>
                  <a:pt x="361" y="579"/>
                </a:lnTo>
                <a:lnTo>
                  <a:pt x="366" y="584"/>
                </a:lnTo>
                <a:lnTo>
                  <a:pt x="371" y="589"/>
                </a:lnTo>
                <a:lnTo>
                  <a:pt x="377" y="593"/>
                </a:lnTo>
                <a:lnTo>
                  <a:pt x="383" y="597"/>
                </a:lnTo>
                <a:lnTo>
                  <a:pt x="389" y="601"/>
                </a:lnTo>
                <a:lnTo>
                  <a:pt x="396" y="605"/>
                </a:lnTo>
                <a:lnTo>
                  <a:pt x="402" y="608"/>
                </a:lnTo>
                <a:lnTo>
                  <a:pt x="410" y="610"/>
                </a:lnTo>
                <a:lnTo>
                  <a:pt x="417" y="613"/>
                </a:lnTo>
                <a:lnTo>
                  <a:pt x="425" y="615"/>
                </a:lnTo>
                <a:lnTo>
                  <a:pt x="433" y="616"/>
                </a:lnTo>
                <a:lnTo>
                  <a:pt x="441" y="617"/>
                </a:lnTo>
                <a:lnTo>
                  <a:pt x="450" y="618"/>
                </a:lnTo>
                <a:lnTo>
                  <a:pt x="458" y="618"/>
                </a:lnTo>
                <a:lnTo>
                  <a:pt x="471" y="618"/>
                </a:lnTo>
                <a:lnTo>
                  <a:pt x="484" y="616"/>
                </a:lnTo>
                <a:lnTo>
                  <a:pt x="496" y="613"/>
                </a:lnTo>
                <a:lnTo>
                  <a:pt x="509" y="609"/>
                </a:lnTo>
                <a:lnTo>
                  <a:pt x="515" y="607"/>
                </a:lnTo>
                <a:lnTo>
                  <a:pt x="520" y="604"/>
                </a:lnTo>
                <a:lnTo>
                  <a:pt x="532" y="597"/>
                </a:lnTo>
                <a:lnTo>
                  <a:pt x="537" y="593"/>
                </a:lnTo>
                <a:lnTo>
                  <a:pt x="542" y="589"/>
                </a:lnTo>
                <a:lnTo>
                  <a:pt x="547" y="585"/>
                </a:lnTo>
                <a:lnTo>
                  <a:pt x="552" y="580"/>
                </a:lnTo>
                <a:lnTo>
                  <a:pt x="557" y="576"/>
                </a:lnTo>
                <a:lnTo>
                  <a:pt x="561" y="570"/>
                </a:lnTo>
                <a:lnTo>
                  <a:pt x="565" y="565"/>
                </a:lnTo>
                <a:lnTo>
                  <a:pt x="569" y="559"/>
                </a:lnTo>
                <a:lnTo>
                  <a:pt x="576" y="546"/>
                </a:lnTo>
                <a:lnTo>
                  <a:pt x="580" y="539"/>
                </a:lnTo>
                <a:lnTo>
                  <a:pt x="582" y="532"/>
                </a:lnTo>
                <a:lnTo>
                  <a:pt x="587" y="516"/>
                </a:lnTo>
                <a:lnTo>
                  <a:pt x="589" y="508"/>
                </a:lnTo>
                <a:lnTo>
                  <a:pt x="591" y="500"/>
                </a:lnTo>
                <a:lnTo>
                  <a:pt x="592" y="491"/>
                </a:lnTo>
                <a:lnTo>
                  <a:pt x="593" y="482"/>
                </a:lnTo>
                <a:lnTo>
                  <a:pt x="594" y="472"/>
                </a:lnTo>
                <a:lnTo>
                  <a:pt x="594" y="462"/>
                </a:lnTo>
                <a:lnTo>
                  <a:pt x="594" y="452"/>
                </a:lnTo>
                <a:lnTo>
                  <a:pt x="593" y="443"/>
                </a:lnTo>
                <a:lnTo>
                  <a:pt x="592" y="434"/>
                </a:lnTo>
                <a:lnTo>
                  <a:pt x="591" y="425"/>
                </a:lnTo>
                <a:lnTo>
                  <a:pt x="587" y="408"/>
                </a:lnTo>
                <a:lnTo>
                  <a:pt x="585" y="400"/>
                </a:lnTo>
                <a:lnTo>
                  <a:pt x="582" y="392"/>
                </a:lnTo>
                <a:lnTo>
                  <a:pt x="580" y="385"/>
                </a:lnTo>
                <a:lnTo>
                  <a:pt x="576" y="378"/>
                </a:lnTo>
                <a:lnTo>
                  <a:pt x="573" y="372"/>
                </a:lnTo>
                <a:lnTo>
                  <a:pt x="569" y="365"/>
                </a:lnTo>
                <a:lnTo>
                  <a:pt x="565" y="359"/>
                </a:lnTo>
                <a:lnTo>
                  <a:pt x="561" y="354"/>
                </a:lnTo>
                <a:lnTo>
                  <a:pt x="552" y="343"/>
                </a:lnTo>
                <a:lnTo>
                  <a:pt x="542" y="334"/>
                </a:lnTo>
                <a:lnTo>
                  <a:pt x="532" y="327"/>
                </a:lnTo>
                <a:lnTo>
                  <a:pt x="526" y="323"/>
                </a:lnTo>
                <a:lnTo>
                  <a:pt x="520" y="320"/>
                </a:lnTo>
                <a:lnTo>
                  <a:pt x="515" y="317"/>
                </a:lnTo>
                <a:lnTo>
                  <a:pt x="509" y="315"/>
                </a:lnTo>
                <a:lnTo>
                  <a:pt x="503" y="313"/>
                </a:lnTo>
                <a:lnTo>
                  <a:pt x="496" y="311"/>
                </a:lnTo>
                <a:lnTo>
                  <a:pt x="490" y="309"/>
                </a:lnTo>
                <a:lnTo>
                  <a:pt x="484" y="308"/>
                </a:lnTo>
                <a:lnTo>
                  <a:pt x="471" y="306"/>
                </a:lnTo>
                <a:lnTo>
                  <a:pt x="465" y="306"/>
                </a:lnTo>
                <a:lnTo>
                  <a:pt x="458" y="3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7866DA8-AA46-4E43-BCA6-3409499F299C}" type="datetime3">
              <a:rPr lang="nl-NL" smtClean="0"/>
              <a:pPr/>
              <a:t>3/12/15</a:t>
            </a:fld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EMG digital input - MOBILE</a:t>
            </a: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  <p:grpSp>
        <p:nvGrpSpPr>
          <p:cNvPr id="40" name="Group 39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  <a:solidFill>
            <a:schemeClr val="bg1"/>
          </a:solidFill>
        </p:grpSpPr>
        <p:sp>
          <p:nvSpPr>
            <p:cNvPr id="41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51" name="Group 50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grpFill/>
          </p:grpSpPr>
          <p:sp>
            <p:nvSpPr>
              <p:cNvPr id="52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3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4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5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6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7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8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9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60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62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799793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088646" y="535552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5417"/>
            <a:ext cx="1088572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009808" y="4607662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588331" y="3000430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043879" y="35367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588331" y="40721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F5F5A60-770E-F440-A4FC-2F3382E8EF07}" type="datetime3">
              <a:rPr lang="nl-NL" smtClean="0"/>
              <a:pPr/>
              <a:t>3/12/15</a:t>
            </a:fld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EMG digital input - MOBILE</a:t>
            </a: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305442" y="910648"/>
            <a:ext cx="6531943" cy="1661113"/>
          </a:xfrm>
        </p:spPr>
        <p:txBody>
          <a:bodyPr anchor="b" anchorCtr="0"/>
          <a:lstStyle>
            <a:lvl1pPr algn="ctr">
              <a:lnSpc>
                <a:spcPct val="85000"/>
              </a:lnSpc>
              <a:defRPr sz="4800" b="1">
                <a:solidFill>
                  <a:srgbClr val="19F1C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1305442" y="2678924"/>
            <a:ext cx="6531943" cy="1179297"/>
          </a:xfrm>
        </p:spPr>
        <p:txBody>
          <a:bodyPr/>
          <a:lstStyle>
            <a:lvl1pPr marL="0" indent="0" algn="ctr">
              <a:buFontTx/>
              <a:buNone/>
              <a:defRPr sz="2300">
                <a:solidFill>
                  <a:srgbClr val="19F1C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28" name="Group 23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29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F1C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30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31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2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3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4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8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9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0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1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8527452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">
    <p:bg>
      <p:bgPr>
        <a:solidFill>
          <a:srgbClr val="19F1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088646" y="535552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5417"/>
            <a:ext cx="1088572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009808" y="4607662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588331" y="3000430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043879" y="35367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588331" y="40721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8EABB9E-F5FF-DF40-A6E3-4BBDA5CE5B40}" type="datetime3">
              <a:rPr lang="nl-NL" smtClean="0"/>
              <a:pPr/>
              <a:t>3/12/15</a:t>
            </a:fld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EMG digital input - MOBILE</a:t>
            </a: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305442" y="910648"/>
            <a:ext cx="6531943" cy="1661113"/>
          </a:xfrm>
        </p:spPr>
        <p:txBody>
          <a:bodyPr anchor="b" anchorCtr="0"/>
          <a:lstStyle>
            <a:lvl1pPr algn="ctr">
              <a:lnSpc>
                <a:spcPct val="85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1305442" y="2678924"/>
            <a:ext cx="6531943" cy="1179297"/>
          </a:xfrm>
        </p:spPr>
        <p:txBody>
          <a:bodyPr/>
          <a:lstStyle>
            <a:lvl1pPr marL="0" indent="0" algn="ctr">
              <a:buFontTx/>
              <a:buNone/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4" name="Group 13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F1C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16" name="Group 1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17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8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9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0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1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2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3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4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6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7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8995399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9"/>
            <a:ext cx="8490160" cy="32155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8E4FEF-F36A-4149-9403-9681BECF6DEB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505387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9"/>
            <a:ext cx="8490160" cy="32155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26922" y="642643"/>
            <a:ext cx="8490160" cy="428822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5FA792-B350-CA41-9ADA-49265AE95426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26922" y="268162"/>
            <a:ext cx="8490160" cy="37448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31744528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6920" y="1285289"/>
            <a:ext cx="4136232" cy="321557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849" y="1285289"/>
            <a:ext cx="4136232" cy="321557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B21EC1-4F85-9346-8602-0E070F49DE14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934685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9758" y="1285293"/>
            <a:ext cx="4133382" cy="268031"/>
          </a:xfrm>
        </p:spPr>
        <p:txBody>
          <a:bodyPr anchor="t" anchorCtr="0"/>
          <a:lstStyle>
            <a:lvl1pPr marL="0" indent="0">
              <a:buNone/>
              <a:defRPr sz="1400" b="0"/>
            </a:lvl1pPr>
            <a:lvl2pPr marL="343318" indent="0">
              <a:buNone/>
              <a:defRPr sz="1500" b="1"/>
            </a:lvl2pPr>
            <a:lvl3pPr marL="686640" indent="0">
              <a:buNone/>
              <a:defRPr sz="1400" b="1"/>
            </a:lvl3pPr>
            <a:lvl4pPr marL="1029959" indent="0">
              <a:buNone/>
              <a:defRPr sz="1200" b="1"/>
            </a:lvl4pPr>
            <a:lvl5pPr marL="1373277" indent="0">
              <a:buNone/>
              <a:defRPr sz="1200" b="1"/>
            </a:lvl5pPr>
            <a:lvl6pPr marL="1716597" indent="0">
              <a:buNone/>
              <a:defRPr sz="1200" b="1"/>
            </a:lvl6pPr>
            <a:lvl7pPr marL="2059919" indent="0">
              <a:buNone/>
              <a:defRPr sz="1200" b="1"/>
            </a:lvl7pPr>
            <a:lvl8pPr marL="2403236" indent="0">
              <a:buNone/>
              <a:defRPr sz="1200" b="1"/>
            </a:lvl8pPr>
            <a:lvl9pPr marL="2746555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6920" y="1660823"/>
            <a:ext cx="4136232" cy="284004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0862" y="1285293"/>
            <a:ext cx="4136231" cy="268031"/>
          </a:xfrm>
        </p:spPr>
        <p:txBody>
          <a:bodyPr anchor="t" anchorCtr="0"/>
          <a:lstStyle>
            <a:lvl1pPr marL="0" indent="0">
              <a:buNone/>
              <a:defRPr sz="1400" b="0"/>
            </a:lvl1pPr>
            <a:lvl2pPr marL="343318" indent="0">
              <a:buNone/>
              <a:defRPr sz="1500" b="1"/>
            </a:lvl2pPr>
            <a:lvl3pPr marL="686640" indent="0">
              <a:buNone/>
              <a:defRPr sz="1400" b="1"/>
            </a:lvl3pPr>
            <a:lvl4pPr marL="1029959" indent="0">
              <a:buNone/>
              <a:defRPr sz="1200" b="1"/>
            </a:lvl4pPr>
            <a:lvl5pPr marL="1373277" indent="0">
              <a:buNone/>
              <a:defRPr sz="1200" b="1"/>
            </a:lvl5pPr>
            <a:lvl6pPr marL="1716597" indent="0">
              <a:buNone/>
              <a:defRPr sz="1200" b="1"/>
            </a:lvl6pPr>
            <a:lvl7pPr marL="2059919" indent="0">
              <a:buNone/>
              <a:defRPr sz="1200" b="1"/>
            </a:lvl7pPr>
            <a:lvl8pPr marL="2403236" indent="0">
              <a:buNone/>
              <a:defRPr sz="1200" b="1"/>
            </a:lvl8pPr>
            <a:lvl9pPr marL="2746555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0862" y="1660823"/>
            <a:ext cx="4136231" cy="284004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B642F-5671-B040-BD6E-75FE69AC0813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548967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(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6927" y="1660823"/>
            <a:ext cx="4136231" cy="284004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0863" y="1660823"/>
            <a:ext cx="4136231" cy="2840043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84F831C-6CCD-5A4D-B94E-8CF1D357D7E7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26922" y="642643"/>
            <a:ext cx="8490160" cy="428822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fi-FI" dirty="0"/>
          </a:p>
        </p:txBody>
      </p:sp>
      <p:sp>
        <p:nvSpPr>
          <p:cNvPr id="16" name="Title 10"/>
          <p:cNvSpPr>
            <a:spLocks noGrp="1"/>
          </p:cNvSpPr>
          <p:nvPr>
            <p:ph type="title"/>
          </p:nvPr>
        </p:nvSpPr>
        <p:spPr>
          <a:xfrm>
            <a:off x="326922" y="268162"/>
            <a:ext cx="8490160" cy="37448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329758" y="1285293"/>
            <a:ext cx="4133382" cy="268031"/>
          </a:xfrm>
        </p:spPr>
        <p:txBody>
          <a:bodyPr anchor="t" anchorCtr="0"/>
          <a:lstStyle>
            <a:lvl1pPr marL="0" indent="0">
              <a:buNone/>
              <a:defRPr sz="1400" b="0"/>
            </a:lvl1pPr>
            <a:lvl2pPr marL="343318" indent="0">
              <a:buNone/>
              <a:defRPr sz="1500" b="1"/>
            </a:lvl2pPr>
            <a:lvl3pPr marL="686640" indent="0">
              <a:buNone/>
              <a:defRPr sz="1400" b="1"/>
            </a:lvl3pPr>
            <a:lvl4pPr marL="1029959" indent="0">
              <a:buNone/>
              <a:defRPr sz="1200" b="1"/>
            </a:lvl4pPr>
            <a:lvl5pPr marL="1373277" indent="0">
              <a:buNone/>
              <a:defRPr sz="1200" b="1"/>
            </a:lvl5pPr>
            <a:lvl6pPr marL="1716597" indent="0">
              <a:buNone/>
              <a:defRPr sz="1200" b="1"/>
            </a:lvl6pPr>
            <a:lvl7pPr marL="2059919" indent="0">
              <a:buNone/>
              <a:defRPr sz="1200" b="1"/>
            </a:lvl7pPr>
            <a:lvl8pPr marL="2403236" indent="0">
              <a:buNone/>
              <a:defRPr sz="1200" b="1"/>
            </a:lvl8pPr>
            <a:lvl9pPr marL="2746555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0862" y="1285293"/>
            <a:ext cx="4136231" cy="268031"/>
          </a:xfrm>
        </p:spPr>
        <p:txBody>
          <a:bodyPr anchor="t" anchorCtr="0"/>
          <a:lstStyle>
            <a:lvl1pPr marL="0" indent="0">
              <a:buNone/>
              <a:defRPr sz="1400" b="0"/>
            </a:lvl1pPr>
            <a:lvl2pPr marL="343318" indent="0">
              <a:buNone/>
              <a:defRPr sz="1500" b="1"/>
            </a:lvl2pPr>
            <a:lvl3pPr marL="686640" indent="0">
              <a:buNone/>
              <a:defRPr sz="1400" b="1"/>
            </a:lvl3pPr>
            <a:lvl4pPr marL="1029959" indent="0">
              <a:buNone/>
              <a:defRPr sz="1200" b="1"/>
            </a:lvl4pPr>
            <a:lvl5pPr marL="1373277" indent="0">
              <a:buNone/>
              <a:defRPr sz="1200" b="1"/>
            </a:lvl5pPr>
            <a:lvl6pPr marL="1716597" indent="0">
              <a:buNone/>
              <a:defRPr sz="1200" b="1"/>
            </a:lvl6pPr>
            <a:lvl7pPr marL="2059919" indent="0">
              <a:buNone/>
              <a:defRPr sz="1200" b="1"/>
            </a:lvl7pPr>
            <a:lvl8pPr marL="2403236" indent="0">
              <a:buNone/>
              <a:defRPr sz="1200" b="1"/>
            </a:lvl8pPr>
            <a:lvl9pPr marL="2746555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8491161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0" y="1285289"/>
            <a:ext cx="6530892" cy="32155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183458" y="1285289"/>
            <a:ext cx="1633622" cy="3215573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3F9691F-43A5-C84D-B479-5DAD5E43F778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770059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30" y="1285289"/>
            <a:ext cx="4897193" cy="32155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551634" y="1285289"/>
            <a:ext cx="3265446" cy="321557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8E2F3E3-AA36-0843-841E-8FBAA91926DA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407464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073217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26922" y="642643"/>
            <a:ext cx="8490160" cy="3858216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603816-C72B-6F48-AAE3-B93E1B66113D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291811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26922" y="642643"/>
            <a:ext cx="8490160" cy="3858216"/>
          </a:xfrm>
          <a:prstGeom prst="corner">
            <a:avLst>
              <a:gd name="adj1" fmla="val 83349"/>
              <a:gd name="adj2" fmla="val 1248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i-FI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333938" y="642646"/>
            <a:ext cx="3483142" cy="535916"/>
          </a:xfrm>
        </p:spPr>
        <p:txBody>
          <a:bodyPr/>
          <a:lstStyle>
            <a:lvl1pPr marL="0" indent="0">
              <a:spcAft>
                <a:spcPts val="150"/>
              </a:spcAft>
              <a:buFontTx/>
              <a:buNone/>
              <a:defRPr sz="12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fi-FI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0BEF445-5E96-C045-B28F-EB4988F6AD93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747294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83457" y="268168"/>
            <a:ext cx="1306628" cy="106633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EC9EAF4C-5E38-6E43-A0B7-B719FDAE5F46}" type="datetime3">
              <a:rPr lang="nl-NL" smtClean="0"/>
              <a:pPr/>
              <a:t>3/12/15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6921" y="268168"/>
            <a:ext cx="6856536" cy="106633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EMG digital input - MOBILE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90085" y="268168"/>
            <a:ext cx="326994" cy="106633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/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6" y="1"/>
            <a:ext cx="9143999" cy="5143500"/>
          </a:xfr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118" y="1293099"/>
            <a:ext cx="3919809" cy="1284637"/>
          </a:xfrm>
          <a:solidFill>
            <a:schemeClr val="bg1"/>
          </a:solidFill>
        </p:spPr>
        <p:txBody>
          <a:bodyPr wrap="square" lIns="270330" tIns="243297" rIns="270330" bIns="243297" anchor="b" anchorCtr="0">
            <a:sp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7902610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9"/>
            <a:ext cx="8490160" cy="32155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26921" y="268162"/>
            <a:ext cx="5877802" cy="79364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80EE1-952B-E54A-BF64-C34DBEFDCA39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966524" y="4"/>
            <a:ext cx="544181" cy="535843"/>
          </a:xfrm>
          <a:prstGeom prst="rect">
            <a:avLst/>
          </a:prstGeom>
          <a:solidFill>
            <a:srgbClr val="19F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7510755" y="535552"/>
            <a:ext cx="1632873" cy="535843"/>
          </a:xfrm>
          <a:prstGeom prst="rect">
            <a:avLst/>
          </a:prstGeom>
          <a:solidFill>
            <a:srgbClr val="19F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422072" y="535552"/>
            <a:ext cx="544181" cy="535843"/>
          </a:xfrm>
          <a:prstGeom prst="rect">
            <a:avLst/>
          </a:prstGeom>
          <a:solidFill>
            <a:srgbClr val="19F1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000100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8599833" y="3000430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8055381" y="35367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8599833" y="40721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7021310" y="4607662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9"/>
            <a:ext cx="8490160" cy="32155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993CE3-8E5D-0740-B312-B444686B9D89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grpSp>
        <p:nvGrpSpPr>
          <p:cNvPr id="25" name="Group 23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26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F1C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27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28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9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0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1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2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3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4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5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7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8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48192380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 userDrawn="1"/>
        </p:nvSpPr>
        <p:spPr>
          <a:xfrm>
            <a:off x="8055381" y="35367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8599833" y="40721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7021310" y="4607662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9"/>
            <a:ext cx="8490160" cy="32155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99DA338-9BE1-7E43-AABE-75240C643757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25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F1C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26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27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8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9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0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1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2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3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4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5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7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3877327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8599833" y="40721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7021310" y="4607662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63" tIns="34332" rIns="68663" bIns="343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922" y="1285289"/>
            <a:ext cx="8490160" cy="32155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47AA38B-70ED-FB44-9E95-05BF56474A57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grpSp>
        <p:nvGrpSpPr>
          <p:cNvPr id="23" name="Group 23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24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F1C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25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26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7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8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9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0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1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2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3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4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5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925087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1129FF-1400-1D48-A228-5BA1CB84B06C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732453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F2C2C-0D32-CA41-9ADE-E7C084090FCC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412191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26922" y="857057"/>
            <a:ext cx="8490160" cy="3643805"/>
          </a:xfrm>
        </p:spPr>
        <p:txBody>
          <a:bodyPr/>
          <a:lstStyle>
            <a:lvl1pPr marL="200269" indent="-200269">
              <a:spcAft>
                <a:spcPts val="150"/>
              </a:spcAft>
              <a:defRPr sz="1100"/>
            </a:lvl1pPr>
            <a:lvl2pPr marL="405309" indent="-205036">
              <a:spcAft>
                <a:spcPts val="150"/>
              </a:spcAft>
              <a:defRPr sz="900"/>
            </a:lvl2pPr>
            <a:lvl3pPr marL="605577" indent="-200269">
              <a:spcAft>
                <a:spcPts val="150"/>
              </a:spcAft>
              <a:defRPr sz="800"/>
            </a:lvl3pPr>
            <a:lvl4pPr marL="804656" indent="-199078">
              <a:spcAft>
                <a:spcPts val="150"/>
              </a:spcAft>
              <a:defRPr sz="800"/>
            </a:lvl4pPr>
            <a:lvl5pPr marL="1010888" indent="-206228">
              <a:spcAft>
                <a:spcPts val="150"/>
              </a:spcAft>
              <a:defRPr sz="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29070" y="268161"/>
            <a:ext cx="8488010" cy="267904"/>
          </a:xfrm>
        </p:spPr>
        <p:txBody>
          <a:bodyPr anchor="t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28767" y="535553"/>
            <a:ext cx="8488323" cy="214337"/>
          </a:xfrm>
        </p:spPr>
        <p:txBody>
          <a:bodyPr/>
          <a:lstStyle>
            <a:lvl1pPr marL="0" indent="0">
              <a:buFontTx/>
              <a:buNone/>
              <a:defRPr sz="11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fi-FI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26366" y="4500858"/>
            <a:ext cx="8490723" cy="267846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sz="60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fi-FI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D79446B-B18D-6249-B8B5-C23E8028FC3D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64329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2026401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.">
    <p:bg>
      <p:bgPr>
        <a:solidFill>
          <a:srgbClr val="19F1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305442" y="3214405"/>
            <a:ext cx="6531943" cy="1286465"/>
          </a:xfrm>
        </p:spPr>
        <p:txBody>
          <a:bodyPr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  <a:lvl2pPr marL="268217" indent="0" algn="ctr">
              <a:buFontTx/>
              <a:buNone/>
              <a:defRPr sz="1400"/>
            </a:lvl2pPr>
            <a:lvl3pPr marL="536436" indent="0" algn="ctr">
              <a:buFontTx/>
              <a:buNone/>
              <a:defRPr sz="1200"/>
            </a:lvl3pPr>
            <a:lvl4pPr marL="804655" indent="0" algn="ctr">
              <a:buFontTx/>
              <a:buNone/>
              <a:defRPr sz="1100"/>
            </a:lvl4pPr>
            <a:lvl5pPr marL="1080029" indent="0" algn="ctr">
              <a:buFontTx/>
              <a:buNone/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fi-FI" dirty="0"/>
          </a:p>
        </p:txBody>
      </p:sp>
      <p:sp>
        <p:nvSpPr>
          <p:cNvPr id="10" name="Freeform 6"/>
          <p:cNvSpPr>
            <a:spLocks noChangeAspect="1" noEditPoints="1"/>
          </p:cNvSpPr>
          <p:nvPr userDrawn="1"/>
        </p:nvSpPr>
        <p:spPr bwMode="auto">
          <a:xfrm>
            <a:off x="2616615" y="1929109"/>
            <a:ext cx="3918956" cy="643316"/>
          </a:xfrm>
          <a:custGeom>
            <a:avLst/>
            <a:gdLst>
              <a:gd name="T0" fmla="*/ 4989 w 5446"/>
              <a:gd name="T1" fmla="*/ 686 h 908"/>
              <a:gd name="T2" fmla="*/ 4808 w 5446"/>
              <a:gd name="T3" fmla="*/ 593 h 908"/>
              <a:gd name="T4" fmla="*/ 4773 w 5446"/>
              <a:gd name="T5" fmla="*/ 389 h 908"/>
              <a:gd name="T6" fmla="*/ 4890 w 5446"/>
              <a:gd name="T7" fmla="*/ 244 h 908"/>
              <a:gd name="T8" fmla="*/ 5087 w 5446"/>
              <a:gd name="T9" fmla="*/ 246 h 908"/>
              <a:gd name="T10" fmla="*/ 4275 w 5446"/>
              <a:gd name="T11" fmla="*/ 348 h 908"/>
              <a:gd name="T12" fmla="*/ 4169 w 5446"/>
              <a:gd name="T13" fmla="*/ 308 h 908"/>
              <a:gd name="T14" fmla="*/ 4039 w 5446"/>
              <a:gd name="T15" fmla="*/ 382 h 908"/>
              <a:gd name="T16" fmla="*/ 3947 w 5446"/>
              <a:gd name="T17" fmla="*/ 299 h 908"/>
              <a:gd name="T18" fmla="*/ 3885 w 5446"/>
              <a:gd name="T19" fmla="*/ 230 h 908"/>
              <a:gd name="T20" fmla="*/ 4026 w 5446"/>
              <a:gd name="T21" fmla="*/ 225 h 908"/>
              <a:gd name="T22" fmla="*/ 4157 w 5446"/>
              <a:gd name="T23" fmla="*/ 240 h 908"/>
              <a:gd name="T24" fmla="*/ 4327 w 5446"/>
              <a:gd name="T25" fmla="*/ 258 h 908"/>
              <a:gd name="T26" fmla="*/ 3153 w 5446"/>
              <a:gd name="T27" fmla="*/ 684 h 908"/>
              <a:gd name="T28" fmla="*/ 2979 w 5446"/>
              <a:gd name="T29" fmla="*/ 574 h 908"/>
              <a:gd name="T30" fmla="*/ 2963 w 5446"/>
              <a:gd name="T31" fmla="*/ 362 h 908"/>
              <a:gd name="T32" fmla="*/ 3119 w 5446"/>
              <a:gd name="T33" fmla="*/ 228 h 908"/>
              <a:gd name="T34" fmla="*/ 3325 w 5446"/>
              <a:gd name="T35" fmla="*/ 274 h 908"/>
              <a:gd name="T36" fmla="*/ 3408 w 5446"/>
              <a:gd name="T37" fmla="*/ 466 h 908"/>
              <a:gd name="T38" fmla="*/ 3307 w 5446"/>
              <a:gd name="T39" fmla="*/ 646 h 908"/>
              <a:gd name="T40" fmla="*/ 2400 w 5446"/>
              <a:gd name="T41" fmla="*/ 420 h 908"/>
              <a:gd name="T42" fmla="*/ 2307 w 5446"/>
              <a:gd name="T43" fmla="*/ 305 h 908"/>
              <a:gd name="T44" fmla="*/ 2173 w 5446"/>
              <a:gd name="T45" fmla="*/ 348 h 908"/>
              <a:gd name="T46" fmla="*/ 2144 w 5446"/>
              <a:gd name="T47" fmla="*/ 287 h 908"/>
              <a:gd name="T48" fmla="*/ 2344 w 5446"/>
              <a:gd name="T49" fmla="*/ 228 h 908"/>
              <a:gd name="T50" fmla="*/ 2478 w 5446"/>
              <a:gd name="T51" fmla="*/ 349 h 908"/>
              <a:gd name="T52" fmla="*/ 1440 w 5446"/>
              <a:gd name="T53" fmla="*/ 669 h 908"/>
              <a:gd name="T54" fmla="*/ 1240 w 5446"/>
              <a:gd name="T55" fmla="*/ 653 h 908"/>
              <a:gd name="T56" fmla="*/ 1136 w 5446"/>
              <a:gd name="T57" fmla="*/ 478 h 908"/>
              <a:gd name="T58" fmla="*/ 1199 w 5446"/>
              <a:gd name="T59" fmla="*/ 289 h 908"/>
              <a:gd name="T60" fmla="*/ 1381 w 5446"/>
              <a:gd name="T61" fmla="*/ 222 h 908"/>
              <a:gd name="T62" fmla="*/ 466 w 5446"/>
              <a:gd name="T63" fmla="*/ 686 h 908"/>
              <a:gd name="T64" fmla="*/ 258 w 5446"/>
              <a:gd name="T65" fmla="*/ 567 h 908"/>
              <a:gd name="T66" fmla="*/ 460 w 5446"/>
              <a:gd name="T67" fmla="*/ 606 h 908"/>
              <a:gd name="T68" fmla="*/ 583 w 5446"/>
              <a:gd name="T69" fmla="*/ 540 h 908"/>
              <a:gd name="T70" fmla="*/ 341 w 5446"/>
              <a:gd name="T71" fmla="*/ 472 h 908"/>
              <a:gd name="T72" fmla="*/ 239 w 5446"/>
              <a:gd name="T73" fmla="*/ 342 h 908"/>
              <a:gd name="T74" fmla="*/ 365 w 5446"/>
              <a:gd name="T75" fmla="*/ 232 h 908"/>
              <a:gd name="T76" fmla="*/ 641 w 5446"/>
              <a:gd name="T77" fmla="*/ 283 h 908"/>
              <a:gd name="T78" fmla="*/ 462 w 5446"/>
              <a:gd name="T79" fmla="*/ 302 h 908"/>
              <a:gd name="T80" fmla="*/ 327 w 5446"/>
              <a:gd name="T81" fmla="*/ 363 h 908"/>
              <a:gd name="T82" fmla="*/ 584 w 5446"/>
              <a:gd name="T83" fmla="*/ 433 h 908"/>
              <a:gd name="T84" fmla="*/ 674 w 5446"/>
              <a:gd name="T85" fmla="*/ 553 h 908"/>
              <a:gd name="T86" fmla="*/ 569 w 5446"/>
              <a:gd name="T87" fmla="*/ 669 h 908"/>
              <a:gd name="T88" fmla="*/ 5446 w 5446"/>
              <a:gd name="T89" fmla="*/ 453 h 908"/>
              <a:gd name="T90" fmla="*/ 1291 w 5446"/>
              <a:gd name="T91" fmla="*/ 318 h 908"/>
              <a:gd name="T92" fmla="*/ 1231 w 5446"/>
              <a:gd name="T93" fmla="*/ 504 h 908"/>
              <a:gd name="T94" fmla="*/ 1318 w 5446"/>
              <a:gd name="T95" fmla="*/ 603 h 908"/>
              <a:gd name="T96" fmla="*/ 1469 w 5446"/>
              <a:gd name="T97" fmla="*/ 562 h 908"/>
              <a:gd name="T98" fmla="*/ 1491 w 5446"/>
              <a:gd name="T99" fmla="*/ 384 h 908"/>
              <a:gd name="T100" fmla="*/ 1373 w 5446"/>
              <a:gd name="T101" fmla="*/ 297 h 908"/>
              <a:gd name="T102" fmla="*/ 3063 w 5446"/>
              <a:gd name="T103" fmla="*/ 359 h 908"/>
              <a:gd name="T104" fmla="*/ 3059 w 5446"/>
              <a:gd name="T105" fmla="*/ 541 h 908"/>
              <a:gd name="T106" fmla="*/ 3213 w 5446"/>
              <a:gd name="T107" fmla="*/ 601 h 908"/>
              <a:gd name="T108" fmla="*/ 3311 w 5446"/>
              <a:gd name="T109" fmla="*/ 508 h 908"/>
              <a:gd name="T110" fmla="*/ 3273 w 5446"/>
              <a:gd name="T111" fmla="*/ 338 h 908"/>
              <a:gd name="T112" fmla="*/ 4941 w 5446"/>
              <a:gd name="T113" fmla="*/ 307 h 908"/>
              <a:gd name="T114" fmla="*/ 4856 w 5446"/>
              <a:gd name="T115" fmla="*/ 483 h 908"/>
              <a:gd name="T116" fmla="*/ 4934 w 5446"/>
              <a:gd name="T117" fmla="*/ 597 h 908"/>
              <a:gd name="T118" fmla="*/ 5090 w 5446"/>
              <a:gd name="T119" fmla="*/ 573 h 908"/>
              <a:gd name="T120" fmla="*/ 5126 w 5446"/>
              <a:gd name="T121" fmla="*/ 399 h 908"/>
              <a:gd name="T122" fmla="*/ 5022 w 5446"/>
              <a:gd name="T123" fmla="*/ 299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46" h="908">
                <a:moveTo>
                  <a:pt x="5219" y="677"/>
                </a:moveTo>
                <a:lnTo>
                  <a:pt x="5130" y="677"/>
                </a:lnTo>
                <a:lnTo>
                  <a:pt x="5130" y="624"/>
                </a:lnTo>
                <a:lnTo>
                  <a:pt x="5127" y="627"/>
                </a:lnTo>
                <a:lnTo>
                  <a:pt x="5124" y="631"/>
                </a:lnTo>
                <a:lnTo>
                  <a:pt x="5117" y="637"/>
                </a:lnTo>
                <a:lnTo>
                  <a:pt x="5110" y="644"/>
                </a:lnTo>
                <a:lnTo>
                  <a:pt x="5103" y="649"/>
                </a:lnTo>
                <a:lnTo>
                  <a:pt x="5087" y="660"/>
                </a:lnTo>
                <a:lnTo>
                  <a:pt x="5079" y="665"/>
                </a:lnTo>
                <a:lnTo>
                  <a:pt x="5070" y="669"/>
                </a:lnTo>
                <a:lnTo>
                  <a:pt x="5061" y="673"/>
                </a:lnTo>
                <a:lnTo>
                  <a:pt x="5052" y="676"/>
                </a:lnTo>
                <a:lnTo>
                  <a:pt x="5042" y="679"/>
                </a:lnTo>
                <a:lnTo>
                  <a:pt x="5032" y="682"/>
                </a:lnTo>
                <a:lnTo>
                  <a:pt x="5022" y="684"/>
                </a:lnTo>
                <a:lnTo>
                  <a:pt x="5011" y="685"/>
                </a:lnTo>
                <a:lnTo>
                  <a:pt x="5000" y="686"/>
                </a:lnTo>
                <a:lnTo>
                  <a:pt x="4989" y="686"/>
                </a:lnTo>
                <a:lnTo>
                  <a:pt x="4977" y="686"/>
                </a:lnTo>
                <a:lnTo>
                  <a:pt x="4965" y="685"/>
                </a:lnTo>
                <a:lnTo>
                  <a:pt x="4954" y="684"/>
                </a:lnTo>
                <a:lnTo>
                  <a:pt x="4942" y="682"/>
                </a:lnTo>
                <a:lnTo>
                  <a:pt x="4931" y="679"/>
                </a:lnTo>
                <a:lnTo>
                  <a:pt x="4921" y="676"/>
                </a:lnTo>
                <a:lnTo>
                  <a:pt x="4910" y="672"/>
                </a:lnTo>
                <a:lnTo>
                  <a:pt x="4900" y="668"/>
                </a:lnTo>
                <a:lnTo>
                  <a:pt x="4890" y="663"/>
                </a:lnTo>
                <a:lnTo>
                  <a:pt x="4880" y="658"/>
                </a:lnTo>
                <a:lnTo>
                  <a:pt x="4871" y="653"/>
                </a:lnTo>
                <a:lnTo>
                  <a:pt x="4862" y="647"/>
                </a:lnTo>
                <a:lnTo>
                  <a:pt x="4853" y="640"/>
                </a:lnTo>
                <a:lnTo>
                  <a:pt x="4845" y="633"/>
                </a:lnTo>
                <a:lnTo>
                  <a:pt x="4837" y="626"/>
                </a:lnTo>
                <a:lnTo>
                  <a:pt x="4829" y="618"/>
                </a:lnTo>
                <a:lnTo>
                  <a:pt x="4822" y="610"/>
                </a:lnTo>
                <a:lnTo>
                  <a:pt x="4815" y="602"/>
                </a:lnTo>
                <a:lnTo>
                  <a:pt x="4808" y="593"/>
                </a:lnTo>
                <a:lnTo>
                  <a:pt x="4802" y="584"/>
                </a:lnTo>
                <a:lnTo>
                  <a:pt x="4796" y="575"/>
                </a:lnTo>
                <a:lnTo>
                  <a:pt x="4791" y="565"/>
                </a:lnTo>
                <a:lnTo>
                  <a:pt x="4786" y="555"/>
                </a:lnTo>
                <a:lnTo>
                  <a:pt x="4782" y="545"/>
                </a:lnTo>
                <a:lnTo>
                  <a:pt x="4778" y="534"/>
                </a:lnTo>
                <a:lnTo>
                  <a:pt x="4775" y="523"/>
                </a:lnTo>
                <a:lnTo>
                  <a:pt x="4772" y="512"/>
                </a:lnTo>
                <a:lnTo>
                  <a:pt x="4770" y="501"/>
                </a:lnTo>
                <a:lnTo>
                  <a:pt x="4768" y="489"/>
                </a:lnTo>
                <a:lnTo>
                  <a:pt x="4766" y="478"/>
                </a:lnTo>
                <a:lnTo>
                  <a:pt x="4765" y="466"/>
                </a:lnTo>
                <a:lnTo>
                  <a:pt x="4765" y="453"/>
                </a:lnTo>
                <a:lnTo>
                  <a:pt x="4765" y="441"/>
                </a:lnTo>
                <a:lnTo>
                  <a:pt x="4766" y="429"/>
                </a:lnTo>
                <a:lnTo>
                  <a:pt x="4768" y="417"/>
                </a:lnTo>
                <a:lnTo>
                  <a:pt x="4770" y="406"/>
                </a:lnTo>
                <a:lnTo>
                  <a:pt x="4772" y="395"/>
                </a:lnTo>
                <a:lnTo>
                  <a:pt x="4773" y="389"/>
                </a:lnTo>
                <a:lnTo>
                  <a:pt x="4775" y="384"/>
                </a:lnTo>
                <a:lnTo>
                  <a:pt x="4778" y="373"/>
                </a:lnTo>
                <a:lnTo>
                  <a:pt x="4782" y="362"/>
                </a:lnTo>
                <a:lnTo>
                  <a:pt x="4786" y="352"/>
                </a:lnTo>
                <a:lnTo>
                  <a:pt x="4791" y="342"/>
                </a:lnTo>
                <a:lnTo>
                  <a:pt x="4796" y="332"/>
                </a:lnTo>
                <a:lnTo>
                  <a:pt x="4802" y="323"/>
                </a:lnTo>
                <a:lnTo>
                  <a:pt x="4808" y="314"/>
                </a:lnTo>
                <a:lnTo>
                  <a:pt x="4815" y="305"/>
                </a:lnTo>
                <a:lnTo>
                  <a:pt x="4822" y="297"/>
                </a:lnTo>
                <a:lnTo>
                  <a:pt x="4829" y="289"/>
                </a:lnTo>
                <a:lnTo>
                  <a:pt x="4837" y="281"/>
                </a:lnTo>
                <a:lnTo>
                  <a:pt x="4845" y="274"/>
                </a:lnTo>
                <a:lnTo>
                  <a:pt x="4849" y="270"/>
                </a:lnTo>
                <a:lnTo>
                  <a:pt x="4853" y="267"/>
                </a:lnTo>
                <a:lnTo>
                  <a:pt x="4862" y="260"/>
                </a:lnTo>
                <a:lnTo>
                  <a:pt x="4871" y="254"/>
                </a:lnTo>
                <a:lnTo>
                  <a:pt x="4880" y="249"/>
                </a:lnTo>
                <a:lnTo>
                  <a:pt x="4890" y="244"/>
                </a:lnTo>
                <a:lnTo>
                  <a:pt x="4900" y="239"/>
                </a:lnTo>
                <a:lnTo>
                  <a:pt x="4910" y="235"/>
                </a:lnTo>
                <a:lnTo>
                  <a:pt x="4921" y="231"/>
                </a:lnTo>
                <a:lnTo>
                  <a:pt x="4931" y="228"/>
                </a:lnTo>
                <a:lnTo>
                  <a:pt x="4942" y="226"/>
                </a:lnTo>
                <a:lnTo>
                  <a:pt x="4954" y="224"/>
                </a:lnTo>
                <a:lnTo>
                  <a:pt x="4965" y="222"/>
                </a:lnTo>
                <a:lnTo>
                  <a:pt x="4977" y="221"/>
                </a:lnTo>
                <a:lnTo>
                  <a:pt x="4989" y="221"/>
                </a:lnTo>
                <a:lnTo>
                  <a:pt x="5000" y="221"/>
                </a:lnTo>
                <a:lnTo>
                  <a:pt x="5011" y="222"/>
                </a:lnTo>
                <a:lnTo>
                  <a:pt x="5022" y="223"/>
                </a:lnTo>
                <a:lnTo>
                  <a:pt x="5032" y="225"/>
                </a:lnTo>
                <a:lnTo>
                  <a:pt x="5042" y="228"/>
                </a:lnTo>
                <a:lnTo>
                  <a:pt x="5052" y="230"/>
                </a:lnTo>
                <a:lnTo>
                  <a:pt x="5061" y="234"/>
                </a:lnTo>
                <a:lnTo>
                  <a:pt x="5070" y="238"/>
                </a:lnTo>
                <a:lnTo>
                  <a:pt x="5079" y="242"/>
                </a:lnTo>
                <a:lnTo>
                  <a:pt x="5087" y="246"/>
                </a:lnTo>
                <a:lnTo>
                  <a:pt x="5095" y="251"/>
                </a:lnTo>
                <a:lnTo>
                  <a:pt x="5099" y="254"/>
                </a:lnTo>
                <a:lnTo>
                  <a:pt x="5102" y="257"/>
                </a:lnTo>
                <a:lnTo>
                  <a:pt x="5110" y="263"/>
                </a:lnTo>
                <a:lnTo>
                  <a:pt x="5117" y="269"/>
                </a:lnTo>
                <a:lnTo>
                  <a:pt x="5123" y="275"/>
                </a:lnTo>
                <a:lnTo>
                  <a:pt x="5130" y="282"/>
                </a:lnTo>
                <a:lnTo>
                  <a:pt x="5130" y="230"/>
                </a:lnTo>
                <a:lnTo>
                  <a:pt x="5219" y="230"/>
                </a:lnTo>
                <a:lnTo>
                  <a:pt x="5219" y="677"/>
                </a:lnTo>
                <a:close/>
                <a:moveTo>
                  <a:pt x="4372" y="408"/>
                </a:moveTo>
                <a:lnTo>
                  <a:pt x="4372" y="676"/>
                </a:lnTo>
                <a:lnTo>
                  <a:pt x="4283" y="676"/>
                </a:lnTo>
                <a:lnTo>
                  <a:pt x="4283" y="409"/>
                </a:lnTo>
                <a:lnTo>
                  <a:pt x="4282" y="391"/>
                </a:lnTo>
                <a:lnTo>
                  <a:pt x="4282" y="382"/>
                </a:lnTo>
                <a:lnTo>
                  <a:pt x="4281" y="374"/>
                </a:lnTo>
                <a:lnTo>
                  <a:pt x="4278" y="360"/>
                </a:lnTo>
                <a:lnTo>
                  <a:pt x="4275" y="348"/>
                </a:lnTo>
                <a:lnTo>
                  <a:pt x="4271" y="337"/>
                </a:lnTo>
                <a:lnTo>
                  <a:pt x="4266" y="328"/>
                </a:lnTo>
                <a:lnTo>
                  <a:pt x="4261" y="320"/>
                </a:lnTo>
                <a:lnTo>
                  <a:pt x="4255" y="314"/>
                </a:lnTo>
                <a:lnTo>
                  <a:pt x="4249" y="309"/>
                </a:lnTo>
                <a:lnTo>
                  <a:pt x="4243" y="305"/>
                </a:lnTo>
                <a:lnTo>
                  <a:pt x="4237" y="302"/>
                </a:lnTo>
                <a:lnTo>
                  <a:pt x="4231" y="300"/>
                </a:lnTo>
                <a:lnTo>
                  <a:pt x="4225" y="298"/>
                </a:lnTo>
                <a:lnTo>
                  <a:pt x="4220" y="297"/>
                </a:lnTo>
                <a:lnTo>
                  <a:pt x="4214" y="297"/>
                </a:lnTo>
                <a:lnTo>
                  <a:pt x="4210" y="297"/>
                </a:lnTo>
                <a:lnTo>
                  <a:pt x="4206" y="297"/>
                </a:lnTo>
                <a:lnTo>
                  <a:pt x="4201" y="297"/>
                </a:lnTo>
                <a:lnTo>
                  <a:pt x="4195" y="298"/>
                </a:lnTo>
                <a:lnTo>
                  <a:pt x="4189" y="299"/>
                </a:lnTo>
                <a:lnTo>
                  <a:pt x="4183" y="301"/>
                </a:lnTo>
                <a:lnTo>
                  <a:pt x="4176" y="304"/>
                </a:lnTo>
                <a:lnTo>
                  <a:pt x="4169" y="308"/>
                </a:lnTo>
                <a:lnTo>
                  <a:pt x="4163" y="313"/>
                </a:lnTo>
                <a:lnTo>
                  <a:pt x="4156" y="320"/>
                </a:lnTo>
                <a:lnTo>
                  <a:pt x="4150" y="327"/>
                </a:lnTo>
                <a:lnTo>
                  <a:pt x="4147" y="332"/>
                </a:lnTo>
                <a:lnTo>
                  <a:pt x="4144" y="337"/>
                </a:lnTo>
                <a:lnTo>
                  <a:pt x="4142" y="342"/>
                </a:lnTo>
                <a:lnTo>
                  <a:pt x="4139" y="348"/>
                </a:lnTo>
                <a:lnTo>
                  <a:pt x="4137" y="354"/>
                </a:lnTo>
                <a:lnTo>
                  <a:pt x="4135" y="361"/>
                </a:lnTo>
                <a:lnTo>
                  <a:pt x="4134" y="368"/>
                </a:lnTo>
                <a:lnTo>
                  <a:pt x="4132" y="375"/>
                </a:lnTo>
                <a:lnTo>
                  <a:pt x="4130" y="392"/>
                </a:lnTo>
                <a:lnTo>
                  <a:pt x="4130" y="402"/>
                </a:lnTo>
                <a:lnTo>
                  <a:pt x="4129" y="412"/>
                </a:lnTo>
                <a:lnTo>
                  <a:pt x="4129" y="676"/>
                </a:lnTo>
                <a:lnTo>
                  <a:pt x="4040" y="676"/>
                </a:lnTo>
                <a:lnTo>
                  <a:pt x="4040" y="409"/>
                </a:lnTo>
                <a:lnTo>
                  <a:pt x="4040" y="391"/>
                </a:lnTo>
                <a:lnTo>
                  <a:pt x="4039" y="382"/>
                </a:lnTo>
                <a:lnTo>
                  <a:pt x="4038" y="374"/>
                </a:lnTo>
                <a:lnTo>
                  <a:pt x="4036" y="360"/>
                </a:lnTo>
                <a:lnTo>
                  <a:pt x="4032" y="348"/>
                </a:lnTo>
                <a:lnTo>
                  <a:pt x="4028" y="337"/>
                </a:lnTo>
                <a:lnTo>
                  <a:pt x="4023" y="328"/>
                </a:lnTo>
                <a:lnTo>
                  <a:pt x="4018" y="320"/>
                </a:lnTo>
                <a:lnTo>
                  <a:pt x="4012" y="314"/>
                </a:lnTo>
                <a:lnTo>
                  <a:pt x="4007" y="309"/>
                </a:lnTo>
                <a:lnTo>
                  <a:pt x="4001" y="305"/>
                </a:lnTo>
                <a:lnTo>
                  <a:pt x="3994" y="302"/>
                </a:lnTo>
                <a:lnTo>
                  <a:pt x="3988" y="300"/>
                </a:lnTo>
                <a:lnTo>
                  <a:pt x="3983" y="298"/>
                </a:lnTo>
                <a:lnTo>
                  <a:pt x="3977" y="297"/>
                </a:lnTo>
                <a:lnTo>
                  <a:pt x="3972" y="297"/>
                </a:lnTo>
                <a:lnTo>
                  <a:pt x="3967" y="297"/>
                </a:lnTo>
                <a:lnTo>
                  <a:pt x="3963" y="297"/>
                </a:lnTo>
                <a:lnTo>
                  <a:pt x="3959" y="297"/>
                </a:lnTo>
                <a:lnTo>
                  <a:pt x="3953" y="298"/>
                </a:lnTo>
                <a:lnTo>
                  <a:pt x="3947" y="299"/>
                </a:lnTo>
                <a:lnTo>
                  <a:pt x="3941" y="301"/>
                </a:lnTo>
                <a:lnTo>
                  <a:pt x="3934" y="304"/>
                </a:lnTo>
                <a:lnTo>
                  <a:pt x="3928" y="308"/>
                </a:lnTo>
                <a:lnTo>
                  <a:pt x="3921" y="313"/>
                </a:lnTo>
                <a:lnTo>
                  <a:pt x="3915" y="320"/>
                </a:lnTo>
                <a:lnTo>
                  <a:pt x="3909" y="327"/>
                </a:lnTo>
                <a:lnTo>
                  <a:pt x="3906" y="332"/>
                </a:lnTo>
                <a:lnTo>
                  <a:pt x="3903" y="337"/>
                </a:lnTo>
                <a:lnTo>
                  <a:pt x="3898" y="348"/>
                </a:lnTo>
                <a:lnTo>
                  <a:pt x="3894" y="361"/>
                </a:lnTo>
                <a:lnTo>
                  <a:pt x="3893" y="368"/>
                </a:lnTo>
                <a:lnTo>
                  <a:pt x="3891" y="375"/>
                </a:lnTo>
                <a:lnTo>
                  <a:pt x="3889" y="392"/>
                </a:lnTo>
                <a:lnTo>
                  <a:pt x="3889" y="402"/>
                </a:lnTo>
                <a:lnTo>
                  <a:pt x="3889" y="412"/>
                </a:lnTo>
                <a:lnTo>
                  <a:pt x="3889" y="676"/>
                </a:lnTo>
                <a:lnTo>
                  <a:pt x="3800" y="676"/>
                </a:lnTo>
                <a:lnTo>
                  <a:pt x="3800" y="230"/>
                </a:lnTo>
                <a:lnTo>
                  <a:pt x="3885" y="230"/>
                </a:lnTo>
                <a:lnTo>
                  <a:pt x="3885" y="281"/>
                </a:lnTo>
                <a:lnTo>
                  <a:pt x="3890" y="272"/>
                </a:lnTo>
                <a:lnTo>
                  <a:pt x="3895" y="264"/>
                </a:lnTo>
                <a:lnTo>
                  <a:pt x="3901" y="258"/>
                </a:lnTo>
                <a:lnTo>
                  <a:pt x="3907" y="251"/>
                </a:lnTo>
                <a:lnTo>
                  <a:pt x="3914" y="246"/>
                </a:lnTo>
                <a:lnTo>
                  <a:pt x="3921" y="241"/>
                </a:lnTo>
                <a:lnTo>
                  <a:pt x="3928" y="237"/>
                </a:lnTo>
                <a:lnTo>
                  <a:pt x="3935" y="233"/>
                </a:lnTo>
                <a:lnTo>
                  <a:pt x="3942" y="230"/>
                </a:lnTo>
                <a:lnTo>
                  <a:pt x="3950" y="227"/>
                </a:lnTo>
                <a:lnTo>
                  <a:pt x="3964" y="224"/>
                </a:lnTo>
                <a:lnTo>
                  <a:pt x="3971" y="222"/>
                </a:lnTo>
                <a:lnTo>
                  <a:pt x="3978" y="221"/>
                </a:lnTo>
                <a:lnTo>
                  <a:pt x="3990" y="221"/>
                </a:lnTo>
                <a:lnTo>
                  <a:pt x="4000" y="221"/>
                </a:lnTo>
                <a:lnTo>
                  <a:pt x="4008" y="222"/>
                </a:lnTo>
                <a:lnTo>
                  <a:pt x="4017" y="223"/>
                </a:lnTo>
                <a:lnTo>
                  <a:pt x="4026" y="225"/>
                </a:lnTo>
                <a:lnTo>
                  <a:pt x="4034" y="228"/>
                </a:lnTo>
                <a:lnTo>
                  <a:pt x="4042" y="231"/>
                </a:lnTo>
                <a:lnTo>
                  <a:pt x="4050" y="234"/>
                </a:lnTo>
                <a:lnTo>
                  <a:pt x="4057" y="238"/>
                </a:lnTo>
                <a:lnTo>
                  <a:pt x="4064" y="243"/>
                </a:lnTo>
                <a:lnTo>
                  <a:pt x="4071" y="248"/>
                </a:lnTo>
                <a:lnTo>
                  <a:pt x="4078" y="254"/>
                </a:lnTo>
                <a:lnTo>
                  <a:pt x="4084" y="261"/>
                </a:lnTo>
                <a:lnTo>
                  <a:pt x="4090" y="268"/>
                </a:lnTo>
                <a:lnTo>
                  <a:pt x="4096" y="275"/>
                </a:lnTo>
                <a:lnTo>
                  <a:pt x="4101" y="283"/>
                </a:lnTo>
                <a:lnTo>
                  <a:pt x="4105" y="292"/>
                </a:lnTo>
                <a:lnTo>
                  <a:pt x="4111" y="282"/>
                </a:lnTo>
                <a:lnTo>
                  <a:pt x="4118" y="273"/>
                </a:lnTo>
                <a:lnTo>
                  <a:pt x="4125" y="265"/>
                </a:lnTo>
                <a:lnTo>
                  <a:pt x="4133" y="257"/>
                </a:lnTo>
                <a:lnTo>
                  <a:pt x="4140" y="251"/>
                </a:lnTo>
                <a:lnTo>
                  <a:pt x="4148" y="245"/>
                </a:lnTo>
                <a:lnTo>
                  <a:pt x="4157" y="240"/>
                </a:lnTo>
                <a:lnTo>
                  <a:pt x="4165" y="235"/>
                </a:lnTo>
                <a:lnTo>
                  <a:pt x="4174" y="232"/>
                </a:lnTo>
                <a:lnTo>
                  <a:pt x="4182" y="229"/>
                </a:lnTo>
                <a:lnTo>
                  <a:pt x="4191" y="226"/>
                </a:lnTo>
                <a:lnTo>
                  <a:pt x="4199" y="224"/>
                </a:lnTo>
                <a:lnTo>
                  <a:pt x="4207" y="223"/>
                </a:lnTo>
                <a:lnTo>
                  <a:pt x="4214" y="222"/>
                </a:lnTo>
                <a:lnTo>
                  <a:pt x="4228" y="221"/>
                </a:lnTo>
                <a:lnTo>
                  <a:pt x="4241" y="221"/>
                </a:lnTo>
                <a:lnTo>
                  <a:pt x="4254" y="223"/>
                </a:lnTo>
                <a:lnTo>
                  <a:pt x="4267" y="225"/>
                </a:lnTo>
                <a:lnTo>
                  <a:pt x="4280" y="229"/>
                </a:lnTo>
                <a:lnTo>
                  <a:pt x="4292" y="234"/>
                </a:lnTo>
                <a:lnTo>
                  <a:pt x="4298" y="237"/>
                </a:lnTo>
                <a:lnTo>
                  <a:pt x="4304" y="241"/>
                </a:lnTo>
                <a:lnTo>
                  <a:pt x="4310" y="244"/>
                </a:lnTo>
                <a:lnTo>
                  <a:pt x="4316" y="249"/>
                </a:lnTo>
                <a:lnTo>
                  <a:pt x="4321" y="253"/>
                </a:lnTo>
                <a:lnTo>
                  <a:pt x="4327" y="258"/>
                </a:lnTo>
                <a:lnTo>
                  <a:pt x="4332" y="264"/>
                </a:lnTo>
                <a:lnTo>
                  <a:pt x="4337" y="270"/>
                </a:lnTo>
                <a:lnTo>
                  <a:pt x="4341" y="276"/>
                </a:lnTo>
                <a:lnTo>
                  <a:pt x="4346" y="283"/>
                </a:lnTo>
                <a:lnTo>
                  <a:pt x="4350" y="290"/>
                </a:lnTo>
                <a:lnTo>
                  <a:pt x="4354" y="298"/>
                </a:lnTo>
                <a:lnTo>
                  <a:pt x="4357" y="307"/>
                </a:lnTo>
                <a:lnTo>
                  <a:pt x="4360" y="316"/>
                </a:lnTo>
                <a:lnTo>
                  <a:pt x="4363" y="325"/>
                </a:lnTo>
                <a:lnTo>
                  <a:pt x="4366" y="335"/>
                </a:lnTo>
                <a:lnTo>
                  <a:pt x="4368" y="346"/>
                </a:lnTo>
                <a:lnTo>
                  <a:pt x="4370" y="357"/>
                </a:lnTo>
                <a:lnTo>
                  <a:pt x="4371" y="369"/>
                </a:lnTo>
                <a:lnTo>
                  <a:pt x="4372" y="381"/>
                </a:lnTo>
                <a:lnTo>
                  <a:pt x="4372" y="394"/>
                </a:lnTo>
                <a:lnTo>
                  <a:pt x="4372" y="408"/>
                </a:lnTo>
                <a:close/>
                <a:moveTo>
                  <a:pt x="3177" y="685"/>
                </a:moveTo>
                <a:lnTo>
                  <a:pt x="3165" y="685"/>
                </a:lnTo>
                <a:lnTo>
                  <a:pt x="3153" y="684"/>
                </a:lnTo>
                <a:lnTo>
                  <a:pt x="3142" y="683"/>
                </a:lnTo>
                <a:lnTo>
                  <a:pt x="3130" y="681"/>
                </a:lnTo>
                <a:lnTo>
                  <a:pt x="3119" y="678"/>
                </a:lnTo>
                <a:lnTo>
                  <a:pt x="3108" y="675"/>
                </a:lnTo>
                <a:lnTo>
                  <a:pt x="3097" y="671"/>
                </a:lnTo>
                <a:lnTo>
                  <a:pt x="3087" y="667"/>
                </a:lnTo>
                <a:lnTo>
                  <a:pt x="3076" y="663"/>
                </a:lnTo>
                <a:lnTo>
                  <a:pt x="3066" y="658"/>
                </a:lnTo>
                <a:lnTo>
                  <a:pt x="3057" y="652"/>
                </a:lnTo>
                <a:lnTo>
                  <a:pt x="3047" y="646"/>
                </a:lnTo>
                <a:lnTo>
                  <a:pt x="3038" y="639"/>
                </a:lnTo>
                <a:lnTo>
                  <a:pt x="3029" y="633"/>
                </a:lnTo>
                <a:lnTo>
                  <a:pt x="3021" y="625"/>
                </a:lnTo>
                <a:lnTo>
                  <a:pt x="3013" y="618"/>
                </a:lnTo>
                <a:lnTo>
                  <a:pt x="3005" y="610"/>
                </a:lnTo>
                <a:lnTo>
                  <a:pt x="2998" y="601"/>
                </a:lnTo>
                <a:lnTo>
                  <a:pt x="2991" y="592"/>
                </a:lnTo>
                <a:lnTo>
                  <a:pt x="2985" y="583"/>
                </a:lnTo>
                <a:lnTo>
                  <a:pt x="2979" y="574"/>
                </a:lnTo>
                <a:lnTo>
                  <a:pt x="2973" y="564"/>
                </a:lnTo>
                <a:lnTo>
                  <a:pt x="2968" y="554"/>
                </a:lnTo>
                <a:lnTo>
                  <a:pt x="2963" y="544"/>
                </a:lnTo>
                <a:lnTo>
                  <a:pt x="2959" y="533"/>
                </a:lnTo>
                <a:lnTo>
                  <a:pt x="2956" y="523"/>
                </a:lnTo>
                <a:lnTo>
                  <a:pt x="2952" y="512"/>
                </a:lnTo>
                <a:lnTo>
                  <a:pt x="2950" y="500"/>
                </a:lnTo>
                <a:lnTo>
                  <a:pt x="2948" y="489"/>
                </a:lnTo>
                <a:lnTo>
                  <a:pt x="2946" y="477"/>
                </a:lnTo>
                <a:lnTo>
                  <a:pt x="2945" y="466"/>
                </a:lnTo>
                <a:lnTo>
                  <a:pt x="2945" y="453"/>
                </a:lnTo>
                <a:lnTo>
                  <a:pt x="2945" y="441"/>
                </a:lnTo>
                <a:lnTo>
                  <a:pt x="2946" y="429"/>
                </a:lnTo>
                <a:lnTo>
                  <a:pt x="2948" y="417"/>
                </a:lnTo>
                <a:lnTo>
                  <a:pt x="2950" y="406"/>
                </a:lnTo>
                <a:lnTo>
                  <a:pt x="2952" y="395"/>
                </a:lnTo>
                <a:lnTo>
                  <a:pt x="2956" y="384"/>
                </a:lnTo>
                <a:lnTo>
                  <a:pt x="2959" y="373"/>
                </a:lnTo>
                <a:lnTo>
                  <a:pt x="2963" y="362"/>
                </a:lnTo>
                <a:lnTo>
                  <a:pt x="2968" y="352"/>
                </a:lnTo>
                <a:lnTo>
                  <a:pt x="2973" y="342"/>
                </a:lnTo>
                <a:lnTo>
                  <a:pt x="2979" y="332"/>
                </a:lnTo>
                <a:lnTo>
                  <a:pt x="2985" y="323"/>
                </a:lnTo>
                <a:lnTo>
                  <a:pt x="2991" y="314"/>
                </a:lnTo>
                <a:lnTo>
                  <a:pt x="2998" y="305"/>
                </a:lnTo>
                <a:lnTo>
                  <a:pt x="3005" y="297"/>
                </a:lnTo>
                <a:lnTo>
                  <a:pt x="3013" y="289"/>
                </a:lnTo>
                <a:lnTo>
                  <a:pt x="3021" y="281"/>
                </a:lnTo>
                <a:lnTo>
                  <a:pt x="3029" y="274"/>
                </a:lnTo>
                <a:lnTo>
                  <a:pt x="3038" y="267"/>
                </a:lnTo>
                <a:lnTo>
                  <a:pt x="3047" y="260"/>
                </a:lnTo>
                <a:lnTo>
                  <a:pt x="3057" y="254"/>
                </a:lnTo>
                <a:lnTo>
                  <a:pt x="3066" y="249"/>
                </a:lnTo>
                <a:lnTo>
                  <a:pt x="3076" y="244"/>
                </a:lnTo>
                <a:lnTo>
                  <a:pt x="3087" y="239"/>
                </a:lnTo>
                <a:lnTo>
                  <a:pt x="3097" y="235"/>
                </a:lnTo>
                <a:lnTo>
                  <a:pt x="3108" y="231"/>
                </a:lnTo>
                <a:lnTo>
                  <a:pt x="3119" y="228"/>
                </a:lnTo>
                <a:lnTo>
                  <a:pt x="3130" y="226"/>
                </a:lnTo>
                <a:lnTo>
                  <a:pt x="3142" y="224"/>
                </a:lnTo>
                <a:lnTo>
                  <a:pt x="3153" y="222"/>
                </a:lnTo>
                <a:lnTo>
                  <a:pt x="3165" y="221"/>
                </a:lnTo>
                <a:lnTo>
                  <a:pt x="3177" y="221"/>
                </a:lnTo>
                <a:lnTo>
                  <a:pt x="3189" y="221"/>
                </a:lnTo>
                <a:lnTo>
                  <a:pt x="3201" y="222"/>
                </a:lnTo>
                <a:lnTo>
                  <a:pt x="3212" y="224"/>
                </a:lnTo>
                <a:lnTo>
                  <a:pt x="3224" y="226"/>
                </a:lnTo>
                <a:lnTo>
                  <a:pt x="3235" y="228"/>
                </a:lnTo>
                <a:lnTo>
                  <a:pt x="3246" y="231"/>
                </a:lnTo>
                <a:lnTo>
                  <a:pt x="3257" y="235"/>
                </a:lnTo>
                <a:lnTo>
                  <a:pt x="3267" y="239"/>
                </a:lnTo>
                <a:lnTo>
                  <a:pt x="3278" y="244"/>
                </a:lnTo>
                <a:lnTo>
                  <a:pt x="3288" y="249"/>
                </a:lnTo>
                <a:lnTo>
                  <a:pt x="3297" y="254"/>
                </a:lnTo>
                <a:lnTo>
                  <a:pt x="3307" y="260"/>
                </a:lnTo>
                <a:lnTo>
                  <a:pt x="3316" y="267"/>
                </a:lnTo>
                <a:lnTo>
                  <a:pt x="3325" y="274"/>
                </a:lnTo>
                <a:lnTo>
                  <a:pt x="3333" y="281"/>
                </a:lnTo>
                <a:lnTo>
                  <a:pt x="3341" y="289"/>
                </a:lnTo>
                <a:lnTo>
                  <a:pt x="3349" y="297"/>
                </a:lnTo>
                <a:lnTo>
                  <a:pt x="3356" y="305"/>
                </a:lnTo>
                <a:lnTo>
                  <a:pt x="3363" y="314"/>
                </a:lnTo>
                <a:lnTo>
                  <a:pt x="3369" y="323"/>
                </a:lnTo>
                <a:lnTo>
                  <a:pt x="3375" y="332"/>
                </a:lnTo>
                <a:lnTo>
                  <a:pt x="3381" y="342"/>
                </a:lnTo>
                <a:lnTo>
                  <a:pt x="3386" y="352"/>
                </a:lnTo>
                <a:lnTo>
                  <a:pt x="3391" y="362"/>
                </a:lnTo>
                <a:lnTo>
                  <a:pt x="3395" y="373"/>
                </a:lnTo>
                <a:lnTo>
                  <a:pt x="3398" y="384"/>
                </a:lnTo>
                <a:lnTo>
                  <a:pt x="3401" y="395"/>
                </a:lnTo>
                <a:lnTo>
                  <a:pt x="3404" y="406"/>
                </a:lnTo>
                <a:lnTo>
                  <a:pt x="3406" y="417"/>
                </a:lnTo>
                <a:lnTo>
                  <a:pt x="3408" y="429"/>
                </a:lnTo>
                <a:lnTo>
                  <a:pt x="3408" y="441"/>
                </a:lnTo>
                <a:lnTo>
                  <a:pt x="3409" y="453"/>
                </a:lnTo>
                <a:lnTo>
                  <a:pt x="3408" y="466"/>
                </a:lnTo>
                <a:lnTo>
                  <a:pt x="3408" y="477"/>
                </a:lnTo>
                <a:lnTo>
                  <a:pt x="3406" y="489"/>
                </a:lnTo>
                <a:lnTo>
                  <a:pt x="3404" y="500"/>
                </a:lnTo>
                <a:lnTo>
                  <a:pt x="3401" y="512"/>
                </a:lnTo>
                <a:lnTo>
                  <a:pt x="3398" y="523"/>
                </a:lnTo>
                <a:lnTo>
                  <a:pt x="3395" y="533"/>
                </a:lnTo>
                <a:lnTo>
                  <a:pt x="3391" y="544"/>
                </a:lnTo>
                <a:lnTo>
                  <a:pt x="3386" y="554"/>
                </a:lnTo>
                <a:lnTo>
                  <a:pt x="3381" y="564"/>
                </a:lnTo>
                <a:lnTo>
                  <a:pt x="3375" y="574"/>
                </a:lnTo>
                <a:lnTo>
                  <a:pt x="3369" y="583"/>
                </a:lnTo>
                <a:lnTo>
                  <a:pt x="3363" y="592"/>
                </a:lnTo>
                <a:lnTo>
                  <a:pt x="3356" y="601"/>
                </a:lnTo>
                <a:lnTo>
                  <a:pt x="3349" y="610"/>
                </a:lnTo>
                <a:lnTo>
                  <a:pt x="3341" y="618"/>
                </a:lnTo>
                <a:lnTo>
                  <a:pt x="3333" y="625"/>
                </a:lnTo>
                <a:lnTo>
                  <a:pt x="3325" y="633"/>
                </a:lnTo>
                <a:lnTo>
                  <a:pt x="3316" y="639"/>
                </a:lnTo>
                <a:lnTo>
                  <a:pt x="3307" y="646"/>
                </a:lnTo>
                <a:lnTo>
                  <a:pt x="3297" y="652"/>
                </a:lnTo>
                <a:lnTo>
                  <a:pt x="3288" y="658"/>
                </a:lnTo>
                <a:lnTo>
                  <a:pt x="3278" y="663"/>
                </a:lnTo>
                <a:lnTo>
                  <a:pt x="3267" y="667"/>
                </a:lnTo>
                <a:lnTo>
                  <a:pt x="3257" y="671"/>
                </a:lnTo>
                <a:lnTo>
                  <a:pt x="3246" y="675"/>
                </a:lnTo>
                <a:lnTo>
                  <a:pt x="3235" y="678"/>
                </a:lnTo>
                <a:lnTo>
                  <a:pt x="3224" y="681"/>
                </a:lnTo>
                <a:lnTo>
                  <a:pt x="3212" y="683"/>
                </a:lnTo>
                <a:lnTo>
                  <a:pt x="3201" y="684"/>
                </a:lnTo>
                <a:lnTo>
                  <a:pt x="3189" y="685"/>
                </a:lnTo>
                <a:lnTo>
                  <a:pt x="3177" y="685"/>
                </a:lnTo>
                <a:close/>
                <a:moveTo>
                  <a:pt x="2491" y="677"/>
                </a:moveTo>
                <a:lnTo>
                  <a:pt x="2402" y="677"/>
                </a:lnTo>
                <a:lnTo>
                  <a:pt x="2402" y="453"/>
                </a:lnTo>
                <a:lnTo>
                  <a:pt x="2402" y="444"/>
                </a:lnTo>
                <a:lnTo>
                  <a:pt x="2402" y="436"/>
                </a:lnTo>
                <a:lnTo>
                  <a:pt x="2401" y="428"/>
                </a:lnTo>
                <a:lnTo>
                  <a:pt x="2400" y="420"/>
                </a:lnTo>
                <a:lnTo>
                  <a:pt x="2398" y="412"/>
                </a:lnTo>
                <a:lnTo>
                  <a:pt x="2397" y="404"/>
                </a:lnTo>
                <a:lnTo>
                  <a:pt x="2395" y="397"/>
                </a:lnTo>
                <a:lnTo>
                  <a:pt x="2392" y="390"/>
                </a:lnTo>
                <a:lnTo>
                  <a:pt x="2390" y="383"/>
                </a:lnTo>
                <a:lnTo>
                  <a:pt x="2387" y="377"/>
                </a:lnTo>
                <a:lnTo>
                  <a:pt x="2381" y="364"/>
                </a:lnTo>
                <a:lnTo>
                  <a:pt x="2374" y="353"/>
                </a:lnTo>
                <a:lnTo>
                  <a:pt x="2370" y="347"/>
                </a:lnTo>
                <a:lnTo>
                  <a:pt x="2365" y="342"/>
                </a:lnTo>
                <a:lnTo>
                  <a:pt x="2361" y="337"/>
                </a:lnTo>
                <a:lnTo>
                  <a:pt x="2357" y="333"/>
                </a:lnTo>
                <a:lnTo>
                  <a:pt x="2347" y="325"/>
                </a:lnTo>
                <a:lnTo>
                  <a:pt x="2336" y="318"/>
                </a:lnTo>
                <a:lnTo>
                  <a:pt x="2331" y="314"/>
                </a:lnTo>
                <a:lnTo>
                  <a:pt x="2325" y="312"/>
                </a:lnTo>
                <a:lnTo>
                  <a:pt x="2319" y="309"/>
                </a:lnTo>
                <a:lnTo>
                  <a:pt x="2313" y="307"/>
                </a:lnTo>
                <a:lnTo>
                  <a:pt x="2307" y="305"/>
                </a:lnTo>
                <a:lnTo>
                  <a:pt x="2301" y="304"/>
                </a:lnTo>
                <a:lnTo>
                  <a:pt x="2295" y="303"/>
                </a:lnTo>
                <a:lnTo>
                  <a:pt x="2288" y="302"/>
                </a:lnTo>
                <a:lnTo>
                  <a:pt x="2275" y="301"/>
                </a:lnTo>
                <a:lnTo>
                  <a:pt x="2261" y="302"/>
                </a:lnTo>
                <a:lnTo>
                  <a:pt x="2254" y="303"/>
                </a:lnTo>
                <a:lnTo>
                  <a:pt x="2247" y="304"/>
                </a:lnTo>
                <a:lnTo>
                  <a:pt x="2234" y="307"/>
                </a:lnTo>
                <a:lnTo>
                  <a:pt x="2228" y="309"/>
                </a:lnTo>
                <a:lnTo>
                  <a:pt x="2222" y="312"/>
                </a:lnTo>
                <a:lnTo>
                  <a:pt x="2216" y="314"/>
                </a:lnTo>
                <a:lnTo>
                  <a:pt x="2210" y="318"/>
                </a:lnTo>
                <a:lnTo>
                  <a:pt x="2204" y="321"/>
                </a:lnTo>
                <a:lnTo>
                  <a:pt x="2198" y="325"/>
                </a:lnTo>
                <a:lnTo>
                  <a:pt x="2193" y="329"/>
                </a:lnTo>
                <a:lnTo>
                  <a:pt x="2188" y="333"/>
                </a:lnTo>
                <a:lnTo>
                  <a:pt x="2183" y="338"/>
                </a:lnTo>
                <a:lnTo>
                  <a:pt x="2178" y="343"/>
                </a:lnTo>
                <a:lnTo>
                  <a:pt x="2173" y="348"/>
                </a:lnTo>
                <a:lnTo>
                  <a:pt x="2169" y="354"/>
                </a:lnTo>
                <a:lnTo>
                  <a:pt x="2164" y="360"/>
                </a:lnTo>
                <a:lnTo>
                  <a:pt x="2160" y="366"/>
                </a:lnTo>
                <a:lnTo>
                  <a:pt x="2153" y="380"/>
                </a:lnTo>
                <a:lnTo>
                  <a:pt x="2150" y="387"/>
                </a:lnTo>
                <a:lnTo>
                  <a:pt x="2147" y="394"/>
                </a:lnTo>
                <a:lnTo>
                  <a:pt x="2142" y="410"/>
                </a:lnTo>
                <a:lnTo>
                  <a:pt x="2140" y="419"/>
                </a:lnTo>
                <a:lnTo>
                  <a:pt x="2139" y="427"/>
                </a:lnTo>
                <a:lnTo>
                  <a:pt x="2137" y="436"/>
                </a:lnTo>
                <a:lnTo>
                  <a:pt x="2137" y="446"/>
                </a:lnTo>
                <a:lnTo>
                  <a:pt x="2136" y="466"/>
                </a:lnTo>
                <a:lnTo>
                  <a:pt x="2136" y="677"/>
                </a:lnTo>
                <a:lnTo>
                  <a:pt x="2046" y="677"/>
                </a:lnTo>
                <a:lnTo>
                  <a:pt x="2046" y="230"/>
                </a:lnTo>
                <a:lnTo>
                  <a:pt x="2133" y="230"/>
                </a:lnTo>
                <a:lnTo>
                  <a:pt x="2133" y="306"/>
                </a:lnTo>
                <a:lnTo>
                  <a:pt x="2138" y="296"/>
                </a:lnTo>
                <a:lnTo>
                  <a:pt x="2144" y="287"/>
                </a:lnTo>
                <a:lnTo>
                  <a:pt x="2151" y="278"/>
                </a:lnTo>
                <a:lnTo>
                  <a:pt x="2159" y="270"/>
                </a:lnTo>
                <a:lnTo>
                  <a:pt x="2163" y="266"/>
                </a:lnTo>
                <a:lnTo>
                  <a:pt x="2167" y="262"/>
                </a:lnTo>
                <a:lnTo>
                  <a:pt x="2177" y="255"/>
                </a:lnTo>
                <a:lnTo>
                  <a:pt x="2186" y="249"/>
                </a:lnTo>
                <a:lnTo>
                  <a:pt x="2196" y="243"/>
                </a:lnTo>
                <a:lnTo>
                  <a:pt x="2207" y="238"/>
                </a:lnTo>
                <a:lnTo>
                  <a:pt x="2218" y="234"/>
                </a:lnTo>
                <a:lnTo>
                  <a:pt x="2229" y="230"/>
                </a:lnTo>
                <a:lnTo>
                  <a:pt x="2241" y="227"/>
                </a:lnTo>
                <a:lnTo>
                  <a:pt x="2253" y="224"/>
                </a:lnTo>
                <a:lnTo>
                  <a:pt x="2264" y="222"/>
                </a:lnTo>
                <a:lnTo>
                  <a:pt x="2276" y="221"/>
                </a:lnTo>
                <a:lnTo>
                  <a:pt x="2288" y="221"/>
                </a:lnTo>
                <a:lnTo>
                  <a:pt x="2307" y="222"/>
                </a:lnTo>
                <a:lnTo>
                  <a:pt x="2326" y="224"/>
                </a:lnTo>
                <a:lnTo>
                  <a:pt x="2335" y="225"/>
                </a:lnTo>
                <a:lnTo>
                  <a:pt x="2344" y="228"/>
                </a:lnTo>
                <a:lnTo>
                  <a:pt x="2353" y="230"/>
                </a:lnTo>
                <a:lnTo>
                  <a:pt x="2362" y="233"/>
                </a:lnTo>
                <a:lnTo>
                  <a:pt x="2371" y="236"/>
                </a:lnTo>
                <a:lnTo>
                  <a:pt x="2380" y="240"/>
                </a:lnTo>
                <a:lnTo>
                  <a:pt x="2388" y="244"/>
                </a:lnTo>
                <a:lnTo>
                  <a:pt x="2397" y="249"/>
                </a:lnTo>
                <a:lnTo>
                  <a:pt x="2405" y="254"/>
                </a:lnTo>
                <a:lnTo>
                  <a:pt x="2413" y="259"/>
                </a:lnTo>
                <a:lnTo>
                  <a:pt x="2420" y="265"/>
                </a:lnTo>
                <a:lnTo>
                  <a:pt x="2427" y="271"/>
                </a:lnTo>
                <a:lnTo>
                  <a:pt x="2434" y="278"/>
                </a:lnTo>
                <a:lnTo>
                  <a:pt x="2441" y="285"/>
                </a:lnTo>
                <a:lnTo>
                  <a:pt x="2448" y="293"/>
                </a:lnTo>
                <a:lnTo>
                  <a:pt x="2454" y="301"/>
                </a:lnTo>
                <a:lnTo>
                  <a:pt x="2459" y="310"/>
                </a:lnTo>
                <a:lnTo>
                  <a:pt x="2464" y="319"/>
                </a:lnTo>
                <a:lnTo>
                  <a:pt x="2469" y="328"/>
                </a:lnTo>
                <a:lnTo>
                  <a:pt x="2474" y="339"/>
                </a:lnTo>
                <a:lnTo>
                  <a:pt x="2478" y="349"/>
                </a:lnTo>
                <a:lnTo>
                  <a:pt x="2481" y="360"/>
                </a:lnTo>
                <a:lnTo>
                  <a:pt x="2484" y="372"/>
                </a:lnTo>
                <a:lnTo>
                  <a:pt x="2487" y="384"/>
                </a:lnTo>
                <a:lnTo>
                  <a:pt x="2489" y="397"/>
                </a:lnTo>
                <a:lnTo>
                  <a:pt x="2490" y="410"/>
                </a:lnTo>
                <a:lnTo>
                  <a:pt x="2491" y="424"/>
                </a:lnTo>
                <a:lnTo>
                  <a:pt x="2491" y="438"/>
                </a:lnTo>
                <a:lnTo>
                  <a:pt x="2491" y="677"/>
                </a:lnTo>
                <a:close/>
                <a:moveTo>
                  <a:pt x="1589" y="677"/>
                </a:moveTo>
                <a:lnTo>
                  <a:pt x="1499" y="677"/>
                </a:lnTo>
                <a:lnTo>
                  <a:pt x="1499" y="624"/>
                </a:lnTo>
                <a:lnTo>
                  <a:pt x="1496" y="627"/>
                </a:lnTo>
                <a:lnTo>
                  <a:pt x="1493" y="631"/>
                </a:lnTo>
                <a:lnTo>
                  <a:pt x="1487" y="637"/>
                </a:lnTo>
                <a:lnTo>
                  <a:pt x="1480" y="644"/>
                </a:lnTo>
                <a:lnTo>
                  <a:pt x="1473" y="649"/>
                </a:lnTo>
                <a:lnTo>
                  <a:pt x="1457" y="660"/>
                </a:lnTo>
                <a:lnTo>
                  <a:pt x="1449" y="665"/>
                </a:lnTo>
                <a:lnTo>
                  <a:pt x="1440" y="669"/>
                </a:lnTo>
                <a:lnTo>
                  <a:pt x="1431" y="673"/>
                </a:lnTo>
                <a:lnTo>
                  <a:pt x="1422" y="676"/>
                </a:lnTo>
                <a:lnTo>
                  <a:pt x="1412" y="679"/>
                </a:lnTo>
                <a:lnTo>
                  <a:pt x="1402" y="682"/>
                </a:lnTo>
                <a:lnTo>
                  <a:pt x="1392" y="684"/>
                </a:lnTo>
                <a:lnTo>
                  <a:pt x="1381" y="685"/>
                </a:lnTo>
                <a:lnTo>
                  <a:pt x="1370" y="686"/>
                </a:lnTo>
                <a:lnTo>
                  <a:pt x="1359" y="686"/>
                </a:lnTo>
                <a:lnTo>
                  <a:pt x="1347" y="686"/>
                </a:lnTo>
                <a:lnTo>
                  <a:pt x="1335" y="685"/>
                </a:lnTo>
                <a:lnTo>
                  <a:pt x="1323" y="684"/>
                </a:lnTo>
                <a:lnTo>
                  <a:pt x="1312" y="682"/>
                </a:lnTo>
                <a:lnTo>
                  <a:pt x="1301" y="679"/>
                </a:lnTo>
                <a:lnTo>
                  <a:pt x="1290" y="676"/>
                </a:lnTo>
                <a:lnTo>
                  <a:pt x="1280" y="672"/>
                </a:lnTo>
                <a:lnTo>
                  <a:pt x="1269" y="668"/>
                </a:lnTo>
                <a:lnTo>
                  <a:pt x="1259" y="663"/>
                </a:lnTo>
                <a:lnTo>
                  <a:pt x="1250" y="658"/>
                </a:lnTo>
                <a:lnTo>
                  <a:pt x="1240" y="653"/>
                </a:lnTo>
                <a:lnTo>
                  <a:pt x="1231" y="647"/>
                </a:lnTo>
                <a:lnTo>
                  <a:pt x="1223" y="640"/>
                </a:lnTo>
                <a:lnTo>
                  <a:pt x="1214" y="633"/>
                </a:lnTo>
                <a:lnTo>
                  <a:pt x="1206" y="626"/>
                </a:lnTo>
                <a:lnTo>
                  <a:pt x="1199" y="618"/>
                </a:lnTo>
                <a:lnTo>
                  <a:pt x="1191" y="610"/>
                </a:lnTo>
                <a:lnTo>
                  <a:pt x="1184" y="602"/>
                </a:lnTo>
                <a:lnTo>
                  <a:pt x="1178" y="593"/>
                </a:lnTo>
                <a:lnTo>
                  <a:pt x="1172" y="584"/>
                </a:lnTo>
                <a:lnTo>
                  <a:pt x="1166" y="575"/>
                </a:lnTo>
                <a:lnTo>
                  <a:pt x="1161" y="565"/>
                </a:lnTo>
                <a:lnTo>
                  <a:pt x="1156" y="555"/>
                </a:lnTo>
                <a:lnTo>
                  <a:pt x="1152" y="545"/>
                </a:lnTo>
                <a:lnTo>
                  <a:pt x="1148" y="534"/>
                </a:lnTo>
                <a:lnTo>
                  <a:pt x="1144" y="523"/>
                </a:lnTo>
                <a:lnTo>
                  <a:pt x="1142" y="512"/>
                </a:lnTo>
                <a:lnTo>
                  <a:pt x="1139" y="501"/>
                </a:lnTo>
                <a:lnTo>
                  <a:pt x="1137" y="489"/>
                </a:lnTo>
                <a:lnTo>
                  <a:pt x="1136" y="478"/>
                </a:lnTo>
                <a:lnTo>
                  <a:pt x="1135" y="466"/>
                </a:lnTo>
                <a:lnTo>
                  <a:pt x="1135" y="453"/>
                </a:lnTo>
                <a:lnTo>
                  <a:pt x="1135" y="441"/>
                </a:lnTo>
                <a:lnTo>
                  <a:pt x="1136" y="429"/>
                </a:lnTo>
                <a:lnTo>
                  <a:pt x="1137" y="417"/>
                </a:lnTo>
                <a:lnTo>
                  <a:pt x="1139" y="406"/>
                </a:lnTo>
                <a:lnTo>
                  <a:pt x="1142" y="395"/>
                </a:lnTo>
                <a:lnTo>
                  <a:pt x="1143" y="389"/>
                </a:lnTo>
                <a:lnTo>
                  <a:pt x="1144" y="384"/>
                </a:lnTo>
                <a:lnTo>
                  <a:pt x="1148" y="373"/>
                </a:lnTo>
                <a:lnTo>
                  <a:pt x="1152" y="362"/>
                </a:lnTo>
                <a:lnTo>
                  <a:pt x="1156" y="352"/>
                </a:lnTo>
                <a:lnTo>
                  <a:pt x="1161" y="342"/>
                </a:lnTo>
                <a:lnTo>
                  <a:pt x="1166" y="332"/>
                </a:lnTo>
                <a:lnTo>
                  <a:pt x="1172" y="323"/>
                </a:lnTo>
                <a:lnTo>
                  <a:pt x="1178" y="314"/>
                </a:lnTo>
                <a:lnTo>
                  <a:pt x="1184" y="305"/>
                </a:lnTo>
                <a:lnTo>
                  <a:pt x="1191" y="297"/>
                </a:lnTo>
                <a:lnTo>
                  <a:pt x="1199" y="289"/>
                </a:lnTo>
                <a:lnTo>
                  <a:pt x="1206" y="281"/>
                </a:lnTo>
                <a:lnTo>
                  <a:pt x="1214" y="274"/>
                </a:lnTo>
                <a:lnTo>
                  <a:pt x="1218" y="270"/>
                </a:lnTo>
                <a:lnTo>
                  <a:pt x="1223" y="267"/>
                </a:lnTo>
                <a:lnTo>
                  <a:pt x="1231" y="260"/>
                </a:lnTo>
                <a:lnTo>
                  <a:pt x="1240" y="254"/>
                </a:lnTo>
                <a:lnTo>
                  <a:pt x="1250" y="249"/>
                </a:lnTo>
                <a:lnTo>
                  <a:pt x="1259" y="244"/>
                </a:lnTo>
                <a:lnTo>
                  <a:pt x="1269" y="239"/>
                </a:lnTo>
                <a:lnTo>
                  <a:pt x="1280" y="235"/>
                </a:lnTo>
                <a:lnTo>
                  <a:pt x="1290" y="231"/>
                </a:lnTo>
                <a:lnTo>
                  <a:pt x="1301" y="228"/>
                </a:lnTo>
                <a:lnTo>
                  <a:pt x="1312" y="226"/>
                </a:lnTo>
                <a:lnTo>
                  <a:pt x="1323" y="224"/>
                </a:lnTo>
                <a:lnTo>
                  <a:pt x="1335" y="222"/>
                </a:lnTo>
                <a:lnTo>
                  <a:pt x="1347" y="221"/>
                </a:lnTo>
                <a:lnTo>
                  <a:pt x="1359" y="221"/>
                </a:lnTo>
                <a:lnTo>
                  <a:pt x="1370" y="221"/>
                </a:lnTo>
                <a:lnTo>
                  <a:pt x="1381" y="222"/>
                </a:lnTo>
                <a:lnTo>
                  <a:pt x="1392" y="223"/>
                </a:lnTo>
                <a:lnTo>
                  <a:pt x="1402" y="225"/>
                </a:lnTo>
                <a:lnTo>
                  <a:pt x="1412" y="228"/>
                </a:lnTo>
                <a:lnTo>
                  <a:pt x="1421" y="230"/>
                </a:lnTo>
                <a:lnTo>
                  <a:pt x="1431" y="234"/>
                </a:lnTo>
                <a:lnTo>
                  <a:pt x="1440" y="238"/>
                </a:lnTo>
                <a:lnTo>
                  <a:pt x="1448" y="242"/>
                </a:lnTo>
                <a:lnTo>
                  <a:pt x="1457" y="246"/>
                </a:lnTo>
                <a:lnTo>
                  <a:pt x="1465" y="251"/>
                </a:lnTo>
                <a:lnTo>
                  <a:pt x="1468" y="254"/>
                </a:lnTo>
                <a:lnTo>
                  <a:pt x="1472" y="257"/>
                </a:lnTo>
                <a:lnTo>
                  <a:pt x="1479" y="263"/>
                </a:lnTo>
                <a:lnTo>
                  <a:pt x="1486" y="269"/>
                </a:lnTo>
                <a:lnTo>
                  <a:pt x="1493" y="275"/>
                </a:lnTo>
                <a:lnTo>
                  <a:pt x="1499" y="282"/>
                </a:lnTo>
                <a:lnTo>
                  <a:pt x="1499" y="230"/>
                </a:lnTo>
                <a:lnTo>
                  <a:pt x="1589" y="230"/>
                </a:lnTo>
                <a:lnTo>
                  <a:pt x="1589" y="677"/>
                </a:lnTo>
                <a:close/>
                <a:moveTo>
                  <a:pt x="466" y="686"/>
                </a:moveTo>
                <a:lnTo>
                  <a:pt x="452" y="686"/>
                </a:lnTo>
                <a:lnTo>
                  <a:pt x="438" y="685"/>
                </a:lnTo>
                <a:lnTo>
                  <a:pt x="424" y="684"/>
                </a:lnTo>
                <a:lnTo>
                  <a:pt x="410" y="682"/>
                </a:lnTo>
                <a:lnTo>
                  <a:pt x="395" y="679"/>
                </a:lnTo>
                <a:lnTo>
                  <a:pt x="380" y="676"/>
                </a:lnTo>
                <a:lnTo>
                  <a:pt x="365" y="672"/>
                </a:lnTo>
                <a:lnTo>
                  <a:pt x="350" y="667"/>
                </a:lnTo>
                <a:lnTo>
                  <a:pt x="335" y="662"/>
                </a:lnTo>
                <a:lnTo>
                  <a:pt x="319" y="655"/>
                </a:lnTo>
                <a:lnTo>
                  <a:pt x="304" y="648"/>
                </a:lnTo>
                <a:lnTo>
                  <a:pt x="290" y="640"/>
                </a:lnTo>
                <a:lnTo>
                  <a:pt x="275" y="632"/>
                </a:lnTo>
                <a:lnTo>
                  <a:pt x="261" y="622"/>
                </a:lnTo>
                <a:lnTo>
                  <a:pt x="247" y="611"/>
                </a:lnTo>
                <a:lnTo>
                  <a:pt x="240" y="606"/>
                </a:lnTo>
                <a:lnTo>
                  <a:pt x="233" y="600"/>
                </a:lnTo>
                <a:lnTo>
                  <a:pt x="241" y="590"/>
                </a:lnTo>
                <a:lnTo>
                  <a:pt x="258" y="567"/>
                </a:lnTo>
                <a:lnTo>
                  <a:pt x="283" y="534"/>
                </a:lnTo>
                <a:lnTo>
                  <a:pt x="286" y="537"/>
                </a:lnTo>
                <a:lnTo>
                  <a:pt x="296" y="545"/>
                </a:lnTo>
                <a:lnTo>
                  <a:pt x="303" y="551"/>
                </a:lnTo>
                <a:lnTo>
                  <a:pt x="311" y="557"/>
                </a:lnTo>
                <a:lnTo>
                  <a:pt x="321" y="563"/>
                </a:lnTo>
                <a:lnTo>
                  <a:pt x="332" y="570"/>
                </a:lnTo>
                <a:lnTo>
                  <a:pt x="345" y="577"/>
                </a:lnTo>
                <a:lnTo>
                  <a:pt x="358" y="583"/>
                </a:lnTo>
                <a:lnTo>
                  <a:pt x="365" y="586"/>
                </a:lnTo>
                <a:lnTo>
                  <a:pt x="373" y="589"/>
                </a:lnTo>
                <a:lnTo>
                  <a:pt x="388" y="595"/>
                </a:lnTo>
                <a:lnTo>
                  <a:pt x="396" y="597"/>
                </a:lnTo>
                <a:lnTo>
                  <a:pt x="405" y="599"/>
                </a:lnTo>
                <a:lnTo>
                  <a:pt x="414" y="601"/>
                </a:lnTo>
                <a:lnTo>
                  <a:pt x="423" y="603"/>
                </a:lnTo>
                <a:lnTo>
                  <a:pt x="432" y="604"/>
                </a:lnTo>
                <a:lnTo>
                  <a:pt x="441" y="605"/>
                </a:lnTo>
                <a:lnTo>
                  <a:pt x="460" y="606"/>
                </a:lnTo>
                <a:lnTo>
                  <a:pt x="478" y="606"/>
                </a:lnTo>
                <a:lnTo>
                  <a:pt x="494" y="605"/>
                </a:lnTo>
                <a:lnTo>
                  <a:pt x="508" y="603"/>
                </a:lnTo>
                <a:lnTo>
                  <a:pt x="521" y="600"/>
                </a:lnTo>
                <a:lnTo>
                  <a:pt x="533" y="597"/>
                </a:lnTo>
                <a:lnTo>
                  <a:pt x="543" y="594"/>
                </a:lnTo>
                <a:lnTo>
                  <a:pt x="551" y="590"/>
                </a:lnTo>
                <a:lnTo>
                  <a:pt x="559" y="585"/>
                </a:lnTo>
                <a:lnTo>
                  <a:pt x="565" y="581"/>
                </a:lnTo>
                <a:lnTo>
                  <a:pt x="568" y="579"/>
                </a:lnTo>
                <a:lnTo>
                  <a:pt x="571" y="576"/>
                </a:lnTo>
                <a:lnTo>
                  <a:pt x="575" y="571"/>
                </a:lnTo>
                <a:lnTo>
                  <a:pt x="578" y="567"/>
                </a:lnTo>
                <a:lnTo>
                  <a:pt x="580" y="562"/>
                </a:lnTo>
                <a:lnTo>
                  <a:pt x="582" y="557"/>
                </a:lnTo>
                <a:lnTo>
                  <a:pt x="583" y="552"/>
                </a:lnTo>
                <a:lnTo>
                  <a:pt x="583" y="548"/>
                </a:lnTo>
                <a:lnTo>
                  <a:pt x="583" y="544"/>
                </a:lnTo>
                <a:lnTo>
                  <a:pt x="583" y="540"/>
                </a:lnTo>
                <a:lnTo>
                  <a:pt x="582" y="537"/>
                </a:lnTo>
                <a:lnTo>
                  <a:pt x="580" y="534"/>
                </a:lnTo>
                <a:lnTo>
                  <a:pt x="577" y="527"/>
                </a:lnTo>
                <a:lnTo>
                  <a:pt x="575" y="525"/>
                </a:lnTo>
                <a:lnTo>
                  <a:pt x="572" y="522"/>
                </a:lnTo>
                <a:lnTo>
                  <a:pt x="569" y="520"/>
                </a:lnTo>
                <a:lnTo>
                  <a:pt x="566" y="517"/>
                </a:lnTo>
                <a:lnTo>
                  <a:pt x="559" y="513"/>
                </a:lnTo>
                <a:lnTo>
                  <a:pt x="551" y="510"/>
                </a:lnTo>
                <a:lnTo>
                  <a:pt x="542" y="507"/>
                </a:lnTo>
                <a:lnTo>
                  <a:pt x="532" y="504"/>
                </a:lnTo>
                <a:lnTo>
                  <a:pt x="521" y="502"/>
                </a:lnTo>
                <a:lnTo>
                  <a:pt x="498" y="498"/>
                </a:lnTo>
                <a:lnTo>
                  <a:pt x="447" y="491"/>
                </a:lnTo>
                <a:lnTo>
                  <a:pt x="412" y="486"/>
                </a:lnTo>
                <a:lnTo>
                  <a:pt x="394" y="484"/>
                </a:lnTo>
                <a:lnTo>
                  <a:pt x="376" y="480"/>
                </a:lnTo>
                <a:lnTo>
                  <a:pt x="358" y="476"/>
                </a:lnTo>
                <a:lnTo>
                  <a:pt x="341" y="472"/>
                </a:lnTo>
                <a:lnTo>
                  <a:pt x="324" y="466"/>
                </a:lnTo>
                <a:lnTo>
                  <a:pt x="308" y="460"/>
                </a:lnTo>
                <a:lnTo>
                  <a:pt x="301" y="456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9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49" y="294"/>
                </a:lnTo>
                <a:lnTo>
                  <a:pt x="644" y="302"/>
                </a:lnTo>
                <a:lnTo>
                  <a:pt x="627" y="326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0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1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1"/>
                </a:lnTo>
                <a:lnTo>
                  <a:pt x="327" y="355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3"/>
                </a:lnTo>
                <a:lnTo>
                  <a:pt x="443" y="407"/>
                </a:lnTo>
                <a:lnTo>
                  <a:pt x="473" y="411"/>
                </a:lnTo>
                <a:lnTo>
                  <a:pt x="513" y="416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3"/>
                </a:lnTo>
                <a:lnTo>
                  <a:pt x="645" y="468"/>
                </a:lnTo>
                <a:lnTo>
                  <a:pt x="649" y="473"/>
                </a:lnTo>
                <a:lnTo>
                  <a:pt x="654" y="479"/>
                </a:lnTo>
                <a:lnTo>
                  <a:pt x="658" y="484"/>
                </a:lnTo>
                <a:lnTo>
                  <a:pt x="662" y="491"/>
                </a:lnTo>
                <a:lnTo>
                  <a:pt x="665" y="497"/>
                </a:lnTo>
                <a:lnTo>
                  <a:pt x="668" y="504"/>
                </a:lnTo>
                <a:lnTo>
                  <a:pt x="670" y="512"/>
                </a:lnTo>
                <a:lnTo>
                  <a:pt x="672" y="519"/>
                </a:lnTo>
                <a:lnTo>
                  <a:pt x="673" y="528"/>
                </a:lnTo>
                <a:lnTo>
                  <a:pt x="674" y="536"/>
                </a:lnTo>
                <a:lnTo>
                  <a:pt x="674" y="545"/>
                </a:lnTo>
                <a:lnTo>
                  <a:pt x="674" y="553"/>
                </a:lnTo>
                <a:lnTo>
                  <a:pt x="673" y="560"/>
                </a:lnTo>
                <a:lnTo>
                  <a:pt x="672" y="567"/>
                </a:lnTo>
                <a:lnTo>
                  <a:pt x="670" y="574"/>
                </a:lnTo>
                <a:lnTo>
                  <a:pt x="668" y="581"/>
                </a:lnTo>
                <a:lnTo>
                  <a:pt x="666" y="588"/>
                </a:lnTo>
                <a:lnTo>
                  <a:pt x="663" y="594"/>
                </a:lnTo>
                <a:lnTo>
                  <a:pt x="659" y="601"/>
                </a:lnTo>
                <a:lnTo>
                  <a:pt x="655" y="607"/>
                </a:lnTo>
                <a:lnTo>
                  <a:pt x="651" y="613"/>
                </a:lnTo>
                <a:lnTo>
                  <a:pt x="646" y="619"/>
                </a:lnTo>
                <a:lnTo>
                  <a:pt x="641" y="625"/>
                </a:lnTo>
                <a:lnTo>
                  <a:pt x="635" y="630"/>
                </a:lnTo>
                <a:lnTo>
                  <a:pt x="629" y="635"/>
                </a:lnTo>
                <a:lnTo>
                  <a:pt x="623" y="640"/>
                </a:lnTo>
                <a:lnTo>
                  <a:pt x="616" y="645"/>
                </a:lnTo>
                <a:lnTo>
                  <a:pt x="609" y="650"/>
                </a:lnTo>
                <a:lnTo>
                  <a:pt x="602" y="654"/>
                </a:lnTo>
                <a:lnTo>
                  <a:pt x="586" y="662"/>
                </a:lnTo>
                <a:lnTo>
                  <a:pt x="569" y="669"/>
                </a:lnTo>
                <a:lnTo>
                  <a:pt x="560" y="673"/>
                </a:lnTo>
                <a:lnTo>
                  <a:pt x="550" y="675"/>
                </a:lnTo>
                <a:lnTo>
                  <a:pt x="531" y="680"/>
                </a:lnTo>
                <a:lnTo>
                  <a:pt x="510" y="683"/>
                </a:lnTo>
                <a:lnTo>
                  <a:pt x="499" y="685"/>
                </a:lnTo>
                <a:lnTo>
                  <a:pt x="488" y="686"/>
                </a:lnTo>
                <a:lnTo>
                  <a:pt x="466" y="686"/>
                </a:lnTo>
                <a:close/>
                <a:moveTo>
                  <a:pt x="0" y="0"/>
                </a:moveTo>
                <a:lnTo>
                  <a:pt x="0" y="453"/>
                </a:lnTo>
                <a:lnTo>
                  <a:pt x="0" y="908"/>
                </a:lnTo>
                <a:lnTo>
                  <a:pt x="680" y="908"/>
                </a:lnTo>
                <a:lnTo>
                  <a:pt x="1361" y="908"/>
                </a:lnTo>
                <a:lnTo>
                  <a:pt x="2041" y="908"/>
                </a:lnTo>
                <a:lnTo>
                  <a:pt x="2723" y="908"/>
                </a:lnTo>
                <a:lnTo>
                  <a:pt x="3403" y="908"/>
                </a:lnTo>
                <a:lnTo>
                  <a:pt x="4084" y="908"/>
                </a:lnTo>
                <a:lnTo>
                  <a:pt x="4765" y="908"/>
                </a:lnTo>
                <a:lnTo>
                  <a:pt x="5446" y="908"/>
                </a:lnTo>
                <a:lnTo>
                  <a:pt x="5446" y="453"/>
                </a:lnTo>
                <a:lnTo>
                  <a:pt x="5446" y="0"/>
                </a:lnTo>
                <a:lnTo>
                  <a:pt x="4765" y="0"/>
                </a:lnTo>
                <a:lnTo>
                  <a:pt x="4084" y="0"/>
                </a:lnTo>
                <a:lnTo>
                  <a:pt x="3403" y="0"/>
                </a:lnTo>
                <a:lnTo>
                  <a:pt x="2723" y="0"/>
                </a:lnTo>
                <a:lnTo>
                  <a:pt x="2041" y="0"/>
                </a:lnTo>
                <a:lnTo>
                  <a:pt x="1361" y="0"/>
                </a:lnTo>
                <a:lnTo>
                  <a:pt x="680" y="0"/>
                </a:lnTo>
                <a:lnTo>
                  <a:pt x="0" y="0"/>
                </a:lnTo>
                <a:close/>
                <a:moveTo>
                  <a:pt x="1367" y="297"/>
                </a:moveTo>
                <a:lnTo>
                  <a:pt x="1358" y="297"/>
                </a:lnTo>
                <a:lnTo>
                  <a:pt x="1349" y="298"/>
                </a:lnTo>
                <a:lnTo>
                  <a:pt x="1341" y="299"/>
                </a:lnTo>
                <a:lnTo>
                  <a:pt x="1333" y="300"/>
                </a:lnTo>
                <a:lnTo>
                  <a:pt x="1325" y="302"/>
                </a:lnTo>
                <a:lnTo>
                  <a:pt x="1318" y="305"/>
                </a:lnTo>
                <a:lnTo>
                  <a:pt x="1311" y="307"/>
                </a:lnTo>
                <a:lnTo>
                  <a:pt x="1304" y="311"/>
                </a:lnTo>
                <a:lnTo>
                  <a:pt x="1291" y="318"/>
                </a:lnTo>
                <a:lnTo>
                  <a:pt x="1279" y="327"/>
                </a:lnTo>
                <a:lnTo>
                  <a:pt x="1274" y="331"/>
                </a:lnTo>
                <a:lnTo>
                  <a:pt x="1269" y="336"/>
                </a:lnTo>
                <a:lnTo>
                  <a:pt x="1259" y="347"/>
                </a:lnTo>
                <a:lnTo>
                  <a:pt x="1255" y="353"/>
                </a:lnTo>
                <a:lnTo>
                  <a:pt x="1251" y="359"/>
                </a:lnTo>
                <a:lnTo>
                  <a:pt x="1244" y="371"/>
                </a:lnTo>
                <a:lnTo>
                  <a:pt x="1241" y="377"/>
                </a:lnTo>
                <a:lnTo>
                  <a:pt x="1238" y="384"/>
                </a:lnTo>
                <a:lnTo>
                  <a:pt x="1233" y="397"/>
                </a:lnTo>
                <a:lnTo>
                  <a:pt x="1229" y="411"/>
                </a:lnTo>
                <a:lnTo>
                  <a:pt x="1226" y="425"/>
                </a:lnTo>
                <a:lnTo>
                  <a:pt x="1225" y="439"/>
                </a:lnTo>
                <a:lnTo>
                  <a:pt x="1224" y="454"/>
                </a:lnTo>
                <a:lnTo>
                  <a:pt x="1225" y="469"/>
                </a:lnTo>
                <a:lnTo>
                  <a:pt x="1225" y="476"/>
                </a:lnTo>
                <a:lnTo>
                  <a:pt x="1226" y="483"/>
                </a:lnTo>
                <a:lnTo>
                  <a:pt x="1229" y="497"/>
                </a:lnTo>
                <a:lnTo>
                  <a:pt x="1231" y="504"/>
                </a:lnTo>
                <a:lnTo>
                  <a:pt x="1233" y="510"/>
                </a:lnTo>
                <a:lnTo>
                  <a:pt x="1235" y="517"/>
                </a:lnTo>
                <a:lnTo>
                  <a:pt x="1238" y="524"/>
                </a:lnTo>
                <a:lnTo>
                  <a:pt x="1241" y="530"/>
                </a:lnTo>
                <a:lnTo>
                  <a:pt x="1244" y="537"/>
                </a:lnTo>
                <a:lnTo>
                  <a:pt x="1247" y="543"/>
                </a:lnTo>
                <a:lnTo>
                  <a:pt x="1251" y="549"/>
                </a:lnTo>
                <a:lnTo>
                  <a:pt x="1255" y="555"/>
                </a:lnTo>
                <a:lnTo>
                  <a:pt x="1259" y="561"/>
                </a:lnTo>
                <a:lnTo>
                  <a:pt x="1264" y="566"/>
                </a:lnTo>
                <a:lnTo>
                  <a:pt x="1269" y="571"/>
                </a:lnTo>
                <a:lnTo>
                  <a:pt x="1274" y="576"/>
                </a:lnTo>
                <a:lnTo>
                  <a:pt x="1279" y="581"/>
                </a:lnTo>
                <a:lnTo>
                  <a:pt x="1285" y="585"/>
                </a:lnTo>
                <a:lnTo>
                  <a:pt x="1291" y="589"/>
                </a:lnTo>
                <a:lnTo>
                  <a:pt x="1297" y="593"/>
                </a:lnTo>
                <a:lnTo>
                  <a:pt x="1304" y="597"/>
                </a:lnTo>
                <a:lnTo>
                  <a:pt x="1311" y="600"/>
                </a:lnTo>
                <a:lnTo>
                  <a:pt x="1318" y="603"/>
                </a:lnTo>
                <a:lnTo>
                  <a:pt x="1325" y="605"/>
                </a:lnTo>
                <a:lnTo>
                  <a:pt x="1333" y="607"/>
                </a:lnTo>
                <a:lnTo>
                  <a:pt x="1341" y="608"/>
                </a:lnTo>
                <a:lnTo>
                  <a:pt x="1349" y="610"/>
                </a:lnTo>
                <a:lnTo>
                  <a:pt x="1358" y="610"/>
                </a:lnTo>
                <a:lnTo>
                  <a:pt x="1367" y="611"/>
                </a:lnTo>
                <a:lnTo>
                  <a:pt x="1379" y="610"/>
                </a:lnTo>
                <a:lnTo>
                  <a:pt x="1392" y="608"/>
                </a:lnTo>
                <a:lnTo>
                  <a:pt x="1405" y="605"/>
                </a:lnTo>
                <a:lnTo>
                  <a:pt x="1417" y="601"/>
                </a:lnTo>
                <a:lnTo>
                  <a:pt x="1423" y="599"/>
                </a:lnTo>
                <a:lnTo>
                  <a:pt x="1428" y="596"/>
                </a:lnTo>
                <a:lnTo>
                  <a:pt x="1440" y="589"/>
                </a:lnTo>
                <a:lnTo>
                  <a:pt x="1445" y="586"/>
                </a:lnTo>
                <a:lnTo>
                  <a:pt x="1450" y="582"/>
                </a:lnTo>
                <a:lnTo>
                  <a:pt x="1455" y="577"/>
                </a:lnTo>
                <a:lnTo>
                  <a:pt x="1460" y="573"/>
                </a:lnTo>
                <a:lnTo>
                  <a:pt x="1465" y="568"/>
                </a:lnTo>
                <a:lnTo>
                  <a:pt x="1469" y="562"/>
                </a:lnTo>
                <a:lnTo>
                  <a:pt x="1473" y="557"/>
                </a:lnTo>
                <a:lnTo>
                  <a:pt x="1477" y="551"/>
                </a:lnTo>
                <a:lnTo>
                  <a:pt x="1485" y="538"/>
                </a:lnTo>
                <a:lnTo>
                  <a:pt x="1488" y="531"/>
                </a:lnTo>
                <a:lnTo>
                  <a:pt x="1491" y="524"/>
                </a:lnTo>
                <a:lnTo>
                  <a:pt x="1495" y="509"/>
                </a:lnTo>
                <a:lnTo>
                  <a:pt x="1497" y="500"/>
                </a:lnTo>
                <a:lnTo>
                  <a:pt x="1499" y="492"/>
                </a:lnTo>
                <a:lnTo>
                  <a:pt x="1500" y="483"/>
                </a:lnTo>
                <a:lnTo>
                  <a:pt x="1501" y="474"/>
                </a:lnTo>
                <a:lnTo>
                  <a:pt x="1502" y="464"/>
                </a:lnTo>
                <a:lnTo>
                  <a:pt x="1502" y="454"/>
                </a:lnTo>
                <a:lnTo>
                  <a:pt x="1502" y="444"/>
                </a:lnTo>
                <a:lnTo>
                  <a:pt x="1501" y="434"/>
                </a:lnTo>
                <a:lnTo>
                  <a:pt x="1500" y="425"/>
                </a:lnTo>
                <a:lnTo>
                  <a:pt x="1499" y="416"/>
                </a:lnTo>
                <a:lnTo>
                  <a:pt x="1495" y="399"/>
                </a:lnTo>
                <a:lnTo>
                  <a:pt x="1493" y="391"/>
                </a:lnTo>
                <a:lnTo>
                  <a:pt x="1491" y="384"/>
                </a:lnTo>
                <a:lnTo>
                  <a:pt x="1488" y="376"/>
                </a:lnTo>
                <a:lnTo>
                  <a:pt x="1485" y="369"/>
                </a:lnTo>
                <a:lnTo>
                  <a:pt x="1481" y="363"/>
                </a:lnTo>
                <a:lnTo>
                  <a:pt x="1477" y="356"/>
                </a:lnTo>
                <a:lnTo>
                  <a:pt x="1473" y="351"/>
                </a:lnTo>
                <a:lnTo>
                  <a:pt x="1469" y="345"/>
                </a:lnTo>
                <a:lnTo>
                  <a:pt x="1460" y="335"/>
                </a:lnTo>
                <a:lnTo>
                  <a:pt x="1450" y="326"/>
                </a:lnTo>
                <a:lnTo>
                  <a:pt x="1440" y="318"/>
                </a:lnTo>
                <a:lnTo>
                  <a:pt x="1434" y="314"/>
                </a:lnTo>
                <a:lnTo>
                  <a:pt x="1428" y="311"/>
                </a:lnTo>
                <a:lnTo>
                  <a:pt x="1423" y="308"/>
                </a:lnTo>
                <a:lnTo>
                  <a:pt x="1417" y="306"/>
                </a:lnTo>
                <a:lnTo>
                  <a:pt x="1411" y="304"/>
                </a:lnTo>
                <a:lnTo>
                  <a:pt x="1405" y="302"/>
                </a:lnTo>
                <a:lnTo>
                  <a:pt x="1398" y="300"/>
                </a:lnTo>
                <a:lnTo>
                  <a:pt x="1392" y="299"/>
                </a:lnTo>
                <a:lnTo>
                  <a:pt x="1379" y="297"/>
                </a:lnTo>
                <a:lnTo>
                  <a:pt x="1373" y="297"/>
                </a:lnTo>
                <a:lnTo>
                  <a:pt x="1367" y="297"/>
                </a:lnTo>
                <a:close/>
                <a:moveTo>
                  <a:pt x="3177" y="301"/>
                </a:moveTo>
                <a:lnTo>
                  <a:pt x="3162" y="302"/>
                </a:lnTo>
                <a:lnTo>
                  <a:pt x="3148" y="304"/>
                </a:lnTo>
                <a:lnTo>
                  <a:pt x="3141" y="305"/>
                </a:lnTo>
                <a:lnTo>
                  <a:pt x="3135" y="307"/>
                </a:lnTo>
                <a:lnTo>
                  <a:pt x="3128" y="310"/>
                </a:lnTo>
                <a:lnTo>
                  <a:pt x="3121" y="312"/>
                </a:lnTo>
                <a:lnTo>
                  <a:pt x="3115" y="315"/>
                </a:lnTo>
                <a:lnTo>
                  <a:pt x="3109" y="318"/>
                </a:lnTo>
                <a:lnTo>
                  <a:pt x="3103" y="321"/>
                </a:lnTo>
                <a:lnTo>
                  <a:pt x="3097" y="325"/>
                </a:lnTo>
                <a:lnTo>
                  <a:pt x="3092" y="329"/>
                </a:lnTo>
                <a:lnTo>
                  <a:pt x="3086" y="334"/>
                </a:lnTo>
                <a:lnTo>
                  <a:pt x="3081" y="338"/>
                </a:lnTo>
                <a:lnTo>
                  <a:pt x="3076" y="343"/>
                </a:lnTo>
                <a:lnTo>
                  <a:pt x="3071" y="348"/>
                </a:lnTo>
                <a:lnTo>
                  <a:pt x="3067" y="353"/>
                </a:lnTo>
                <a:lnTo>
                  <a:pt x="3063" y="359"/>
                </a:lnTo>
                <a:lnTo>
                  <a:pt x="3059" y="365"/>
                </a:lnTo>
                <a:lnTo>
                  <a:pt x="3052" y="377"/>
                </a:lnTo>
                <a:lnTo>
                  <a:pt x="3048" y="384"/>
                </a:lnTo>
                <a:lnTo>
                  <a:pt x="3046" y="391"/>
                </a:lnTo>
                <a:lnTo>
                  <a:pt x="3043" y="398"/>
                </a:lnTo>
                <a:lnTo>
                  <a:pt x="3041" y="405"/>
                </a:lnTo>
                <a:lnTo>
                  <a:pt x="3039" y="413"/>
                </a:lnTo>
                <a:lnTo>
                  <a:pt x="3037" y="420"/>
                </a:lnTo>
                <a:lnTo>
                  <a:pt x="3035" y="436"/>
                </a:lnTo>
                <a:lnTo>
                  <a:pt x="3034" y="453"/>
                </a:lnTo>
                <a:lnTo>
                  <a:pt x="3034" y="462"/>
                </a:lnTo>
                <a:lnTo>
                  <a:pt x="3035" y="470"/>
                </a:lnTo>
                <a:lnTo>
                  <a:pt x="3036" y="478"/>
                </a:lnTo>
                <a:lnTo>
                  <a:pt x="3037" y="486"/>
                </a:lnTo>
                <a:lnTo>
                  <a:pt x="3041" y="501"/>
                </a:lnTo>
                <a:lnTo>
                  <a:pt x="3046" y="515"/>
                </a:lnTo>
                <a:lnTo>
                  <a:pt x="3052" y="529"/>
                </a:lnTo>
                <a:lnTo>
                  <a:pt x="3055" y="535"/>
                </a:lnTo>
                <a:lnTo>
                  <a:pt x="3059" y="541"/>
                </a:lnTo>
                <a:lnTo>
                  <a:pt x="3063" y="547"/>
                </a:lnTo>
                <a:lnTo>
                  <a:pt x="3067" y="553"/>
                </a:lnTo>
                <a:lnTo>
                  <a:pt x="3071" y="558"/>
                </a:lnTo>
                <a:lnTo>
                  <a:pt x="3076" y="563"/>
                </a:lnTo>
                <a:lnTo>
                  <a:pt x="3081" y="568"/>
                </a:lnTo>
                <a:lnTo>
                  <a:pt x="3086" y="573"/>
                </a:lnTo>
                <a:lnTo>
                  <a:pt x="3092" y="577"/>
                </a:lnTo>
                <a:lnTo>
                  <a:pt x="3097" y="581"/>
                </a:lnTo>
                <a:lnTo>
                  <a:pt x="3109" y="588"/>
                </a:lnTo>
                <a:lnTo>
                  <a:pt x="3115" y="591"/>
                </a:lnTo>
                <a:lnTo>
                  <a:pt x="3121" y="594"/>
                </a:lnTo>
                <a:lnTo>
                  <a:pt x="3135" y="599"/>
                </a:lnTo>
                <a:lnTo>
                  <a:pt x="3148" y="602"/>
                </a:lnTo>
                <a:lnTo>
                  <a:pt x="3155" y="604"/>
                </a:lnTo>
                <a:lnTo>
                  <a:pt x="3162" y="604"/>
                </a:lnTo>
                <a:lnTo>
                  <a:pt x="3177" y="605"/>
                </a:lnTo>
                <a:lnTo>
                  <a:pt x="3192" y="604"/>
                </a:lnTo>
                <a:lnTo>
                  <a:pt x="3206" y="602"/>
                </a:lnTo>
                <a:lnTo>
                  <a:pt x="3213" y="601"/>
                </a:lnTo>
                <a:lnTo>
                  <a:pt x="3219" y="599"/>
                </a:lnTo>
                <a:lnTo>
                  <a:pt x="3226" y="597"/>
                </a:lnTo>
                <a:lnTo>
                  <a:pt x="3232" y="594"/>
                </a:lnTo>
                <a:lnTo>
                  <a:pt x="3239" y="591"/>
                </a:lnTo>
                <a:lnTo>
                  <a:pt x="3245" y="588"/>
                </a:lnTo>
                <a:lnTo>
                  <a:pt x="3251" y="585"/>
                </a:lnTo>
                <a:lnTo>
                  <a:pt x="3257" y="581"/>
                </a:lnTo>
                <a:lnTo>
                  <a:pt x="3262" y="577"/>
                </a:lnTo>
                <a:lnTo>
                  <a:pt x="3268" y="573"/>
                </a:lnTo>
                <a:lnTo>
                  <a:pt x="3273" y="568"/>
                </a:lnTo>
                <a:lnTo>
                  <a:pt x="3278" y="563"/>
                </a:lnTo>
                <a:lnTo>
                  <a:pt x="3282" y="558"/>
                </a:lnTo>
                <a:lnTo>
                  <a:pt x="3287" y="553"/>
                </a:lnTo>
                <a:lnTo>
                  <a:pt x="3291" y="547"/>
                </a:lnTo>
                <a:lnTo>
                  <a:pt x="3295" y="541"/>
                </a:lnTo>
                <a:lnTo>
                  <a:pt x="3302" y="529"/>
                </a:lnTo>
                <a:lnTo>
                  <a:pt x="3305" y="522"/>
                </a:lnTo>
                <a:lnTo>
                  <a:pt x="3308" y="515"/>
                </a:lnTo>
                <a:lnTo>
                  <a:pt x="3311" y="508"/>
                </a:lnTo>
                <a:lnTo>
                  <a:pt x="3313" y="501"/>
                </a:lnTo>
                <a:lnTo>
                  <a:pt x="3315" y="494"/>
                </a:lnTo>
                <a:lnTo>
                  <a:pt x="3317" y="486"/>
                </a:lnTo>
                <a:lnTo>
                  <a:pt x="3319" y="470"/>
                </a:lnTo>
                <a:lnTo>
                  <a:pt x="3320" y="453"/>
                </a:lnTo>
                <a:lnTo>
                  <a:pt x="3319" y="444"/>
                </a:lnTo>
                <a:lnTo>
                  <a:pt x="3319" y="436"/>
                </a:lnTo>
                <a:lnTo>
                  <a:pt x="3318" y="428"/>
                </a:lnTo>
                <a:lnTo>
                  <a:pt x="3317" y="420"/>
                </a:lnTo>
                <a:lnTo>
                  <a:pt x="3313" y="405"/>
                </a:lnTo>
                <a:lnTo>
                  <a:pt x="3308" y="391"/>
                </a:lnTo>
                <a:lnTo>
                  <a:pt x="3302" y="377"/>
                </a:lnTo>
                <a:lnTo>
                  <a:pt x="3299" y="371"/>
                </a:lnTo>
                <a:lnTo>
                  <a:pt x="3295" y="365"/>
                </a:lnTo>
                <a:lnTo>
                  <a:pt x="3291" y="359"/>
                </a:lnTo>
                <a:lnTo>
                  <a:pt x="3287" y="353"/>
                </a:lnTo>
                <a:lnTo>
                  <a:pt x="3282" y="348"/>
                </a:lnTo>
                <a:lnTo>
                  <a:pt x="3278" y="343"/>
                </a:lnTo>
                <a:lnTo>
                  <a:pt x="3273" y="338"/>
                </a:lnTo>
                <a:lnTo>
                  <a:pt x="3268" y="334"/>
                </a:lnTo>
                <a:lnTo>
                  <a:pt x="3262" y="329"/>
                </a:lnTo>
                <a:lnTo>
                  <a:pt x="3257" y="325"/>
                </a:lnTo>
                <a:lnTo>
                  <a:pt x="3245" y="318"/>
                </a:lnTo>
                <a:lnTo>
                  <a:pt x="3239" y="315"/>
                </a:lnTo>
                <a:lnTo>
                  <a:pt x="3232" y="312"/>
                </a:lnTo>
                <a:lnTo>
                  <a:pt x="3219" y="307"/>
                </a:lnTo>
                <a:lnTo>
                  <a:pt x="3206" y="304"/>
                </a:lnTo>
                <a:lnTo>
                  <a:pt x="3199" y="303"/>
                </a:lnTo>
                <a:lnTo>
                  <a:pt x="3192" y="302"/>
                </a:lnTo>
                <a:lnTo>
                  <a:pt x="3177" y="301"/>
                </a:lnTo>
                <a:close/>
                <a:moveTo>
                  <a:pt x="4997" y="297"/>
                </a:moveTo>
                <a:lnTo>
                  <a:pt x="4988" y="297"/>
                </a:lnTo>
                <a:lnTo>
                  <a:pt x="4979" y="298"/>
                </a:lnTo>
                <a:lnTo>
                  <a:pt x="4971" y="299"/>
                </a:lnTo>
                <a:lnTo>
                  <a:pt x="4963" y="300"/>
                </a:lnTo>
                <a:lnTo>
                  <a:pt x="4955" y="302"/>
                </a:lnTo>
                <a:lnTo>
                  <a:pt x="4948" y="305"/>
                </a:lnTo>
                <a:lnTo>
                  <a:pt x="4941" y="307"/>
                </a:lnTo>
                <a:lnTo>
                  <a:pt x="4934" y="311"/>
                </a:lnTo>
                <a:lnTo>
                  <a:pt x="4921" y="318"/>
                </a:lnTo>
                <a:lnTo>
                  <a:pt x="4910" y="327"/>
                </a:lnTo>
                <a:lnTo>
                  <a:pt x="4904" y="331"/>
                </a:lnTo>
                <a:lnTo>
                  <a:pt x="4899" y="336"/>
                </a:lnTo>
                <a:lnTo>
                  <a:pt x="4890" y="347"/>
                </a:lnTo>
                <a:lnTo>
                  <a:pt x="4885" y="353"/>
                </a:lnTo>
                <a:lnTo>
                  <a:pt x="4881" y="359"/>
                </a:lnTo>
                <a:lnTo>
                  <a:pt x="4874" y="371"/>
                </a:lnTo>
                <a:lnTo>
                  <a:pt x="4871" y="377"/>
                </a:lnTo>
                <a:lnTo>
                  <a:pt x="4868" y="384"/>
                </a:lnTo>
                <a:lnTo>
                  <a:pt x="4863" y="397"/>
                </a:lnTo>
                <a:lnTo>
                  <a:pt x="4859" y="411"/>
                </a:lnTo>
                <a:lnTo>
                  <a:pt x="4856" y="425"/>
                </a:lnTo>
                <a:lnTo>
                  <a:pt x="4855" y="439"/>
                </a:lnTo>
                <a:lnTo>
                  <a:pt x="4854" y="454"/>
                </a:lnTo>
                <a:lnTo>
                  <a:pt x="4855" y="469"/>
                </a:lnTo>
                <a:lnTo>
                  <a:pt x="4856" y="476"/>
                </a:lnTo>
                <a:lnTo>
                  <a:pt x="4856" y="483"/>
                </a:lnTo>
                <a:lnTo>
                  <a:pt x="4859" y="497"/>
                </a:lnTo>
                <a:lnTo>
                  <a:pt x="4861" y="504"/>
                </a:lnTo>
                <a:lnTo>
                  <a:pt x="4863" y="510"/>
                </a:lnTo>
                <a:lnTo>
                  <a:pt x="4865" y="517"/>
                </a:lnTo>
                <a:lnTo>
                  <a:pt x="4868" y="524"/>
                </a:lnTo>
                <a:lnTo>
                  <a:pt x="4871" y="530"/>
                </a:lnTo>
                <a:lnTo>
                  <a:pt x="4874" y="537"/>
                </a:lnTo>
                <a:lnTo>
                  <a:pt x="4878" y="543"/>
                </a:lnTo>
                <a:lnTo>
                  <a:pt x="4881" y="549"/>
                </a:lnTo>
                <a:lnTo>
                  <a:pt x="4885" y="555"/>
                </a:lnTo>
                <a:lnTo>
                  <a:pt x="4890" y="561"/>
                </a:lnTo>
                <a:lnTo>
                  <a:pt x="4894" y="566"/>
                </a:lnTo>
                <a:lnTo>
                  <a:pt x="4899" y="571"/>
                </a:lnTo>
                <a:lnTo>
                  <a:pt x="4904" y="576"/>
                </a:lnTo>
                <a:lnTo>
                  <a:pt x="4910" y="581"/>
                </a:lnTo>
                <a:lnTo>
                  <a:pt x="4915" y="585"/>
                </a:lnTo>
                <a:lnTo>
                  <a:pt x="4921" y="589"/>
                </a:lnTo>
                <a:lnTo>
                  <a:pt x="4927" y="593"/>
                </a:lnTo>
                <a:lnTo>
                  <a:pt x="4934" y="597"/>
                </a:lnTo>
                <a:lnTo>
                  <a:pt x="4941" y="600"/>
                </a:lnTo>
                <a:lnTo>
                  <a:pt x="4948" y="603"/>
                </a:lnTo>
                <a:lnTo>
                  <a:pt x="4955" y="605"/>
                </a:lnTo>
                <a:lnTo>
                  <a:pt x="4963" y="607"/>
                </a:lnTo>
                <a:lnTo>
                  <a:pt x="4971" y="608"/>
                </a:lnTo>
                <a:lnTo>
                  <a:pt x="4979" y="610"/>
                </a:lnTo>
                <a:lnTo>
                  <a:pt x="4988" y="610"/>
                </a:lnTo>
                <a:lnTo>
                  <a:pt x="4997" y="611"/>
                </a:lnTo>
                <a:lnTo>
                  <a:pt x="5010" y="610"/>
                </a:lnTo>
                <a:lnTo>
                  <a:pt x="5022" y="608"/>
                </a:lnTo>
                <a:lnTo>
                  <a:pt x="5035" y="605"/>
                </a:lnTo>
                <a:lnTo>
                  <a:pt x="5047" y="601"/>
                </a:lnTo>
                <a:lnTo>
                  <a:pt x="5053" y="599"/>
                </a:lnTo>
                <a:lnTo>
                  <a:pt x="5059" y="596"/>
                </a:lnTo>
                <a:lnTo>
                  <a:pt x="5070" y="589"/>
                </a:lnTo>
                <a:lnTo>
                  <a:pt x="5075" y="586"/>
                </a:lnTo>
                <a:lnTo>
                  <a:pt x="5081" y="582"/>
                </a:lnTo>
                <a:lnTo>
                  <a:pt x="5086" y="577"/>
                </a:lnTo>
                <a:lnTo>
                  <a:pt x="5090" y="573"/>
                </a:lnTo>
                <a:lnTo>
                  <a:pt x="5095" y="568"/>
                </a:lnTo>
                <a:lnTo>
                  <a:pt x="5100" y="562"/>
                </a:lnTo>
                <a:lnTo>
                  <a:pt x="5104" y="557"/>
                </a:lnTo>
                <a:lnTo>
                  <a:pt x="5108" y="551"/>
                </a:lnTo>
                <a:lnTo>
                  <a:pt x="5115" y="538"/>
                </a:lnTo>
                <a:lnTo>
                  <a:pt x="5118" y="531"/>
                </a:lnTo>
                <a:lnTo>
                  <a:pt x="5121" y="524"/>
                </a:lnTo>
                <a:lnTo>
                  <a:pt x="5126" y="509"/>
                </a:lnTo>
                <a:lnTo>
                  <a:pt x="5128" y="500"/>
                </a:lnTo>
                <a:lnTo>
                  <a:pt x="5129" y="492"/>
                </a:lnTo>
                <a:lnTo>
                  <a:pt x="5131" y="483"/>
                </a:lnTo>
                <a:lnTo>
                  <a:pt x="5132" y="474"/>
                </a:lnTo>
                <a:lnTo>
                  <a:pt x="5132" y="464"/>
                </a:lnTo>
                <a:lnTo>
                  <a:pt x="5132" y="454"/>
                </a:lnTo>
                <a:lnTo>
                  <a:pt x="5132" y="444"/>
                </a:lnTo>
                <a:lnTo>
                  <a:pt x="5132" y="434"/>
                </a:lnTo>
                <a:lnTo>
                  <a:pt x="5131" y="425"/>
                </a:lnTo>
                <a:lnTo>
                  <a:pt x="5129" y="416"/>
                </a:lnTo>
                <a:lnTo>
                  <a:pt x="5126" y="399"/>
                </a:lnTo>
                <a:lnTo>
                  <a:pt x="5124" y="391"/>
                </a:lnTo>
                <a:lnTo>
                  <a:pt x="5121" y="384"/>
                </a:lnTo>
                <a:lnTo>
                  <a:pt x="5118" y="376"/>
                </a:lnTo>
                <a:lnTo>
                  <a:pt x="5115" y="369"/>
                </a:lnTo>
                <a:lnTo>
                  <a:pt x="5111" y="363"/>
                </a:lnTo>
                <a:lnTo>
                  <a:pt x="5108" y="356"/>
                </a:lnTo>
                <a:lnTo>
                  <a:pt x="5104" y="351"/>
                </a:lnTo>
                <a:lnTo>
                  <a:pt x="5100" y="345"/>
                </a:lnTo>
                <a:lnTo>
                  <a:pt x="5090" y="335"/>
                </a:lnTo>
                <a:lnTo>
                  <a:pt x="5081" y="326"/>
                </a:lnTo>
                <a:lnTo>
                  <a:pt x="5070" y="318"/>
                </a:lnTo>
                <a:lnTo>
                  <a:pt x="5064" y="314"/>
                </a:lnTo>
                <a:lnTo>
                  <a:pt x="5059" y="311"/>
                </a:lnTo>
                <a:lnTo>
                  <a:pt x="5053" y="308"/>
                </a:lnTo>
                <a:lnTo>
                  <a:pt x="5047" y="306"/>
                </a:lnTo>
                <a:lnTo>
                  <a:pt x="5041" y="304"/>
                </a:lnTo>
                <a:lnTo>
                  <a:pt x="5035" y="302"/>
                </a:lnTo>
                <a:lnTo>
                  <a:pt x="5029" y="300"/>
                </a:lnTo>
                <a:lnTo>
                  <a:pt x="5022" y="299"/>
                </a:lnTo>
                <a:lnTo>
                  <a:pt x="5010" y="297"/>
                </a:lnTo>
                <a:lnTo>
                  <a:pt x="5003" y="297"/>
                </a:lnTo>
                <a:lnTo>
                  <a:pt x="4997" y="29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663" tIns="34332" rIns="68663" bIns="34332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fi-FI" sz="1400">
              <a:solidFill>
                <a:srgbClr val="4D4D4D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CD6CF40-0E07-3E45-B836-8996FC43263B}" type="datetime3">
              <a:rPr lang="nl-NL" smtClean="0"/>
              <a:pPr/>
              <a:t>3/12/15</a:t>
            </a:fld>
            <a:endParaRPr lang="fi-FI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smtClean="0"/>
              <a:t>EMG digital input - MOBILE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BA1D61E-DCAC-4F3F-A9E2-B5195B305580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2882000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Titelstijl van model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tekststijl van het model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63CB7-97EC-6541-928D-70A3758FE1D2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4260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webs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8599834" y="40721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7021310" y="4607662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073A0AC-BDB7-EA42-A434-6C495D4EB85E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pic>
        <p:nvPicPr>
          <p:cNvPr id="24" name="Afbeelding 23" descr="macbook_pro-1bb56f20ff27ca5fcd20f0a439ae62f9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650384" y="1021850"/>
            <a:ext cx="5843234" cy="3103347"/>
          </a:xfrm>
          <a:prstGeom prst="rect">
            <a:avLst/>
          </a:prstGeom>
        </p:spPr>
      </p:pic>
      <p:sp>
        <p:nvSpPr>
          <p:cNvPr id="2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575462" y="1235079"/>
            <a:ext cx="3993676" cy="2454208"/>
          </a:xfrm>
          <a:noFill/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grpSp>
        <p:nvGrpSpPr>
          <p:cNvPr id="25" name="Group 23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27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F1C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28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29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0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1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2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3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4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5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7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8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9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78023011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text and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40"/>
          <p:cNvSpPr/>
          <p:nvPr userDrawn="1"/>
        </p:nvSpPr>
        <p:spPr>
          <a:xfrm>
            <a:off x="3863310" y="491917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8599834" y="40721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7021310" y="4607662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5088E2-103C-8C4E-BA0D-D6CFA2CBC4BA}" type="datetime3">
              <a:rPr lang="nl-NL" smtClean="0">
                <a:solidFill>
                  <a:srgbClr val="999999"/>
                </a:solidFill>
              </a:rPr>
              <a:pPr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A1D61E-DCAC-4F3F-A9E2-B5195B305580}" type="slidenum">
              <a:rPr lang="fi-FI" smtClean="0">
                <a:solidFill>
                  <a:srgbClr val="999999"/>
                </a:solidFill>
              </a:rPr>
              <a:pPr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493437" y="1562758"/>
            <a:ext cx="3102567" cy="2510768"/>
          </a:xfrm>
          <a:solidFill>
            <a:srgbClr val="999999"/>
          </a:solidFill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25" name="Content Placeholder 2"/>
          <p:cNvSpPr>
            <a:spLocks noGrp="1"/>
          </p:cNvSpPr>
          <p:nvPr>
            <p:ph sz="half" idx="1"/>
          </p:nvPr>
        </p:nvSpPr>
        <p:spPr>
          <a:xfrm>
            <a:off x="326923" y="1285290"/>
            <a:ext cx="3320221" cy="3215573"/>
          </a:xfrm>
          <a:noFill/>
        </p:spPr>
        <p:txBody>
          <a:bodyPr/>
          <a:lstStyle>
            <a:lvl1pPr>
              <a:buNone/>
              <a:defRPr sz="1500" b="1"/>
            </a:lvl1pPr>
            <a:lvl2pPr marL="271760" indent="-271760">
              <a:buFont typeface="Wingdings" pitchFamily="2" charset="2"/>
              <a:buChar char="§"/>
              <a:defRPr sz="1400"/>
            </a:lvl2pPr>
            <a:lvl3pPr marL="537558" indent="-265800">
              <a:defRPr sz="1200"/>
            </a:lvl3pPr>
            <a:lvl4pPr marL="809318" indent="-271760">
              <a:defRPr sz="1100"/>
            </a:lvl4pPr>
            <a:lvl5pPr marL="1081077" indent="-271760"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29" name="Rectangle 40"/>
          <p:cNvSpPr/>
          <p:nvPr userDrawn="1"/>
        </p:nvSpPr>
        <p:spPr>
          <a:xfrm>
            <a:off x="4409372" y="102776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0" name="Rectangle 40"/>
          <p:cNvSpPr/>
          <p:nvPr userDrawn="1"/>
        </p:nvSpPr>
        <p:spPr>
          <a:xfrm>
            <a:off x="4951829" y="1562760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1" name="Rectangle 40"/>
          <p:cNvSpPr/>
          <p:nvPr userDrawn="1"/>
        </p:nvSpPr>
        <p:spPr>
          <a:xfrm>
            <a:off x="5493442" y="1027761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grpSp>
        <p:nvGrpSpPr>
          <p:cNvPr id="32" name="Group 23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33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F1C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34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35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7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8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9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0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3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5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7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8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59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2326296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Big blue">
    <p:bg>
      <p:bgPr>
        <a:solidFill>
          <a:srgbClr val="19F1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088647" y="535552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5419"/>
            <a:ext cx="1088572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021310" y="4607662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043880" y="3536717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599834" y="40721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2D5A6B-CF36-D44E-8EB5-E693FAD76E1C}" type="datetime3">
              <a:rPr lang="nl-NL" smtClean="0">
                <a:solidFill>
                  <a:prstClr val="white"/>
                </a:solidFill>
              </a:rPr>
              <a:pPr/>
              <a:t>3/12/15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EMG digital input - MOBILE</a:t>
            </a:r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A1D61E-DCAC-4F3F-A9E2-B5195B305580}" type="slidenum">
              <a:rPr lang="fi-FI" smtClean="0">
                <a:solidFill>
                  <a:prstClr val="white"/>
                </a:solidFill>
              </a:rPr>
              <a:pPr/>
              <a:t>‹nr.›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07965" y="1247485"/>
            <a:ext cx="8128089" cy="1661113"/>
          </a:xfrm>
        </p:spPr>
        <p:txBody>
          <a:bodyPr anchor="b" anchorCtr="0"/>
          <a:lstStyle>
            <a:lvl1pPr algn="ctr">
              <a:lnSpc>
                <a:spcPct val="85000"/>
              </a:lnSpc>
              <a:defRPr sz="77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grpSp>
        <p:nvGrpSpPr>
          <p:cNvPr id="28" name="Group 23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29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F1C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30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31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2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3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4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8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9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0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1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6444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2" y="1597825"/>
            <a:ext cx="7772400" cy="1102519"/>
          </a:xfrm>
        </p:spPr>
        <p:txBody>
          <a:bodyPr/>
          <a:lstStyle/>
          <a:p>
            <a:r>
              <a:rPr lang="nl-NL" smtClean="0"/>
              <a:t>Titelstijl van model bewerken</a:t>
            </a:r>
            <a:endParaRPr lang="nl-NL"/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1371602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Klik om de titelstijl van het model te bewerken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EEC1DE-B651-3C4D-834F-2C894C2B4934}" type="datetimeFigureOut">
              <a:rPr lang="nl-NL" smtClean="0">
                <a:solidFill>
                  <a:srgbClr val="999999"/>
                </a:solidFill>
              </a:rPr>
              <a:pPr/>
              <a:t>3-12-2015</a:t>
            </a:fld>
            <a:endParaRPr lang="nl-NL">
              <a:solidFill>
                <a:srgbClr val="999999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>
              <a:solidFill>
                <a:srgbClr val="999999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B2F53-E38C-0946-95B0-7804BB58A9C3}" type="slidenum">
              <a:rPr lang="nl-NL" smtClean="0">
                <a:solidFill>
                  <a:srgbClr val="999999"/>
                </a:solidFill>
              </a:rPr>
              <a:pPr/>
              <a:t>‹nr.›</a:t>
            </a:fld>
            <a:endParaRPr lang="nl-NL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1617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Big Drak Blue">
    <p:bg>
      <p:bgPr>
        <a:solidFill>
          <a:srgbClr val="19C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088647" y="535552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5419"/>
            <a:ext cx="1088572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021310" y="4607662"/>
            <a:ext cx="2122690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043880" y="3536717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599834" y="4072114"/>
            <a:ext cx="544181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54" tIns="34328" rIns="68654" bIns="343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552"/>
            <a:endParaRPr lang="fi-FI" sz="140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F5619A-1D44-9645-93FE-1023A4D9992C}" type="datetime3">
              <a:rPr lang="nl-NL" smtClean="0">
                <a:solidFill>
                  <a:prstClr val="white"/>
                </a:solidFill>
              </a:rPr>
              <a:pPr/>
              <a:t>3/12/15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EMG digital input - MOBILE</a:t>
            </a:r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A1D61E-DCAC-4F3F-A9E2-B5195B305580}" type="slidenum">
              <a:rPr lang="fi-FI" smtClean="0">
                <a:solidFill>
                  <a:prstClr val="white"/>
                </a:solidFill>
              </a:rPr>
              <a:pPr/>
              <a:t>‹nr.›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07364" y="1247485"/>
            <a:ext cx="8128089" cy="1661113"/>
          </a:xfrm>
        </p:spPr>
        <p:txBody>
          <a:bodyPr anchor="b" anchorCtr="0"/>
          <a:lstStyle>
            <a:lvl1pPr algn="ctr">
              <a:lnSpc>
                <a:spcPct val="85000"/>
              </a:lnSpc>
              <a:defRPr sz="77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grpSp>
        <p:nvGrpSpPr>
          <p:cNvPr id="2" name="Group 13"/>
          <p:cNvGrpSpPr>
            <a:grpSpLocks noChangeAspect="1"/>
          </p:cNvGrpSpPr>
          <p:nvPr userDrawn="1"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C2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552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7" name="Group 1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17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8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9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0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1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2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3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4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5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6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7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552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6671363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image" Target="../media/image12.png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549F78-8350-4D61-A78D-6F16E0FC95E9}" type="datetimeFigureOut">
              <a:rPr lang="nl-NL" smtClean="0"/>
              <a:t>3-12-2015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533821-5C91-4CE5-ABEB-EA0B46AB00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38775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Titelstijl van model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Klik om de tekststijl van het model te bewerken</a:t>
            </a:r>
          </a:p>
          <a:p>
            <a:pPr lvl="1"/>
            <a:r>
              <a:rPr lang="en-US" smtClean="0"/>
              <a:t>Tweede niveau</a:t>
            </a:r>
          </a:p>
          <a:p>
            <a:pPr lvl="2"/>
            <a:r>
              <a:rPr lang="en-US" smtClean="0"/>
              <a:t>Derde niveau</a:t>
            </a:r>
          </a:p>
          <a:p>
            <a:pPr lvl="3"/>
            <a:r>
              <a:rPr lang="en-US" smtClean="0"/>
              <a:t>Vierde niveau</a:t>
            </a:r>
          </a:p>
          <a:p>
            <a:pPr lvl="4"/>
            <a:r>
              <a:rPr lang="en-US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ADF0A012-867F-4265-873D-3A88548F6E0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12/3/201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457200"/>
              <a:t>‹nr.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881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 userDrawn="1"/>
        </p:nvSpPr>
        <p:spPr bwMode="auto">
          <a:xfrm>
            <a:off x="167270" y="4919231"/>
            <a:ext cx="314653" cy="272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0499" tIns="34289" rIns="40499" bIns="34289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9pPr>
          </a:lstStyle>
          <a:p>
            <a:pPr eaLnBrk="0" hangingPunct="0"/>
            <a:fld id="{B24BF7A8-4BD2-7B40-B5B8-00B463BD4D54}" type="slidenum">
              <a:rPr lang="nl-NL" sz="527" b="0">
                <a:solidFill>
                  <a:srgbClr val="1F5158"/>
                </a:solidFill>
                <a:latin typeface="Open Sans" charset="0"/>
                <a:ea typeface="Open Sans" charset="0"/>
                <a:cs typeface="Open Sans" charset="0"/>
                <a:sym typeface="Calibri" panose="020F0502020204030204" pitchFamily="34" charset="0"/>
              </a:rPr>
              <a:pPr eaLnBrk="0" hangingPunct="0"/>
              <a:t>‹nr.›</a:t>
            </a:fld>
            <a:endParaRPr lang="nl-NL" sz="527" b="0" dirty="0">
              <a:solidFill>
                <a:srgbClr val="1F5158"/>
              </a:solidFill>
              <a:latin typeface="Open Sans" charset="0"/>
              <a:ea typeface="Open Sans" charset="0"/>
              <a:cs typeface="Open Sans" charset="0"/>
              <a:sym typeface="Calibri" panose="020F0502020204030204" pitchFamily="34" charset="0"/>
            </a:endParaRPr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5187" y="4660263"/>
            <a:ext cx="490703" cy="409529"/>
          </a:xfrm>
          <a:prstGeom prst="rect">
            <a:avLst/>
          </a:prstGeom>
          <a:effectLst>
            <a:outerShdw blurRad="76200" dist="12700" dir="2700000" sx="101000" sy="101000" algn="tl" rotWithShape="0">
              <a:prstClr val="black">
                <a:alpha val="1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47916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</p:sldLayoutIdLst>
  <p:timing>
    <p:tnLst>
      <p:par>
        <p:cTn id="1" dur="indefinite" restart="never" nodeType="tmRoot"/>
      </p:par>
    </p:tnLst>
  </p:timing>
  <p:hf hdr="0"/>
  <p:txStyles>
    <p:titleStyle>
      <a:lvl1pPr algn="ctr" defTabSz="342866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49" indent="-257149" algn="l" defTabSz="342866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557157" indent="-214292" algn="l" defTabSz="342866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857166" indent="-171433" algn="l" defTabSz="342866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200031" indent="-171433" algn="l" defTabSz="342866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1542898" indent="-171433" algn="l" defTabSz="342866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1885764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30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7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63" indent="-171433" algn="l" defTabSz="342866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3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9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5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1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7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3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30" algn="l" defTabSz="3428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922" y="268162"/>
            <a:ext cx="8490160" cy="793644"/>
          </a:xfrm>
          <a:prstGeom prst="rect">
            <a:avLst/>
          </a:prstGeom>
        </p:spPr>
        <p:txBody>
          <a:bodyPr vert="horz" lIns="27040" tIns="27040" rIns="27040" bIns="27040" rtlCol="0" anchor="t" anchorCtr="0">
            <a:noAutofit/>
          </a:bodyPr>
          <a:lstStyle/>
          <a:p>
            <a:r>
              <a:rPr lang="nl-NL" smtClean="0"/>
              <a:t>Klik om de stijl te bewerken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922" y="1285286"/>
            <a:ext cx="8490160" cy="3215573"/>
          </a:xfrm>
          <a:prstGeom prst="rect">
            <a:avLst/>
          </a:prstGeom>
        </p:spPr>
        <p:txBody>
          <a:bodyPr vert="horz" lIns="27040" tIns="27040" rIns="27040" bIns="27040" rtlCol="0">
            <a:noAutofit/>
          </a:bodyPr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i-FI" dirty="0"/>
          </a:p>
        </p:txBody>
      </p:sp>
      <p:sp>
        <p:nvSpPr>
          <p:cNvPr id="47" name="Date Placeholder 3"/>
          <p:cNvSpPr>
            <a:spLocks noGrp="1"/>
          </p:cNvSpPr>
          <p:nvPr>
            <p:ph type="dt" sz="half" idx="2"/>
          </p:nvPr>
        </p:nvSpPr>
        <p:spPr>
          <a:xfrm>
            <a:off x="650364" y="4822293"/>
            <a:ext cx="982513" cy="107169"/>
          </a:xfrm>
          <a:prstGeom prst="rect">
            <a:avLst/>
          </a:prstGeom>
        </p:spPr>
        <p:txBody>
          <a:bodyPr vert="horz" lIns="27040" tIns="27040" rIns="27040" bIns="27040" rtlCol="0" anchor="ctr" anchorCtr="0">
            <a:noAutofit/>
          </a:bodyPr>
          <a:lstStyle>
            <a:lvl1pPr algn="l">
              <a:defRPr sz="500" spc="-30" baseline="0">
                <a:solidFill>
                  <a:schemeClr val="accent1"/>
                </a:solidFill>
              </a:defRPr>
            </a:lvl1pPr>
          </a:lstStyle>
          <a:p>
            <a:pPr defTabSz="686817"/>
            <a:fld id="{000059A1-0099-4B10-A5CF-27E515FB5E4A}" type="datetime3">
              <a:rPr lang="en-US" smtClean="0">
                <a:solidFill>
                  <a:srgbClr val="999999"/>
                </a:solidFill>
              </a:rPr>
              <a:pPr defTabSz="686817"/>
              <a:t>3 December 20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4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2873" y="4822293"/>
            <a:ext cx="4897870" cy="107169"/>
          </a:xfrm>
          <a:prstGeom prst="rect">
            <a:avLst/>
          </a:prstGeom>
        </p:spPr>
        <p:txBody>
          <a:bodyPr vert="horz" lIns="27040" tIns="27040" rIns="27040" bIns="27040" rtlCol="0" anchor="ctr" anchorCtr="0">
            <a:noAutofit/>
          </a:bodyPr>
          <a:lstStyle>
            <a:lvl1pPr algn="l">
              <a:defRPr sz="500" spc="-30" baseline="0">
                <a:solidFill>
                  <a:schemeClr val="accent1"/>
                </a:solidFill>
              </a:defRPr>
            </a:lvl1pPr>
          </a:lstStyle>
          <a:p>
            <a:pPr defTabSz="686817"/>
            <a:r>
              <a:rPr lang="fi-FI" dirty="0" smtClean="0">
                <a:solidFill>
                  <a:srgbClr val="999999"/>
                </a:solidFill>
              </a:rPr>
              <a:t>Presentation nam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4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6357" y="4822825"/>
            <a:ext cx="323645" cy="106633"/>
          </a:xfrm>
          <a:prstGeom prst="rect">
            <a:avLst/>
          </a:prstGeom>
        </p:spPr>
        <p:txBody>
          <a:bodyPr vert="horz" lIns="27040" tIns="27040" rIns="27040" bIns="27040" rtlCol="0" anchor="ctr" anchorCtr="0">
            <a:noAutofit/>
          </a:bodyPr>
          <a:lstStyle>
            <a:lvl1pPr algn="l">
              <a:defRPr sz="500" spc="-30" baseline="0">
                <a:solidFill>
                  <a:schemeClr val="accent1"/>
                </a:solidFill>
              </a:defRPr>
            </a:lvl1pPr>
          </a:lstStyle>
          <a:p>
            <a:pPr defTabSz="686817"/>
            <a:fld id="{8BA1D61E-DCAC-4F3F-A9E2-B5195B305580}" type="slidenum">
              <a:rPr lang="fi-FI" smtClean="0">
                <a:solidFill>
                  <a:srgbClr val="999999"/>
                </a:solidFill>
              </a:rPr>
              <a:pPr defTabSz="686817"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902" y="4776939"/>
            <a:ext cx="1306178" cy="15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46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686817" rtl="0" eaLnBrk="1" latinLnBrk="0" hangingPunct="1">
        <a:lnSpc>
          <a:spcPct val="95000"/>
        </a:lnSpc>
        <a:spcBef>
          <a:spcPct val="0"/>
        </a:spcBef>
        <a:buNone/>
        <a:defRPr sz="2300" b="1" kern="1200" spc="-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89" indent="-268289" algn="l" defTabSz="686817" rtl="0" eaLnBrk="1" latinLnBrk="0" hangingPunct="1">
        <a:spcBef>
          <a:spcPts val="0"/>
        </a:spcBef>
        <a:spcAft>
          <a:spcPts val="451"/>
        </a:spcAft>
        <a:buFont typeface="Wingdings" pitchFamily="2" charset="2"/>
        <a:buChar char="§"/>
        <a:defRPr sz="1500" kern="12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536576" indent="-268289" algn="l" defTabSz="686817" rtl="0" eaLnBrk="1" latinLnBrk="0" hangingPunct="1">
        <a:spcBef>
          <a:spcPts val="0"/>
        </a:spcBef>
        <a:spcAft>
          <a:spcPts val="451"/>
        </a:spcAft>
        <a:buFont typeface="Arial" pitchFamily="34" charset="0"/>
        <a:buChar char="–"/>
        <a:defRPr sz="1400" kern="12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804864" indent="-268289" algn="l" defTabSz="686817" rtl="0" eaLnBrk="1" latinLnBrk="0" hangingPunct="1">
        <a:spcBef>
          <a:spcPts val="0"/>
        </a:spcBef>
        <a:spcAft>
          <a:spcPts val="451"/>
        </a:spcAft>
        <a:buFont typeface="Wingdings" pitchFamily="2" charset="2"/>
        <a:buChar char="§"/>
        <a:defRPr sz="1200" kern="1200" spc="-30" baseline="0">
          <a:solidFill>
            <a:schemeClr val="tx1"/>
          </a:solidFill>
          <a:latin typeface="+mn-lt"/>
          <a:ea typeface="+mn-ea"/>
          <a:cs typeface="+mn-cs"/>
        </a:defRPr>
      </a:lvl3pPr>
      <a:lvl4pPr marL="1080308" indent="-275441" algn="l" defTabSz="686817" rtl="0" eaLnBrk="1" latinLnBrk="0" hangingPunct="1">
        <a:spcBef>
          <a:spcPts val="0"/>
        </a:spcBef>
        <a:spcAft>
          <a:spcPts val="451"/>
        </a:spcAft>
        <a:buFont typeface="Arial" pitchFamily="34" charset="0"/>
        <a:buChar char="–"/>
        <a:defRPr sz="1100" kern="1200" spc="-30" baseline="0">
          <a:solidFill>
            <a:schemeClr val="tx1"/>
          </a:solidFill>
          <a:latin typeface="+mn-lt"/>
          <a:ea typeface="+mn-ea"/>
          <a:cs typeface="+mn-cs"/>
        </a:defRPr>
      </a:lvl4pPr>
      <a:lvl5pPr marL="1348592" indent="-268289" algn="l" defTabSz="686817" rtl="0" eaLnBrk="1" latinLnBrk="0" hangingPunct="1">
        <a:spcBef>
          <a:spcPts val="0"/>
        </a:spcBef>
        <a:spcAft>
          <a:spcPts val="451"/>
        </a:spcAft>
        <a:buFont typeface="Wingdings" pitchFamily="2" charset="2"/>
        <a:buChar char="§"/>
        <a:defRPr sz="1100" kern="1200" spc="-30" baseline="0">
          <a:solidFill>
            <a:schemeClr val="tx1"/>
          </a:solidFill>
          <a:latin typeface="+mn-lt"/>
          <a:ea typeface="+mn-ea"/>
          <a:cs typeface="+mn-cs"/>
        </a:defRPr>
      </a:lvl5pPr>
      <a:lvl6pPr marL="1888745" indent="-171705" algn="l" defTabSz="6868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54" indent="-171705" algn="l" defTabSz="6868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62" indent="-171705" algn="l" defTabSz="6868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68" indent="-171705" algn="l" defTabSz="68681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68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7" algn="l" defTabSz="6868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17" algn="l" defTabSz="6868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25" algn="l" defTabSz="6868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32" algn="l" defTabSz="6868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41" algn="l" defTabSz="6868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51" algn="l" defTabSz="6868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58" algn="l" defTabSz="6868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65" algn="l" defTabSz="68681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922" y="268162"/>
            <a:ext cx="8490160" cy="793644"/>
          </a:xfrm>
          <a:prstGeom prst="rect">
            <a:avLst/>
          </a:prstGeom>
        </p:spPr>
        <p:txBody>
          <a:bodyPr vert="horz" lIns="27034" tIns="27034" rIns="27034" bIns="27034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922" y="1285289"/>
            <a:ext cx="8490160" cy="3215573"/>
          </a:xfrm>
          <a:prstGeom prst="rect">
            <a:avLst/>
          </a:prstGeom>
        </p:spPr>
        <p:txBody>
          <a:bodyPr vert="horz" lIns="27034" tIns="27034" rIns="27034" bIns="27034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7293213" y="4803555"/>
            <a:ext cx="1495851" cy="125909"/>
            <a:chOff x="425958" y="6336331"/>
            <a:chExt cx="2526569" cy="216000"/>
          </a:xfrm>
        </p:grpSpPr>
        <p:sp>
          <p:nvSpPr>
            <p:cNvPr id="25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9F1C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6640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26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solidFill>
              <a:schemeClr val="accent1"/>
            </a:solidFill>
          </p:grpSpPr>
          <p:sp>
            <p:nvSpPr>
              <p:cNvPr id="27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8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9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0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1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1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2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3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4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5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6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6640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  <p:sp>
        <p:nvSpPr>
          <p:cNvPr id="47" name="Date Placeholder 3"/>
          <p:cNvSpPr>
            <a:spLocks noGrp="1"/>
          </p:cNvSpPr>
          <p:nvPr>
            <p:ph type="dt" sz="half" idx="2"/>
          </p:nvPr>
        </p:nvSpPr>
        <p:spPr>
          <a:xfrm>
            <a:off x="650374" y="4822295"/>
            <a:ext cx="982513" cy="107169"/>
          </a:xfrm>
          <a:prstGeom prst="rect">
            <a:avLst/>
          </a:prstGeom>
        </p:spPr>
        <p:txBody>
          <a:bodyPr vert="horz" lIns="27034" tIns="27034" rIns="27034" bIns="27034" rtlCol="0" anchor="ctr" anchorCtr="0">
            <a:noAutofit/>
          </a:bodyPr>
          <a:lstStyle>
            <a:lvl1pPr algn="l">
              <a:defRPr sz="500" spc="-30" baseline="0">
                <a:solidFill>
                  <a:schemeClr val="accent1"/>
                </a:solidFill>
              </a:defRPr>
            </a:lvl1pPr>
          </a:lstStyle>
          <a:p>
            <a:pPr defTabSz="686640"/>
            <a:fld id="{72FA936F-091C-5B4C-AFC9-F7AB5EEFD60D}" type="datetime3">
              <a:rPr lang="nl-NL" smtClean="0">
                <a:solidFill>
                  <a:srgbClr val="999999"/>
                </a:solidFill>
              </a:rPr>
              <a:pPr defTabSz="686640"/>
              <a:t>3/12/15</a:t>
            </a:fld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4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2873" y="4822295"/>
            <a:ext cx="4897870" cy="107169"/>
          </a:xfrm>
          <a:prstGeom prst="rect">
            <a:avLst/>
          </a:prstGeom>
        </p:spPr>
        <p:txBody>
          <a:bodyPr vert="horz" lIns="27034" tIns="27034" rIns="27034" bIns="27034" rtlCol="0" anchor="ctr" anchorCtr="0">
            <a:noAutofit/>
          </a:bodyPr>
          <a:lstStyle>
            <a:lvl1pPr algn="l">
              <a:defRPr sz="500" spc="-30" baseline="0">
                <a:solidFill>
                  <a:schemeClr val="accent1"/>
                </a:solidFill>
              </a:defRPr>
            </a:lvl1pPr>
          </a:lstStyle>
          <a:p>
            <a:pPr defTabSz="686640"/>
            <a:r>
              <a:rPr lang="fi-FI" smtClean="0">
                <a:solidFill>
                  <a:srgbClr val="999999"/>
                </a:solidFill>
              </a:rPr>
              <a:t>EMG digital input - MOBILE</a:t>
            </a:r>
            <a:endParaRPr lang="fi-FI" dirty="0">
              <a:solidFill>
                <a:srgbClr val="999999"/>
              </a:solidFill>
            </a:endParaRPr>
          </a:p>
        </p:txBody>
      </p:sp>
      <p:sp>
        <p:nvSpPr>
          <p:cNvPr id="4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6366" y="4822829"/>
            <a:ext cx="323645" cy="106633"/>
          </a:xfrm>
          <a:prstGeom prst="rect">
            <a:avLst/>
          </a:prstGeom>
        </p:spPr>
        <p:txBody>
          <a:bodyPr vert="horz" lIns="27034" tIns="27034" rIns="27034" bIns="27034" rtlCol="0" anchor="ctr" anchorCtr="0">
            <a:noAutofit/>
          </a:bodyPr>
          <a:lstStyle>
            <a:lvl1pPr algn="l">
              <a:defRPr sz="500" spc="-30" baseline="0">
                <a:solidFill>
                  <a:schemeClr val="accent1"/>
                </a:solidFill>
              </a:defRPr>
            </a:lvl1pPr>
          </a:lstStyle>
          <a:p>
            <a:pPr defTabSz="686640"/>
            <a:fld id="{8BA1D61E-DCAC-4F3F-A9E2-B5195B305580}" type="slidenum">
              <a:rPr lang="fi-FI" smtClean="0">
                <a:solidFill>
                  <a:srgbClr val="999999"/>
                </a:solidFill>
              </a:rPr>
              <a:pPr defTabSz="686640"/>
              <a:t>‹nr.›</a:t>
            </a:fld>
            <a:endParaRPr lang="fi-FI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811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</p:sldLayoutIdLst>
  <p:transition spd="med"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686640" rtl="0" eaLnBrk="1" latinLnBrk="0" hangingPunct="1">
        <a:lnSpc>
          <a:spcPct val="95000"/>
        </a:lnSpc>
        <a:spcBef>
          <a:spcPct val="0"/>
        </a:spcBef>
        <a:buNone/>
        <a:defRPr sz="2300" b="1" kern="1200" spc="-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220" indent="-268220" algn="l" defTabSz="686640" rtl="0" eaLnBrk="1" latinLnBrk="0" hangingPunct="1">
        <a:spcBef>
          <a:spcPts val="0"/>
        </a:spcBef>
        <a:spcAft>
          <a:spcPts val="451"/>
        </a:spcAft>
        <a:buFont typeface="Wingdings" pitchFamily="2" charset="2"/>
        <a:buChar char="§"/>
        <a:defRPr sz="1500" kern="1200" spc="-30" baseline="0">
          <a:solidFill>
            <a:schemeClr val="tx1"/>
          </a:solidFill>
          <a:latin typeface="+mn-lt"/>
          <a:ea typeface="+mn-ea"/>
          <a:cs typeface="+mn-cs"/>
        </a:defRPr>
      </a:lvl1pPr>
      <a:lvl2pPr marL="536436" indent="-268220" algn="l" defTabSz="686640" rtl="0" eaLnBrk="1" latinLnBrk="0" hangingPunct="1">
        <a:spcBef>
          <a:spcPts val="0"/>
        </a:spcBef>
        <a:spcAft>
          <a:spcPts val="451"/>
        </a:spcAft>
        <a:buFont typeface="Arial" pitchFamily="34" charset="0"/>
        <a:buChar char="–"/>
        <a:defRPr sz="1400" kern="1200" spc="-30" baseline="0">
          <a:solidFill>
            <a:schemeClr val="tx1"/>
          </a:solidFill>
          <a:latin typeface="+mn-lt"/>
          <a:ea typeface="+mn-ea"/>
          <a:cs typeface="+mn-cs"/>
        </a:defRPr>
      </a:lvl2pPr>
      <a:lvl3pPr marL="804656" indent="-268220" algn="l" defTabSz="686640" rtl="0" eaLnBrk="1" latinLnBrk="0" hangingPunct="1">
        <a:spcBef>
          <a:spcPts val="0"/>
        </a:spcBef>
        <a:spcAft>
          <a:spcPts val="451"/>
        </a:spcAft>
        <a:buFont typeface="Wingdings" pitchFamily="2" charset="2"/>
        <a:buChar char="§"/>
        <a:defRPr sz="1200" kern="1200" spc="-30" baseline="0">
          <a:solidFill>
            <a:schemeClr val="tx1"/>
          </a:solidFill>
          <a:latin typeface="+mn-lt"/>
          <a:ea typeface="+mn-ea"/>
          <a:cs typeface="+mn-cs"/>
        </a:defRPr>
      </a:lvl3pPr>
      <a:lvl4pPr marL="1080029" indent="-275369" algn="l" defTabSz="686640" rtl="0" eaLnBrk="1" latinLnBrk="0" hangingPunct="1">
        <a:spcBef>
          <a:spcPts val="0"/>
        </a:spcBef>
        <a:spcAft>
          <a:spcPts val="451"/>
        </a:spcAft>
        <a:buFont typeface="Arial" pitchFamily="34" charset="0"/>
        <a:buChar char="–"/>
        <a:defRPr sz="1100" kern="1200" spc="-30" baseline="0">
          <a:solidFill>
            <a:schemeClr val="tx1"/>
          </a:solidFill>
          <a:latin typeface="+mn-lt"/>
          <a:ea typeface="+mn-ea"/>
          <a:cs typeface="+mn-cs"/>
        </a:defRPr>
      </a:lvl4pPr>
      <a:lvl5pPr marL="1348244" indent="-268220" algn="l" defTabSz="686640" rtl="0" eaLnBrk="1" latinLnBrk="0" hangingPunct="1">
        <a:spcBef>
          <a:spcPts val="0"/>
        </a:spcBef>
        <a:spcAft>
          <a:spcPts val="451"/>
        </a:spcAft>
        <a:buFont typeface="Wingdings" pitchFamily="2" charset="2"/>
        <a:buChar char="§"/>
        <a:defRPr sz="1100" kern="1200" spc="-30" baseline="0">
          <a:solidFill>
            <a:schemeClr val="tx1"/>
          </a:solidFill>
          <a:latin typeface="+mn-lt"/>
          <a:ea typeface="+mn-ea"/>
          <a:cs typeface="+mn-cs"/>
        </a:defRPr>
      </a:lvl5pPr>
      <a:lvl6pPr marL="1888257" indent="-171661" algn="l" defTabSz="68664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1578" indent="-171661" algn="l" defTabSz="68664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4896" indent="-171661" algn="l" defTabSz="68664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214" indent="-171661" algn="l" defTabSz="68664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66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318" algn="l" defTabSz="6866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640" algn="l" defTabSz="6866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9959" algn="l" defTabSz="6866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277" algn="l" defTabSz="6866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6597" algn="l" defTabSz="6866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9919" algn="l" defTabSz="6866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236" algn="l" defTabSz="6866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6555" algn="l" defTabSz="68664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3" Type="http://schemas.openxmlformats.org/officeDocument/2006/relationships/image" Target="../media/image28.jpe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19" Type="http://schemas.openxmlformats.org/officeDocument/2006/relationships/image" Target="../media/image52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8.png"/><Relationship Id="rId18" Type="http://schemas.openxmlformats.org/officeDocument/2006/relationships/image" Target="../media/image83.png"/><Relationship Id="rId26" Type="http://schemas.openxmlformats.org/officeDocument/2006/relationships/image" Target="../media/image91.png"/><Relationship Id="rId3" Type="http://schemas.openxmlformats.org/officeDocument/2006/relationships/image" Target="../media/image68.png"/><Relationship Id="rId21" Type="http://schemas.openxmlformats.org/officeDocument/2006/relationships/image" Target="../media/image86.png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17" Type="http://schemas.openxmlformats.org/officeDocument/2006/relationships/image" Target="../media/image82.png"/><Relationship Id="rId25" Type="http://schemas.openxmlformats.org/officeDocument/2006/relationships/image" Target="../media/image90.png"/><Relationship Id="rId2" Type="http://schemas.openxmlformats.org/officeDocument/2006/relationships/image" Target="../media/image67.png"/><Relationship Id="rId16" Type="http://schemas.openxmlformats.org/officeDocument/2006/relationships/image" Target="../media/image81.png"/><Relationship Id="rId20" Type="http://schemas.openxmlformats.org/officeDocument/2006/relationships/image" Target="../media/image8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24" Type="http://schemas.openxmlformats.org/officeDocument/2006/relationships/image" Target="../media/image89.jpeg"/><Relationship Id="rId5" Type="http://schemas.openxmlformats.org/officeDocument/2006/relationships/image" Target="../media/image70.png"/><Relationship Id="rId15" Type="http://schemas.openxmlformats.org/officeDocument/2006/relationships/image" Target="../media/image80.png"/><Relationship Id="rId23" Type="http://schemas.openxmlformats.org/officeDocument/2006/relationships/image" Target="../media/image88.png"/><Relationship Id="rId10" Type="http://schemas.openxmlformats.org/officeDocument/2006/relationships/image" Target="../media/image75.png"/><Relationship Id="rId19" Type="http://schemas.openxmlformats.org/officeDocument/2006/relationships/image" Target="../media/image84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Relationship Id="rId14" Type="http://schemas.openxmlformats.org/officeDocument/2006/relationships/image" Target="../media/image79.png"/><Relationship Id="rId22" Type="http://schemas.openxmlformats.org/officeDocument/2006/relationships/image" Target="../media/image8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jpeg"/><Relationship Id="rId3" Type="http://schemas.openxmlformats.org/officeDocument/2006/relationships/image" Target="../media/image105.png"/><Relationship Id="rId7" Type="http://schemas.openxmlformats.org/officeDocument/2006/relationships/image" Target="../media/image108.jpe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7.png"/><Relationship Id="rId5" Type="http://schemas.openxmlformats.org/officeDocument/2006/relationships/image" Target="../media/image96.png"/><Relationship Id="rId4" Type="http://schemas.openxmlformats.org/officeDocument/2006/relationships/image" Target="../media/image10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jpg"/><Relationship Id="rId1" Type="http://schemas.openxmlformats.org/officeDocument/2006/relationships/slideLayout" Target="../slideLayouts/slideLayout4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chart" Target="../charts/chart2.xml"/><Relationship Id="rId7" Type="http://schemas.openxmlformats.org/officeDocument/2006/relationships/image" Target="../media/image1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1.xml"/><Relationship Id="rId6" Type="http://schemas.openxmlformats.org/officeDocument/2006/relationships/image" Target="../media/image121.png"/><Relationship Id="rId5" Type="http://schemas.openxmlformats.org/officeDocument/2006/relationships/image" Target="../media/image116.png"/><Relationship Id="rId4" Type="http://schemas.openxmlformats.org/officeDocument/2006/relationships/image" Target="../media/image119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microsoft.com/office/2007/relationships/media" Target="../media/media2.wmv"/><Relationship Id="rId7" Type="http://schemas.openxmlformats.org/officeDocument/2006/relationships/image" Target="../media/image122.png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3.xml"/><Relationship Id="rId4" Type="http://schemas.openxmlformats.org/officeDocument/2006/relationships/video" Target="../media/media2.wmv"/><Relationship Id="rId9" Type="http://schemas.openxmlformats.org/officeDocument/2006/relationships/image" Target="../media/image12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127.gif"/><Relationship Id="rId4" Type="http://schemas.openxmlformats.org/officeDocument/2006/relationships/image" Target="../media/image12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7" Type="http://schemas.openxmlformats.org/officeDocument/2006/relationships/image" Target="../media/image133.png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2.xml"/><Relationship Id="rId6" Type="http://schemas.openxmlformats.org/officeDocument/2006/relationships/image" Target="../media/image132.png"/><Relationship Id="rId5" Type="http://schemas.openxmlformats.org/officeDocument/2006/relationships/image" Target="../media/image131.png"/><Relationship Id="rId4" Type="http://schemas.openxmlformats.org/officeDocument/2006/relationships/image" Target="../media/image13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jpe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13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2" Type="http://schemas.openxmlformats.org/officeDocument/2006/relationships/video" Target="../media/media3.wmv"/><Relationship Id="rId1" Type="http://schemas.microsoft.com/office/2007/relationships/media" Target="../media/media3.wmv"/><Relationship Id="rId4" Type="http://schemas.openxmlformats.org/officeDocument/2006/relationships/image" Target="../media/image138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7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7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2" Type="http://schemas.openxmlformats.org/officeDocument/2006/relationships/video" Target="../media/media4.wmv"/><Relationship Id="rId1" Type="http://schemas.microsoft.com/office/2007/relationships/media" Target="../media/media4.wmv"/><Relationship Id="rId4" Type="http://schemas.openxmlformats.org/officeDocument/2006/relationships/image" Target="../media/image141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13" Type="http://schemas.openxmlformats.org/officeDocument/2006/relationships/image" Target="../media/image152.png"/><Relationship Id="rId18" Type="http://schemas.openxmlformats.org/officeDocument/2006/relationships/image" Target="../media/image157.png"/><Relationship Id="rId3" Type="http://schemas.openxmlformats.org/officeDocument/2006/relationships/image" Target="../media/image142.jpeg"/><Relationship Id="rId21" Type="http://schemas.openxmlformats.org/officeDocument/2006/relationships/image" Target="../media/image160.png"/><Relationship Id="rId7" Type="http://schemas.openxmlformats.org/officeDocument/2006/relationships/image" Target="../media/image146.png"/><Relationship Id="rId12" Type="http://schemas.openxmlformats.org/officeDocument/2006/relationships/image" Target="../media/image151.png"/><Relationship Id="rId17" Type="http://schemas.openxmlformats.org/officeDocument/2006/relationships/image" Target="../media/image156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55.png"/><Relationship Id="rId20" Type="http://schemas.openxmlformats.org/officeDocument/2006/relationships/image" Target="../media/image159.png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145.png"/><Relationship Id="rId11" Type="http://schemas.openxmlformats.org/officeDocument/2006/relationships/image" Target="../media/image150.png"/><Relationship Id="rId5" Type="http://schemas.openxmlformats.org/officeDocument/2006/relationships/image" Target="../media/image144.png"/><Relationship Id="rId15" Type="http://schemas.openxmlformats.org/officeDocument/2006/relationships/image" Target="../media/image154.png"/><Relationship Id="rId10" Type="http://schemas.openxmlformats.org/officeDocument/2006/relationships/image" Target="../media/image149.png"/><Relationship Id="rId19" Type="http://schemas.openxmlformats.org/officeDocument/2006/relationships/image" Target="../media/image158.png"/><Relationship Id="rId4" Type="http://schemas.openxmlformats.org/officeDocument/2006/relationships/image" Target="../media/image143.png"/><Relationship Id="rId9" Type="http://schemas.openxmlformats.org/officeDocument/2006/relationships/image" Target="../media/image148.png"/><Relationship Id="rId14" Type="http://schemas.openxmlformats.org/officeDocument/2006/relationships/image" Target="../media/image153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4.png"/><Relationship Id="rId13" Type="http://schemas.openxmlformats.org/officeDocument/2006/relationships/image" Target="../media/image168.png"/><Relationship Id="rId3" Type="http://schemas.openxmlformats.org/officeDocument/2006/relationships/image" Target="../media/image161.jpeg"/><Relationship Id="rId7" Type="http://schemas.openxmlformats.org/officeDocument/2006/relationships/image" Target="../media/image163.png"/><Relationship Id="rId12" Type="http://schemas.openxmlformats.org/officeDocument/2006/relationships/image" Target="../media/image16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162.png"/><Relationship Id="rId11" Type="http://schemas.openxmlformats.org/officeDocument/2006/relationships/image" Target="../media/image167.png"/><Relationship Id="rId5" Type="http://schemas.openxmlformats.org/officeDocument/2006/relationships/image" Target="../media/image143.png"/><Relationship Id="rId10" Type="http://schemas.openxmlformats.org/officeDocument/2006/relationships/image" Target="../media/image166.png"/><Relationship Id="rId4" Type="http://schemas.openxmlformats.org/officeDocument/2006/relationships/image" Target="../media/image144.png"/><Relationship Id="rId9" Type="http://schemas.openxmlformats.org/officeDocument/2006/relationships/image" Target="../media/image165.png"/><Relationship Id="rId14" Type="http://schemas.openxmlformats.org/officeDocument/2006/relationships/image" Target="../media/image169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7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jpg"/><Relationship Id="rId1" Type="http://schemas.openxmlformats.org/officeDocument/2006/relationships/slideLayout" Target="../slideLayouts/slideLayout7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jpg"/><Relationship Id="rId1" Type="http://schemas.openxmlformats.org/officeDocument/2006/relationships/slideLayout" Target="../slideLayouts/slideLayout7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30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image" Target="../media/image28.jpeg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meike\Downloads\Presentatie BlueLine12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" y="0"/>
            <a:ext cx="914129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2413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meike\Downloads\Presentatie BlueLine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6" descr="Verbindingen-1.png (500×475)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7" name="AutoShape 8" descr="https://mxmblueline-my.sharepoint.com/personal/hp_mxmblueline_nl/Documents/Data/Presentatie%20BlueLine/Verbindingen-1.pn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cxnSp>
        <p:nvCxnSpPr>
          <p:cNvPr id="10" name="Rechte verbindingslijn met pijl 9"/>
          <p:cNvCxnSpPr/>
          <p:nvPr/>
        </p:nvCxnSpPr>
        <p:spPr>
          <a:xfrm flipH="1">
            <a:off x="1079840" y="1037753"/>
            <a:ext cx="3478912" cy="3114724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chte verbindingslijn met pijl 17"/>
          <p:cNvCxnSpPr/>
          <p:nvPr/>
        </p:nvCxnSpPr>
        <p:spPr>
          <a:xfrm>
            <a:off x="4716016" y="1065890"/>
            <a:ext cx="3505863" cy="3186732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chte verbindingslijn met pijl 20"/>
          <p:cNvCxnSpPr/>
          <p:nvPr/>
        </p:nvCxnSpPr>
        <p:spPr>
          <a:xfrm flipV="1">
            <a:off x="1104352" y="4407954"/>
            <a:ext cx="6984775" cy="36004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28" name="Picture 12" descr="C:\Users\meike\Desktop\Verbindingen-1 (1)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750" y="309562"/>
            <a:ext cx="4762500" cy="452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kstvak 24"/>
          <p:cNvSpPr txBox="1"/>
          <p:nvPr/>
        </p:nvSpPr>
        <p:spPr>
          <a:xfrm>
            <a:off x="765175" y="771550"/>
            <a:ext cx="12865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Fiber</a:t>
            </a:r>
            <a:endParaRPr lang="nl-NL" sz="2800" dirty="0">
              <a:latin typeface="Helveticaa"/>
            </a:endParaRPr>
          </a:p>
        </p:txBody>
      </p:sp>
      <p:sp>
        <p:nvSpPr>
          <p:cNvPr id="32" name="Tekstvak 31"/>
          <p:cNvSpPr txBox="1"/>
          <p:nvPr/>
        </p:nvSpPr>
        <p:spPr>
          <a:xfrm>
            <a:off x="7389911" y="824394"/>
            <a:ext cx="12865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DSL</a:t>
            </a:r>
            <a:endParaRPr lang="nl-NL" sz="2800" dirty="0">
              <a:latin typeface="Helveticaa"/>
            </a:endParaRPr>
          </a:p>
        </p:txBody>
      </p:sp>
      <p:sp>
        <p:nvSpPr>
          <p:cNvPr id="33" name="Tekstvak 32"/>
          <p:cNvSpPr txBox="1"/>
          <p:nvPr/>
        </p:nvSpPr>
        <p:spPr>
          <a:xfrm>
            <a:off x="7181333" y="3507854"/>
            <a:ext cx="12865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 smtClean="0">
                <a:latin typeface="Helveticaa"/>
              </a:rPr>
              <a:t>WiFi</a:t>
            </a:r>
            <a:endParaRPr lang="nl-NL" sz="2800" dirty="0">
              <a:latin typeface="Helveticaa"/>
            </a:endParaRPr>
          </a:p>
        </p:txBody>
      </p:sp>
      <p:sp>
        <p:nvSpPr>
          <p:cNvPr id="34" name="Tekstvak 33"/>
          <p:cNvSpPr txBox="1"/>
          <p:nvPr/>
        </p:nvSpPr>
        <p:spPr>
          <a:xfrm>
            <a:off x="765173" y="3629257"/>
            <a:ext cx="12865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4G/5G</a:t>
            </a:r>
            <a:endParaRPr lang="nl-NL" sz="2800" dirty="0">
              <a:latin typeface="Helveticaa"/>
            </a:endParaRPr>
          </a:p>
        </p:txBody>
      </p:sp>
      <p:pic>
        <p:nvPicPr>
          <p:cNvPr id="9230" name="Picture 14" descr="C:\Users\meike\Desktop\Devices-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332927"/>
            <a:ext cx="4762500" cy="452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2" name="Picture 16" descr="C:\Users\meike\Desktop\Clouddiensten-3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5764" y="351631"/>
            <a:ext cx="4762500" cy="452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 descr="C:\Users\meike\Desktop\Devices-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983" y="3291830"/>
            <a:ext cx="1894737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7" name="Picture 11" descr="C:\Users\meike\Desktop\Clouddiensten-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759" y="3292030"/>
            <a:ext cx="1894737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2" descr="C:\Users\meike\Desktop\Verbindingen-1 (1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371" y="160337"/>
            <a:ext cx="1894736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kstvak 38"/>
          <p:cNvSpPr txBox="1"/>
          <p:nvPr/>
        </p:nvSpPr>
        <p:spPr>
          <a:xfrm>
            <a:off x="307975" y="312737"/>
            <a:ext cx="2574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Smartphones</a:t>
            </a:r>
            <a:endParaRPr lang="nl-NL" sz="2800" dirty="0">
              <a:latin typeface="Helveticaa"/>
            </a:endParaRPr>
          </a:p>
        </p:txBody>
      </p:sp>
      <p:sp>
        <p:nvSpPr>
          <p:cNvPr id="40" name="Tekstvak 39"/>
          <p:cNvSpPr txBox="1"/>
          <p:nvPr/>
        </p:nvSpPr>
        <p:spPr>
          <a:xfrm>
            <a:off x="7020272" y="555526"/>
            <a:ext cx="1454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 smtClean="0">
                <a:latin typeface="Helveticaa"/>
              </a:rPr>
              <a:t>Tablets</a:t>
            </a:r>
            <a:endParaRPr lang="nl-NL" sz="2800" dirty="0">
              <a:latin typeface="Helveticaa"/>
            </a:endParaRPr>
          </a:p>
        </p:txBody>
      </p:sp>
      <p:sp>
        <p:nvSpPr>
          <p:cNvPr id="41" name="Tekstvak 40"/>
          <p:cNvSpPr txBox="1"/>
          <p:nvPr/>
        </p:nvSpPr>
        <p:spPr>
          <a:xfrm>
            <a:off x="7205747" y="1814160"/>
            <a:ext cx="1454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 smtClean="0">
                <a:latin typeface="Helveticaa"/>
              </a:rPr>
              <a:t>Laptops</a:t>
            </a:r>
            <a:endParaRPr lang="nl-NL" sz="2800" dirty="0">
              <a:latin typeface="Helveticaa"/>
            </a:endParaRPr>
          </a:p>
        </p:txBody>
      </p:sp>
      <p:sp>
        <p:nvSpPr>
          <p:cNvPr id="42" name="Tekstvak 41"/>
          <p:cNvSpPr txBox="1"/>
          <p:nvPr/>
        </p:nvSpPr>
        <p:spPr>
          <a:xfrm>
            <a:off x="681292" y="1964676"/>
            <a:ext cx="1454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 smtClean="0">
                <a:latin typeface="Helveticaa"/>
              </a:rPr>
              <a:t>PC’s</a:t>
            </a:r>
            <a:endParaRPr lang="nl-NL" sz="2800" dirty="0">
              <a:latin typeface="Helveticaa"/>
            </a:endParaRPr>
          </a:p>
        </p:txBody>
      </p:sp>
      <p:sp>
        <p:nvSpPr>
          <p:cNvPr id="43" name="Tekstvak 42"/>
          <p:cNvSpPr txBox="1"/>
          <p:nvPr/>
        </p:nvSpPr>
        <p:spPr>
          <a:xfrm>
            <a:off x="606583" y="3930420"/>
            <a:ext cx="19692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err="1" smtClean="0">
                <a:latin typeface="Helveticaa"/>
              </a:rPr>
              <a:t>Wearables</a:t>
            </a:r>
            <a:endParaRPr lang="nl-NL" sz="2800" dirty="0">
              <a:latin typeface="Helveticaa"/>
            </a:endParaRPr>
          </a:p>
        </p:txBody>
      </p:sp>
      <p:sp>
        <p:nvSpPr>
          <p:cNvPr id="44" name="Tekstvak 43"/>
          <p:cNvSpPr txBox="1"/>
          <p:nvPr/>
        </p:nvSpPr>
        <p:spPr>
          <a:xfrm>
            <a:off x="6800395" y="3874705"/>
            <a:ext cx="19692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Auto’s</a:t>
            </a:r>
            <a:endParaRPr lang="nl-NL" sz="2800" dirty="0">
              <a:latin typeface="Helveticaa"/>
            </a:endParaRPr>
          </a:p>
        </p:txBody>
      </p:sp>
      <p:sp>
        <p:nvSpPr>
          <p:cNvPr id="45" name="Tekstvak 44"/>
          <p:cNvSpPr txBox="1"/>
          <p:nvPr/>
        </p:nvSpPr>
        <p:spPr>
          <a:xfrm>
            <a:off x="1399449" y="253972"/>
            <a:ext cx="12775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ERP</a:t>
            </a:r>
            <a:endParaRPr lang="nl-NL" sz="2800" dirty="0">
              <a:latin typeface="Helveticaa"/>
            </a:endParaRPr>
          </a:p>
        </p:txBody>
      </p:sp>
      <p:sp>
        <p:nvSpPr>
          <p:cNvPr id="46" name="Tekstvak 45"/>
          <p:cNvSpPr txBox="1"/>
          <p:nvPr/>
        </p:nvSpPr>
        <p:spPr>
          <a:xfrm>
            <a:off x="606583" y="1851670"/>
            <a:ext cx="12775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CRM</a:t>
            </a:r>
            <a:endParaRPr lang="nl-NL" sz="2800" dirty="0">
              <a:latin typeface="Helveticaa"/>
            </a:endParaRPr>
          </a:p>
        </p:txBody>
      </p:sp>
      <p:sp>
        <p:nvSpPr>
          <p:cNvPr id="47" name="Tekstvak 46"/>
          <p:cNvSpPr txBox="1"/>
          <p:nvPr/>
        </p:nvSpPr>
        <p:spPr>
          <a:xfrm>
            <a:off x="7205747" y="1294770"/>
            <a:ext cx="12775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UC</a:t>
            </a:r>
            <a:endParaRPr lang="nl-NL" sz="2800" dirty="0">
              <a:latin typeface="Helveticaa"/>
            </a:endParaRPr>
          </a:p>
        </p:txBody>
      </p:sp>
      <p:sp>
        <p:nvSpPr>
          <p:cNvPr id="48" name="Tekstvak 47"/>
          <p:cNvSpPr txBox="1"/>
          <p:nvPr/>
        </p:nvSpPr>
        <p:spPr>
          <a:xfrm>
            <a:off x="1496800" y="4257993"/>
            <a:ext cx="15630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Betalen</a:t>
            </a:r>
            <a:endParaRPr lang="nl-NL" sz="2800" dirty="0">
              <a:latin typeface="Helveticaa"/>
            </a:endParaRPr>
          </a:p>
        </p:txBody>
      </p:sp>
      <p:sp>
        <p:nvSpPr>
          <p:cNvPr id="49" name="Tekstvak 48"/>
          <p:cNvSpPr txBox="1"/>
          <p:nvPr/>
        </p:nvSpPr>
        <p:spPr>
          <a:xfrm>
            <a:off x="6211250" y="221793"/>
            <a:ext cx="15630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HRM</a:t>
            </a:r>
            <a:endParaRPr lang="nl-NL" sz="2800" dirty="0">
              <a:latin typeface="Helveticaa"/>
            </a:endParaRPr>
          </a:p>
        </p:txBody>
      </p:sp>
      <p:sp>
        <p:nvSpPr>
          <p:cNvPr id="50" name="Tekstvak 49"/>
          <p:cNvSpPr txBox="1"/>
          <p:nvPr/>
        </p:nvSpPr>
        <p:spPr>
          <a:xfrm>
            <a:off x="6631022" y="3991012"/>
            <a:ext cx="20200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Declareren</a:t>
            </a:r>
            <a:endParaRPr lang="nl-NL" sz="2800" dirty="0">
              <a:latin typeface="Helveticaa"/>
            </a:endParaRPr>
          </a:p>
        </p:txBody>
      </p:sp>
      <p:sp>
        <p:nvSpPr>
          <p:cNvPr id="31" name="Tekstvak 30"/>
          <p:cNvSpPr txBox="1"/>
          <p:nvPr/>
        </p:nvSpPr>
        <p:spPr>
          <a:xfrm>
            <a:off x="7033527" y="2624594"/>
            <a:ext cx="17869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Parkeren</a:t>
            </a:r>
            <a:endParaRPr lang="nl-NL" sz="2800" dirty="0">
              <a:latin typeface="Helveticaa"/>
            </a:endParaRPr>
          </a:p>
        </p:txBody>
      </p:sp>
      <p:sp>
        <p:nvSpPr>
          <p:cNvPr id="36" name="Tekstvak 35"/>
          <p:cNvSpPr txBox="1"/>
          <p:nvPr/>
        </p:nvSpPr>
        <p:spPr>
          <a:xfrm>
            <a:off x="403805" y="3030220"/>
            <a:ext cx="17869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dirty="0" smtClean="0">
                <a:latin typeface="Helveticaa"/>
              </a:rPr>
              <a:t>Security</a:t>
            </a:r>
            <a:endParaRPr lang="nl-NL" sz="2800" dirty="0">
              <a:latin typeface="Helveticaa"/>
            </a:endParaRPr>
          </a:p>
        </p:txBody>
      </p:sp>
      <p:sp>
        <p:nvSpPr>
          <p:cNvPr id="3" name="Rechthoek 2"/>
          <p:cNvSpPr/>
          <p:nvPr/>
        </p:nvSpPr>
        <p:spPr>
          <a:xfrm>
            <a:off x="2930662" y="2559119"/>
            <a:ext cx="3548279" cy="13362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200"/>
              </a:lnSpc>
            </a:pPr>
            <a:r>
              <a:rPr lang="nl-NL" sz="2000" b="1" dirty="0" smtClean="0">
                <a:latin typeface="Helveticaa"/>
              </a:rPr>
              <a:t>MANAGED</a:t>
            </a:r>
          </a:p>
          <a:p>
            <a:pPr algn="ctr">
              <a:lnSpc>
                <a:spcPts val="1800"/>
              </a:lnSpc>
            </a:pPr>
            <a:endParaRPr lang="nl-NL" sz="2000" b="1" dirty="0" smtClean="0">
              <a:latin typeface="Helveticaa"/>
            </a:endParaRPr>
          </a:p>
          <a:p>
            <a:pPr algn="ctr">
              <a:lnSpc>
                <a:spcPts val="1800"/>
              </a:lnSpc>
            </a:pPr>
            <a:endParaRPr lang="nl-NL" sz="2000" b="1" dirty="0" smtClean="0">
              <a:latin typeface="Helveticaa"/>
            </a:endParaRPr>
          </a:p>
          <a:p>
            <a:pPr algn="ctr">
              <a:lnSpc>
                <a:spcPts val="2400"/>
              </a:lnSpc>
            </a:pPr>
            <a:r>
              <a:rPr lang="nl-NL" sz="6000" b="1" dirty="0" smtClean="0">
                <a:latin typeface="Helveticaa"/>
              </a:rPr>
              <a:t>SERVICE</a:t>
            </a:r>
            <a:endParaRPr lang="nl-NL" sz="2000" b="1" dirty="0" smtClean="0">
              <a:latin typeface="Helveticaa"/>
            </a:endParaRPr>
          </a:p>
          <a:p>
            <a:pPr algn="ctr">
              <a:lnSpc>
                <a:spcPts val="2500"/>
              </a:lnSpc>
            </a:pPr>
            <a:r>
              <a:rPr lang="nl-NL" sz="2000" b="1" dirty="0" smtClean="0">
                <a:latin typeface="Helveticaa"/>
              </a:rPr>
              <a:t>PROVIDER</a:t>
            </a:r>
          </a:p>
        </p:txBody>
      </p:sp>
    </p:spTree>
    <p:extLst>
      <p:ext uri="{BB962C8B-B14F-4D97-AF65-F5344CB8AC3E}">
        <p14:creationId xmlns:p14="http://schemas.microsoft.com/office/powerpoint/2010/main" val="241124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5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2000"/>
                                        <p:tgtEl>
                                          <p:spTgt spid="92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9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9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6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9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3000"/>
                                        <p:tgtEl>
                                          <p:spTgt spid="9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2000"/>
                                        <p:tgtEl>
                                          <p:spTgt spid="92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2000"/>
                                        <p:tgtEl>
                                          <p:spTgt spid="92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2000"/>
                                        <p:tgtEl>
                                          <p:spTgt spid="9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2000"/>
                            </p:stCondLst>
                            <p:childTnLst>
                              <p:par>
                                <p:cTn id="1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3000"/>
                            </p:stCondLst>
                            <p:childTnLst>
                              <p:par>
                                <p:cTn id="1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>
                            <p:stCondLst>
                              <p:cond delay="4000"/>
                            </p:stCondLst>
                            <p:childTnLst>
                              <p:par>
                                <p:cTn id="1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>
                            <p:stCondLst>
                              <p:cond delay="5000"/>
                            </p:stCondLst>
                            <p:childTnLst>
                              <p:par>
                                <p:cTn id="1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3" fill="hold">
                            <p:stCondLst>
                              <p:cond delay="6000"/>
                            </p:stCondLst>
                            <p:childTnLst>
                              <p:par>
                                <p:cTn id="1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7000"/>
                            </p:stCondLst>
                            <p:childTnLst>
                              <p:par>
                                <p:cTn id="1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8000"/>
                            </p:stCondLst>
                            <p:childTnLst>
                              <p:par>
                                <p:cTn id="1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5" fill="hold">
                            <p:stCondLst>
                              <p:cond delay="9000"/>
                            </p:stCondLst>
                            <p:childTnLst>
                              <p:par>
                                <p:cTn id="1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2" dur="500"/>
                                        <p:tgtEl>
                                          <p:spTgt spid="92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6" dur="1000"/>
                                        <p:tgtEl>
                                          <p:spTgt spid="9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9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1000"/>
                                        <p:tgtEl>
                                          <p:spTgt spid="9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1000"/>
                            </p:stCondLst>
                            <p:childTnLst>
                              <p:par>
                                <p:cTn id="2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5" grpId="1"/>
      <p:bldP spid="32" grpId="0"/>
      <p:bldP spid="32" grpId="1"/>
      <p:bldP spid="33" grpId="0"/>
      <p:bldP spid="33" grpId="1"/>
      <p:bldP spid="34" grpId="0"/>
      <p:bldP spid="34" grpId="1"/>
      <p:bldP spid="39" grpId="0"/>
      <p:bldP spid="39" grpId="1"/>
      <p:bldP spid="40" grpId="0"/>
      <p:bldP spid="40" grpId="1"/>
      <p:bldP spid="41" grpId="0"/>
      <p:bldP spid="41" grpId="1"/>
      <p:bldP spid="42" grpId="0"/>
      <p:bldP spid="42" grpId="1"/>
      <p:bldP spid="43" grpId="0"/>
      <p:bldP spid="43" grpId="1"/>
      <p:bldP spid="44" grpId="0"/>
      <p:bldP spid="44" grpId="1"/>
      <p:bldP spid="45" grpId="0"/>
      <p:bldP spid="45" grpId="1"/>
      <p:bldP spid="46" grpId="0"/>
      <p:bldP spid="46" grpId="1"/>
      <p:bldP spid="47" grpId="0"/>
      <p:bldP spid="47" grpId="1"/>
      <p:bldP spid="48" grpId="0"/>
      <p:bldP spid="48" grpId="1"/>
      <p:bldP spid="49" grpId="0"/>
      <p:bldP spid="49" grpId="1"/>
      <p:bldP spid="50" grpId="0"/>
      <p:bldP spid="50" grpId="1"/>
      <p:bldP spid="31" grpId="0"/>
      <p:bldP spid="31" grpId="1"/>
      <p:bldP spid="36" grpId="0"/>
      <p:bldP spid="36" grpId="1"/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meike\Desktop\Presentatie BlueLine2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207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vak 4"/>
          <p:cNvSpPr txBox="1"/>
          <p:nvPr/>
        </p:nvSpPr>
        <p:spPr>
          <a:xfrm>
            <a:off x="395536" y="1203598"/>
            <a:ext cx="8064896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ts val="4000"/>
              </a:lnSpc>
              <a:buBlip>
                <a:blip r:embed="rId3"/>
              </a:buBlip>
            </a:pPr>
            <a:r>
              <a:rPr lang="nl-NL" sz="2400" b="1" dirty="0">
                <a:solidFill>
                  <a:schemeClr val="bg1"/>
                </a:solidFill>
                <a:latin typeface="Helveticaa"/>
              </a:rPr>
              <a:t>MMM</a:t>
            </a:r>
            <a:r>
              <a:rPr lang="nl-NL" sz="2400" dirty="0">
                <a:solidFill>
                  <a:schemeClr val="bg1"/>
                </a:solidFill>
                <a:latin typeface="Helveticaa"/>
              </a:rPr>
              <a:t>: 	</a:t>
            </a:r>
            <a:r>
              <a:rPr lang="nl-NL" sz="2000" dirty="0">
                <a:solidFill>
                  <a:schemeClr val="bg1"/>
                </a:solidFill>
                <a:latin typeface="Helveticaa"/>
              </a:rPr>
              <a:t>Mobile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Marketing</a:t>
            </a:r>
            <a:r>
              <a:rPr lang="nl-NL" sz="2000" dirty="0">
                <a:solidFill>
                  <a:schemeClr val="bg1"/>
                </a:solidFill>
                <a:latin typeface="Helveticaa"/>
              </a:rPr>
              <a:t> 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Management</a:t>
            </a:r>
          </a:p>
          <a:p>
            <a:pPr marL="342900" indent="-342900">
              <a:lnSpc>
                <a:spcPts val="4000"/>
              </a:lnSpc>
              <a:buBlip>
                <a:blip r:embed="rId3"/>
              </a:buBlip>
            </a:pPr>
            <a:r>
              <a:rPr lang="nl-NL" sz="2400" b="1" dirty="0">
                <a:solidFill>
                  <a:schemeClr val="bg1"/>
                </a:solidFill>
                <a:latin typeface="Helveticaa"/>
              </a:rPr>
              <a:t>MFM</a:t>
            </a:r>
            <a:r>
              <a:rPr lang="nl-NL" sz="2400" dirty="0">
                <a:solidFill>
                  <a:schemeClr val="bg1"/>
                </a:solidFill>
                <a:latin typeface="Helveticaa"/>
              </a:rPr>
              <a:t>: </a:t>
            </a:r>
            <a:r>
              <a:rPr lang="nl-NL" sz="2000" dirty="0">
                <a:solidFill>
                  <a:schemeClr val="bg1"/>
                </a:solidFill>
                <a:latin typeface="Helveticaa"/>
              </a:rPr>
              <a:t>	Mobile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 Finance 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Management</a:t>
            </a:r>
          </a:p>
          <a:p>
            <a:pPr marL="342900" indent="-342900">
              <a:lnSpc>
                <a:spcPts val="4000"/>
              </a:lnSpc>
              <a:buBlip>
                <a:blip r:embed="rId3"/>
              </a:buBlip>
            </a:pPr>
            <a:r>
              <a:rPr lang="nl-NL" sz="2400" b="1" dirty="0" smtClean="0">
                <a:solidFill>
                  <a:schemeClr val="bg1"/>
                </a:solidFill>
                <a:latin typeface="Helveticaa"/>
              </a:rPr>
              <a:t>MIM: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	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Mobile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Insurance 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Management</a:t>
            </a:r>
          </a:p>
          <a:p>
            <a:pPr marL="342900" indent="-342900">
              <a:lnSpc>
                <a:spcPts val="4000"/>
              </a:lnSpc>
              <a:buBlip>
                <a:blip r:embed="rId3"/>
              </a:buBlip>
            </a:pPr>
            <a:r>
              <a:rPr lang="nl-NL" sz="2400" b="1" dirty="0" smtClean="0">
                <a:solidFill>
                  <a:schemeClr val="bg1"/>
                </a:solidFill>
                <a:latin typeface="Helveticaa"/>
              </a:rPr>
              <a:t>MLM</a:t>
            </a:r>
            <a:r>
              <a:rPr lang="nl-NL" sz="2400" dirty="0" smtClean="0">
                <a:solidFill>
                  <a:schemeClr val="bg1"/>
                </a:solidFill>
                <a:latin typeface="Helveticaa"/>
              </a:rPr>
              <a:t>: 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	Mobile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Lifecycle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 Management</a:t>
            </a:r>
          </a:p>
          <a:p>
            <a:pPr marL="342900" indent="-342900">
              <a:lnSpc>
                <a:spcPts val="4000"/>
              </a:lnSpc>
              <a:buBlip>
                <a:blip r:embed="rId3"/>
              </a:buBlip>
            </a:pPr>
            <a:r>
              <a:rPr lang="nl-NL" sz="2400" b="1" dirty="0" smtClean="0">
                <a:solidFill>
                  <a:schemeClr val="bg1"/>
                </a:solidFill>
                <a:latin typeface="Helveticaa"/>
              </a:rPr>
              <a:t>MAM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: 	Mobile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Application 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Management</a:t>
            </a:r>
          </a:p>
          <a:p>
            <a:pPr marL="342900" indent="-342900">
              <a:lnSpc>
                <a:spcPts val="4000"/>
              </a:lnSpc>
              <a:buBlip>
                <a:blip r:embed="rId3"/>
              </a:buBlip>
            </a:pPr>
            <a:r>
              <a:rPr lang="nl-NL" sz="2400" b="1" dirty="0" smtClean="0">
                <a:solidFill>
                  <a:schemeClr val="bg1"/>
                </a:solidFill>
                <a:latin typeface="Helveticaa"/>
              </a:rPr>
              <a:t>MDM</a:t>
            </a:r>
            <a:r>
              <a:rPr lang="nl-NL" sz="2400" dirty="0" smtClean="0">
                <a:solidFill>
                  <a:schemeClr val="bg1"/>
                </a:solidFill>
                <a:latin typeface="Helveticaa"/>
              </a:rPr>
              <a:t>: 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	Mobile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Device</a:t>
            </a:r>
            <a:r>
              <a:rPr lang="nl-NL" sz="2000" dirty="0" smtClean="0">
                <a:solidFill>
                  <a:schemeClr val="bg1"/>
                </a:solidFill>
                <a:latin typeface="Helveticaa"/>
              </a:rPr>
              <a:t> Management</a:t>
            </a:r>
          </a:p>
          <a:p>
            <a:pPr>
              <a:lnSpc>
                <a:spcPts val="3000"/>
              </a:lnSpc>
            </a:pPr>
            <a:endParaRPr lang="nl-NL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Font typeface="Wingdings" pitchFamily="2" charset="2"/>
              <a:buChar char="§"/>
            </a:pPr>
            <a:endParaRPr lang="nl-NL" sz="2400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0" y="411510"/>
            <a:ext cx="914400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000"/>
              </a:lnSpc>
            </a:pP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Serviceproposities BlueLine</a:t>
            </a:r>
          </a:p>
        </p:txBody>
      </p:sp>
    </p:spTree>
    <p:extLst>
      <p:ext uri="{BB962C8B-B14F-4D97-AF65-F5344CB8AC3E}">
        <p14:creationId xmlns:p14="http://schemas.microsoft.com/office/powerpoint/2010/main" val="317451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meike\Desktop\Presentatie BlueLine2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207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vak 4"/>
          <p:cNvSpPr txBox="1"/>
          <p:nvPr/>
        </p:nvSpPr>
        <p:spPr>
          <a:xfrm>
            <a:off x="395536" y="1105163"/>
            <a:ext cx="828092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endParaRPr lang="nl-NL" sz="2000" b="1" dirty="0">
              <a:solidFill>
                <a:schemeClr val="bg1"/>
              </a:solidFill>
              <a:latin typeface="Helveticaa"/>
            </a:endParaRPr>
          </a:p>
          <a:p>
            <a:pPr>
              <a:lnSpc>
                <a:spcPts val="3000"/>
              </a:lnSpc>
            </a:pPr>
            <a:endParaRPr lang="nl-NL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Font typeface="Wingdings" pitchFamily="2" charset="2"/>
              <a:buChar char="§"/>
            </a:pPr>
            <a:endParaRPr lang="nl-NL" sz="2400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dirty="0" smtClean="0">
                <a:solidFill>
                  <a:schemeClr val="bg1"/>
                </a:solidFill>
                <a:latin typeface="Helveticaa"/>
              </a:rPr>
              <a:t>Mobile </a:t>
            </a:r>
            <a:r>
              <a:rPr lang="nl-NL" sz="3200" b="1" u="sng" dirty="0" smtClean="0">
                <a:solidFill>
                  <a:schemeClr val="bg1"/>
                </a:solidFill>
                <a:latin typeface="Helveticaa"/>
              </a:rPr>
              <a:t>Finance</a:t>
            </a:r>
            <a:r>
              <a:rPr lang="nl-NL" sz="3200" dirty="0" smtClean="0">
                <a:solidFill>
                  <a:schemeClr val="bg1"/>
                </a:solidFill>
                <a:latin typeface="Helveticaa"/>
              </a:rPr>
              <a:t> Management</a:t>
            </a:r>
          </a:p>
        </p:txBody>
      </p:sp>
      <p:sp>
        <p:nvSpPr>
          <p:cNvPr id="8" name="Tekstvak 7"/>
          <p:cNvSpPr txBox="1"/>
          <p:nvPr/>
        </p:nvSpPr>
        <p:spPr>
          <a:xfrm>
            <a:off x="404444" y="1131590"/>
            <a:ext cx="8560043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MFM: lease van Apple producten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Veel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meer flexibiliteit voor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bedrijven </a:t>
            </a:r>
            <a:endParaRPr lang="nl-NL" sz="2000" b="1" dirty="0">
              <a:solidFill>
                <a:schemeClr val="bg1"/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Hardware voor bedrijf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off </a:t>
            </a:r>
            <a:r>
              <a:rPr lang="nl-NL" sz="2000" b="1" dirty="0" err="1">
                <a:solidFill>
                  <a:schemeClr val="bg1"/>
                </a:solidFill>
                <a:latin typeface="Helveticaa"/>
              </a:rPr>
              <a:t>balance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 </a:t>
            </a:r>
            <a:endParaRPr lang="nl-NL" sz="2000" b="1" dirty="0" smtClean="0">
              <a:solidFill>
                <a:schemeClr val="bg1"/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Geen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voorfinanciering nodig door de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reseller</a:t>
            </a:r>
            <a:endParaRPr lang="nl-NL" sz="2000" b="1" dirty="0">
              <a:solidFill>
                <a:schemeClr val="bg1"/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Mogelijkheid om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tussentijds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over te stappen naar nieuw model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Hoge service: toevoeging MLM en MIM van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BlueLine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</a:t>
            </a:r>
            <a:endParaRPr lang="nl-NL" sz="2000" b="1" dirty="0">
              <a:solidFill>
                <a:schemeClr val="bg1"/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Mobile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Device Management-functionaliteit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m.b.v.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Apple Dep is door samenwerking met Five 4 U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gegarandeerd</a:t>
            </a:r>
            <a:endParaRPr lang="nl-NL" sz="2000" b="1" dirty="0">
              <a:solidFill>
                <a:schemeClr val="bg1"/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Font typeface="Wingdings" pitchFamily="2" charset="2"/>
              <a:buChar char="§"/>
            </a:pPr>
            <a:endParaRPr lang="nl-NL" sz="2400" b="1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</p:txBody>
      </p:sp>
    </p:spTree>
    <p:extLst>
      <p:ext uri="{BB962C8B-B14F-4D97-AF65-F5344CB8AC3E}">
        <p14:creationId xmlns:p14="http://schemas.microsoft.com/office/powerpoint/2010/main" val="84414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meike\Desktop\Presentatie BlueLine2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207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vak 4"/>
          <p:cNvSpPr txBox="1"/>
          <p:nvPr/>
        </p:nvSpPr>
        <p:spPr>
          <a:xfrm>
            <a:off x="395536" y="1105163"/>
            <a:ext cx="828092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endParaRPr lang="nl-NL" sz="2000" b="1" smtClean="0">
              <a:solidFill>
                <a:schemeClr val="bg1"/>
              </a:solidFill>
              <a:latin typeface="Helveticaa"/>
            </a:endParaRPr>
          </a:p>
          <a:p>
            <a:pPr>
              <a:lnSpc>
                <a:spcPts val="3000"/>
              </a:lnSpc>
            </a:pPr>
            <a:endParaRPr lang="nl-NL" sz="2400" smtClean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Font typeface="Wingdings" pitchFamily="2" charset="2"/>
              <a:buChar char="§"/>
            </a:pPr>
            <a:endParaRPr lang="nl-NL" sz="2400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dirty="0" smtClean="0">
                <a:solidFill>
                  <a:schemeClr val="bg1"/>
                </a:solidFill>
                <a:latin typeface="Helveticaa"/>
              </a:rPr>
              <a:t>Mobile </a:t>
            </a:r>
            <a:r>
              <a:rPr lang="nl-NL" sz="3200" b="1" u="sng" dirty="0" err="1" smtClean="0">
                <a:solidFill>
                  <a:schemeClr val="bg1"/>
                </a:solidFill>
                <a:latin typeface="Helveticaa"/>
              </a:rPr>
              <a:t>Lifecycle</a:t>
            </a:r>
            <a:r>
              <a:rPr lang="nl-NL" sz="3200" b="1" u="sng" dirty="0" smtClean="0">
                <a:solidFill>
                  <a:schemeClr val="bg1"/>
                </a:solidFill>
                <a:latin typeface="Helveticaa"/>
              </a:rPr>
              <a:t> / </a:t>
            </a:r>
            <a:r>
              <a:rPr lang="nl-NL" sz="3200" b="1" u="sng" dirty="0">
                <a:solidFill>
                  <a:schemeClr val="bg1"/>
                </a:solidFill>
                <a:latin typeface="Helveticaa"/>
              </a:rPr>
              <a:t>I</a:t>
            </a:r>
            <a:r>
              <a:rPr lang="nl-NL" sz="3200" b="1" u="sng" dirty="0" smtClean="0">
                <a:solidFill>
                  <a:schemeClr val="bg1"/>
                </a:solidFill>
                <a:latin typeface="Helveticaa"/>
              </a:rPr>
              <a:t>nsurance </a:t>
            </a:r>
            <a:r>
              <a:rPr lang="nl-NL" sz="3200" dirty="0" smtClean="0">
                <a:solidFill>
                  <a:schemeClr val="bg1"/>
                </a:solidFill>
                <a:latin typeface="Helveticaa"/>
              </a:rPr>
              <a:t>Management</a:t>
            </a:r>
          </a:p>
        </p:txBody>
      </p:sp>
      <p:sp>
        <p:nvSpPr>
          <p:cNvPr id="8" name="Tekstvak 7"/>
          <p:cNvSpPr txBox="1"/>
          <p:nvPr/>
        </p:nvSpPr>
        <p:spPr>
          <a:xfrm>
            <a:off x="467544" y="1563638"/>
            <a:ext cx="852353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Blip>
                <a:blip r:embed="rId3"/>
              </a:buBlip>
            </a:pPr>
            <a:endParaRPr lang="nl-NL" dirty="0">
              <a:solidFill>
                <a:schemeClr val="bg1"/>
              </a:solidFill>
              <a:latin typeface="Helveticaa"/>
            </a:endParaRPr>
          </a:p>
          <a:p>
            <a:pPr>
              <a:lnSpc>
                <a:spcPts val="3000"/>
              </a:lnSpc>
            </a:pPr>
            <a:endParaRPr lang="nl-NL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Font typeface="Wingdings" pitchFamily="2" charset="2"/>
              <a:buChar char="§"/>
            </a:pPr>
            <a:endParaRPr lang="nl-NL" sz="2400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</p:txBody>
      </p:sp>
      <p:sp>
        <p:nvSpPr>
          <p:cNvPr id="9" name="Tekstvak 8"/>
          <p:cNvSpPr txBox="1"/>
          <p:nvPr/>
        </p:nvSpPr>
        <p:spPr>
          <a:xfrm>
            <a:off x="395536" y="1514564"/>
            <a:ext cx="8560043" cy="278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Blueline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INFINITY-programma</a:t>
            </a:r>
            <a:endParaRPr lang="nl-NL" sz="2000" b="1" dirty="0" smtClean="0">
              <a:solidFill>
                <a:schemeClr val="bg1"/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Assist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Pick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Repair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Return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4 uur of 8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uur-service: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m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edio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2016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24/7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assist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Work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in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progress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: sim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swop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Dedicated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Mobile Insurance 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+ !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Recurring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Marges voor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Resellers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</a:t>
            </a:r>
          </a:p>
          <a:p>
            <a:pPr marL="342900" indent="-342900">
              <a:lnSpc>
                <a:spcPts val="3000"/>
              </a:lnSpc>
              <a:buFont typeface="Wingdings" pitchFamily="2" charset="2"/>
              <a:buChar char="§"/>
            </a:pPr>
            <a:endParaRPr lang="nl-NL" sz="2400" b="1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</p:txBody>
      </p:sp>
    </p:spTree>
    <p:extLst>
      <p:ext uri="{BB962C8B-B14F-4D97-AF65-F5344CB8AC3E}">
        <p14:creationId xmlns:p14="http://schemas.microsoft.com/office/powerpoint/2010/main" val="366679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meike\Desktop\Presentatie BlueLine2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vak 4"/>
          <p:cNvSpPr txBox="1"/>
          <p:nvPr/>
        </p:nvSpPr>
        <p:spPr>
          <a:xfrm>
            <a:off x="395536" y="1563638"/>
            <a:ext cx="8280920" cy="3105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>
                <a:solidFill>
                  <a:schemeClr val="bg1"/>
                </a:solidFill>
                <a:latin typeface="Helveticaa"/>
              </a:rPr>
              <a:t>B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undeling marketinginspanningen van de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resellers</a:t>
            </a:r>
            <a:endParaRPr lang="nl-NL" sz="2000" b="1" dirty="0" smtClean="0">
              <a:solidFill>
                <a:schemeClr val="bg1"/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Gezamenlijke werving marketinggelden van fabrikanten 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Mobile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Marketing Management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via 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het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MSP24-platform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MSP24: van content- en online marketing,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clinics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 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tot events, leadgeneratie en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loyality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. </a:t>
            </a:r>
          </a:p>
          <a:p>
            <a:pPr>
              <a:lnSpc>
                <a:spcPts val="2500"/>
              </a:lnSpc>
            </a:pPr>
            <a:endParaRPr lang="nl-NL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>
              <a:lnSpc>
                <a:spcPts val="3000"/>
              </a:lnSpc>
            </a:pPr>
            <a:endParaRPr lang="nl-NL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Font typeface="Wingdings" pitchFamily="2" charset="2"/>
              <a:buChar char="§"/>
            </a:pPr>
            <a:endParaRPr lang="nl-NL" sz="2400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dirty="0" smtClean="0">
                <a:solidFill>
                  <a:schemeClr val="bg1"/>
                </a:solidFill>
                <a:latin typeface="Helveticaa"/>
              </a:rPr>
              <a:t>Mobile </a:t>
            </a:r>
            <a:r>
              <a:rPr lang="nl-NL" sz="3200" b="1" u="sng" dirty="0" smtClean="0">
                <a:solidFill>
                  <a:schemeClr val="bg1"/>
                </a:solidFill>
                <a:latin typeface="Helveticaa"/>
              </a:rPr>
              <a:t>Marketing</a:t>
            </a:r>
            <a:r>
              <a:rPr lang="nl-NL" sz="3200" dirty="0" smtClean="0">
                <a:solidFill>
                  <a:schemeClr val="bg1"/>
                </a:solidFill>
                <a:latin typeface="Helveticaa"/>
              </a:rPr>
              <a:t> Management</a:t>
            </a:r>
          </a:p>
        </p:txBody>
      </p:sp>
    </p:spTree>
    <p:extLst>
      <p:ext uri="{BB962C8B-B14F-4D97-AF65-F5344CB8AC3E}">
        <p14:creationId xmlns:p14="http://schemas.microsoft.com/office/powerpoint/2010/main" val="185714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6" descr="C:\Users\meike\Desktop\BlueLine\Presentatie BlueLine1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" y="0"/>
            <a:ext cx="914129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vak 3"/>
          <p:cNvSpPr txBox="1"/>
          <p:nvPr/>
        </p:nvSpPr>
        <p:spPr>
          <a:xfrm>
            <a:off x="1835696" y="1059582"/>
            <a:ext cx="35283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6000" b="1" dirty="0" smtClean="0"/>
              <a:t>MOBILE</a:t>
            </a:r>
            <a:endParaRPr lang="nl-NL" sz="6000" b="1" dirty="0"/>
          </a:p>
        </p:txBody>
      </p:sp>
      <p:sp>
        <p:nvSpPr>
          <p:cNvPr id="5" name="Tekstvak 4"/>
          <p:cNvSpPr txBox="1"/>
          <p:nvPr/>
        </p:nvSpPr>
        <p:spPr>
          <a:xfrm>
            <a:off x="2267744" y="1628095"/>
            <a:ext cx="4320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6000" b="1" dirty="0" smtClean="0">
                <a:solidFill>
                  <a:srgbClr val="C00000"/>
                </a:solidFill>
              </a:rPr>
              <a:t>MARKETING</a:t>
            </a:r>
            <a:endParaRPr lang="nl-NL" sz="6000" b="1" dirty="0">
              <a:solidFill>
                <a:srgbClr val="C00000"/>
              </a:solidFill>
            </a:endParaRPr>
          </a:p>
        </p:txBody>
      </p:sp>
      <p:sp>
        <p:nvSpPr>
          <p:cNvPr id="6" name="Tekstvak 5"/>
          <p:cNvSpPr txBox="1"/>
          <p:nvPr/>
        </p:nvSpPr>
        <p:spPr>
          <a:xfrm>
            <a:off x="2699792" y="2204159"/>
            <a:ext cx="51845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6000" b="1" dirty="0" smtClean="0"/>
              <a:t>MANAGEMENT</a:t>
            </a:r>
            <a:endParaRPr lang="nl-NL" sz="6000" b="1" dirty="0"/>
          </a:p>
        </p:txBody>
      </p:sp>
      <p:sp>
        <p:nvSpPr>
          <p:cNvPr id="7" name="Tekstvak 6"/>
          <p:cNvSpPr txBox="1"/>
          <p:nvPr/>
        </p:nvSpPr>
        <p:spPr>
          <a:xfrm>
            <a:off x="2699792" y="2787774"/>
            <a:ext cx="518457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500" b="1" dirty="0" smtClean="0">
                <a:solidFill>
                  <a:srgbClr val="00B0F0"/>
                </a:solidFill>
              </a:rPr>
              <a:t>PRINT SPECIALS</a:t>
            </a:r>
            <a:endParaRPr lang="nl-NL" sz="4500" b="1" dirty="0">
              <a:solidFill>
                <a:srgbClr val="00B0F0"/>
              </a:solidFill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467544" y="843558"/>
            <a:ext cx="6912768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5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NLINE MARKETING PROGRAMMA</a:t>
            </a:r>
            <a:endParaRPr lang="nl-NL" sz="35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kstvak 9"/>
          <p:cNvSpPr txBox="1"/>
          <p:nvPr/>
        </p:nvSpPr>
        <p:spPr>
          <a:xfrm>
            <a:off x="7812360" y="2079888"/>
            <a:ext cx="800219" cy="171599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nl-NL" sz="4000" b="1" dirty="0" smtClean="0">
                <a:solidFill>
                  <a:srgbClr val="00B050"/>
                </a:solidFill>
              </a:rPr>
              <a:t>EVENTS</a:t>
            </a:r>
            <a:endParaRPr lang="nl-NL" sz="4000" b="1" dirty="0">
              <a:solidFill>
                <a:srgbClr val="00B050"/>
              </a:solidFill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1477397" y="1131590"/>
            <a:ext cx="646331" cy="202225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nl-NL" sz="3000" b="1" dirty="0" smtClean="0"/>
              <a:t>ACQUISITIE</a:t>
            </a:r>
            <a:endParaRPr lang="nl-NL" sz="3000" b="1" dirty="0"/>
          </a:p>
        </p:txBody>
      </p:sp>
      <p:sp>
        <p:nvSpPr>
          <p:cNvPr id="12" name="Tekstvak 11"/>
          <p:cNvSpPr txBox="1"/>
          <p:nvPr/>
        </p:nvSpPr>
        <p:spPr>
          <a:xfrm>
            <a:off x="1755557" y="1631870"/>
            <a:ext cx="815608" cy="245204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nl-NL" sz="4100" b="1" dirty="0" smtClean="0"/>
              <a:t>CONTENT</a:t>
            </a:r>
            <a:endParaRPr lang="nl-NL" sz="4100" b="1" dirty="0"/>
          </a:p>
        </p:txBody>
      </p:sp>
      <p:sp>
        <p:nvSpPr>
          <p:cNvPr id="13" name="Tekstvak 12"/>
          <p:cNvSpPr txBox="1"/>
          <p:nvPr/>
        </p:nvSpPr>
        <p:spPr>
          <a:xfrm>
            <a:off x="2141438" y="1407428"/>
            <a:ext cx="846386" cy="331236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nl-NL" sz="43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AINING</a:t>
            </a:r>
            <a:endParaRPr lang="nl-NL" sz="43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kstvak 14"/>
          <p:cNvSpPr txBox="1"/>
          <p:nvPr/>
        </p:nvSpPr>
        <p:spPr>
          <a:xfrm>
            <a:off x="4644008" y="577592"/>
            <a:ext cx="25922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000" b="1" dirty="0" smtClean="0"/>
              <a:t>RAPPORTAGES</a:t>
            </a:r>
            <a:endParaRPr lang="nl-NL" sz="3000" b="1" dirty="0"/>
          </a:p>
        </p:txBody>
      </p:sp>
      <p:sp>
        <p:nvSpPr>
          <p:cNvPr id="16" name="Tekstvak 15"/>
          <p:cNvSpPr txBox="1"/>
          <p:nvPr/>
        </p:nvSpPr>
        <p:spPr>
          <a:xfrm>
            <a:off x="4349665" y="1472466"/>
            <a:ext cx="4110767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50" b="1" dirty="0" smtClean="0">
                <a:solidFill>
                  <a:schemeClr val="bg1">
                    <a:lumMod val="65000"/>
                  </a:schemeClr>
                </a:solidFill>
              </a:rPr>
              <a:t>TAG-ON CAMPAGNES</a:t>
            </a:r>
            <a:endParaRPr lang="nl-NL" sz="285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Tekstvak 16"/>
          <p:cNvSpPr txBox="1"/>
          <p:nvPr/>
        </p:nvSpPr>
        <p:spPr>
          <a:xfrm>
            <a:off x="4349665" y="1203598"/>
            <a:ext cx="339068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700" b="1" dirty="0" smtClean="0">
                <a:solidFill>
                  <a:srgbClr val="7030A0"/>
                </a:solidFill>
              </a:rPr>
              <a:t>LEAD GENERATION</a:t>
            </a:r>
            <a:endParaRPr lang="nl-NL" sz="2700" b="1" dirty="0">
              <a:solidFill>
                <a:srgbClr val="7030A0"/>
              </a:solidFill>
            </a:endParaRPr>
          </a:p>
        </p:txBody>
      </p:sp>
      <p:sp>
        <p:nvSpPr>
          <p:cNvPr id="19" name="Tekstvak 18"/>
          <p:cNvSpPr txBox="1"/>
          <p:nvPr/>
        </p:nvSpPr>
        <p:spPr>
          <a:xfrm>
            <a:off x="6156176" y="1915160"/>
            <a:ext cx="1584176" cy="612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nl-NL" sz="2750" b="1" dirty="0" smtClean="0"/>
              <a:t>LINKEDIN </a:t>
            </a:r>
          </a:p>
          <a:p>
            <a:pPr algn="ctr">
              <a:lnSpc>
                <a:spcPts val="2000"/>
              </a:lnSpc>
            </a:pPr>
            <a:r>
              <a:rPr lang="nl-NL" sz="2100" b="1" dirty="0" smtClean="0"/>
              <a:t>MARKETING</a:t>
            </a:r>
            <a:endParaRPr lang="nl-NL" sz="2100" b="1" dirty="0"/>
          </a:p>
        </p:txBody>
      </p:sp>
      <p:sp>
        <p:nvSpPr>
          <p:cNvPr id="20" name="Tekstvak 19"/>
          <p:cNvSpPr txBox="1"/>
          <p:nvPr/>
        </p:nvSpPr>
        <p:spPr>
          <a:xfrm>
            <a:off x="2699792" y="3257133"/>
            <a:ext cx="5328592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500" b="1" dirty="0" smtClean="0"/>
              <a:t>LANDELIJKE MSP WEBSITE</a:t>
            </a:r>
            <a:endParaRPr lang="nl-NL" sz="3500" b="1" dirty="0"/>
          </a:p>
        </p:txBody>
      </p:sp>
      <p:sp>
        <p:nvSpPr>
          <p:cNvPr id="21" name="Tekstvak 20"/>
          <p:cNvSpPr txBox="1"/>
          <p:nvPr/>
        </p:nvSpPr>
        <p:spPr>
          <a:xfrm>
            <a:off x="2699792" y="3766656"/>
            <a:ext cx="2187860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nl-NL" sz="2500" b="1" dirty="0" smtClean="0">
                <a:solidFill>
                  <a:srgbClr val="EC205F"/>
                </a:solidFill>
              </a:rPr>
              <a:t>HOSTMANSHIP </a:t>
            </a:r>
          </a:p>
          <a:p>
            <a:pPr>
              <a:lnSpc>
                <a:spcPts val="2000"/>
              </a:lnSpc>
            </a:pPr>
            <a:r>
              <a:rPr lang="nl-NL" sz="2500" b="1" dirty="0" smtClean="0">
                <a:solidFill>
                  <a:srgbClr val="EC205F"/>
                </a:solidFill>
              </a:rPr>
              <a:t>TRAINING</a:t>
            </a:r>
            <a:endParaRPr lang="nl-NL" sz="2500" b="1" dirty="0">
              <a:solidFill>
                <a:srgbClr val="EC205F"/>
              </a:solidFill>
            </a:endParaRPr>
          </a:p>
        </p:txBody>
      </p:sp>
      <p:sp>
        <p:nvSpPr>
          <p:cNvPr id="22" name="Tekstvak 21"/>
          <p:cNvSpPr txBox="1"/>
          <p:nvPr/>
        </p:nvSpPr>
        <p:spPr>
          <a:xfrm>
            <a:off x="4716016" y="3794289"/>
            <a:ext cx="4410520" cy="395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00"/>
              </a:lnSpc>
            </a:pPr>
            <a:r>
              <a:rPr lang="nl-NL" sz="3000" b="1" dirty="0" smtClean="0">
                <a:solidFill>
                  <a:srgbClr val="FFC000"/>
                </a:solidFill>
              </a:rPr>
              <a:t>LOYALTY PROGRAMMA</a:t>
            </a:r>
            <a:endParaRPr lang="nl-NL" sz="3000" b="1" dirty="0">
              <a:solidFill>
                <a:srgbClr val="FFC000"/>
              </a:solidFill>
            </a:endParaRPr>
          </a:p>
        </p:txBody>
      </p:sp>
      <p:sp>
        <p:nvSpPr>
          <p:cNvPr id="23" name="Tekstvak 22"/>
          <p:cNvSpPr txBox="1"/>
          <p:nvPr/>
        </p:nvSpPr>
        <p:spPr>
          <a:xfrm>
            <a:off x="539552" y="1275606"/>
            <a:ext cx="1261884" cy="245204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r">
              <a:lnSpc>
                <a:spcPts val="2800"/>
              </a:lnSpc>
            </a:pPr>
            <a:r>
              <a:rPr lang="nl-NL" sz="3600" b="1" dirty="0" smtClean="0"/>
              <a:t>SOCIAL </a:t>
            </a:r>
            <a:r>
              <a:rPr lang="nl-NL" sz="3600" b="1" dirty="0" smtClean="0">
                <a:solidFill>
                  <a:srgbClr val="000066"/>
                </a:solidFill>
              </a:rPr>
              <a:t>SALES</a:t>
            </a:r>
            <a:r>
              <a:rPr lang="nl-NL" sz="3600" b="1" dirty="0" smtClean="0">
                <a:solidFill>
                  <a:srgbClr val="00FF00"/>
                </a:solidFill>
              </a:rPr>
              <a:t> </a:t>
            </a:r>
            <a:r>
              <a:rPr lang="nl-NL" sz="3600" b="1" dirty="0" smtClean="0"/>
              <a:t>TRAINING</a:t>
            </a:r>
            <a:endParaRPr lang="nl-NL" sz="3600" b="1" dirty="0"/>
          </a:p>
        </p:txBody>
      </p:sp>
      <p:sp>
        <p:nvSpPr>
          <p:cNvPr id="24" name="Tekstvak 23"/>
          <p:cNvSpPr txBox="1"/>
          <p:nvPr/>
        </p:nvSpPr>
        <p:spPr>
          <a:xfrm>
            <a:off x="4067944" y="3920982"/>
            <a:ext cx="454463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500" b="1" dirty="0" smtClean="0"/>
              <a:t>DIGITALE </a:t>
            </a:r>
            <a:r>
              <a:rPr lang="nl-NL" sz="3500" b="1" dirty="0" smtClean="0">
                <a:solidFill>
                  <a:srgbClr val="002060"/>
                </a:solidFill>
              </a:rPr>
              <a:t>NIEUWSBRIEF</a:t>
            </a:r>
            <a:endParaRPr lang="nl-NL" sz="3500" b="1" dirty="0">
              <a:solidFill>
                <a:srgbClr val="002060"/>
              </a:solidFill>
            </a:endParaRPr>
          </a:p>
        </p:txBody>
      </p:sp>
      <p:sp>
        <p:nvSpPr>
          <p:cNvPr id="25" name="Tekstvak 24"/>
          <p:cNvSpPr txBox="1"/>
          <p:nvPr/>
        </p:nvSpPr>
        <p:spPr>
          <a:xfrm>
            <a:off x="2051720" y="451143"/>
            <a:ext cx="335569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000" b="1" dirty="0" smtClean="0">
                <a:solidFill>
                  <a:schemeClr val="bg1">
                    <a:lumMod val="65000"/>
                  </a:schemeClr>
                </a:solidFill>
              </a:rPr>
              <a:t>BANNERING</a:t>
            </a:r>
            <a:endParaRPr lang="nl-NL" sz="40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6" name="Tekstvak 25"/>
          <p:cNvSpPr txBox="1"/>
          <p:nvPr/>
        </p:nvSpPr>
        <p:spPr>
          <a:xfrm>
            <a:off x="6444208" y="2795032"/>
            <a:ext cx="1431776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300" b="1" dirty="0" smtClean="0">
                <a:solidFill>
                  <a:schemeClr val="bg1">
                    <a:lumMod val="65000"/>
                  </a:schemeClr>
                </a:solidFill>
              </a:rPr>
              <a:t>MDF</a:t>
            </a:r>
            <a:endParaRPr lang="nl-NL" sz="43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7" name="Tekstvak 26"/>
          <p:cNvSpPr txBox="1"/>
          <p:nvPr/>
        </p:nvSpPr>
        <p:spPr>
          <a:xfrm>
            <a:off x="7560951" y="1642750"/>
            <a:ext cx="611449" cy="211668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nl-NL" sz="2000" b="1" dirty="0" smtClean="0"/>
              <a:t>INBOUND MARKETING</a:t>
            </a:r>
            <a:endParaRPr lang="nl-NL" sz="2000" b="1" dirty="0"/>
          </a:p>
        </p:txBody>
      </p:sp>
    </p:spTree>
    <p:extLst>
      <p:ext uri="{BB962C8B-B14F-4D97-AF65-F5344CB8AC3E}">
        <p14:creationId xmlns:p14="http://schemas.microsoft.com/office/powerpoint/2010/main" val="3808382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000"/>
                            </p:stCondLst>
                            <p:childTnLst>
                              <p:par>
                                <p:cTn id="3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000"/>
                            </p:stCondLst>
                            <p:childTnLst>
                              <p:par>
                                <p:cTn id="5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000"/>
                            </p:stCondLst>
                            <p:childTnLst>
                              <p:par>
                                <p:cTn id="6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500"/>
                            </p:stCondLst>
                            <p:childTnLst>
                              <p:par>
                                <p:cTn id="6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0"/>
                            </p:stCondLst>
                            <p:childTnLst>
                              <p:par>
                                <p:cTn id="7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500"/>
                            </p:stCondLst>
                            <p:childTnLst>
                              <p:par>
                                <p:cTn id="8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000"/>
                            </p:stCondLst>
                            <p:childTnLst>
                              <p:par>
                                <p:cTn id="8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500"/>
                            </p:stCondLst>
                            <p:childTnLst>
                              <p:par>
                                <p:cTn id="9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7000"/>
                            </p:stCondLst>
                            <p:childTnLst>
                              <p:par>
                                <p:cTn id="9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0"/>
                            </p:stCondLst>
                            <p:childTnLst>
                              <p:par>
                                <p:cTn id="10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8000"/>
                            </p:stCondLst>
                            <p:childTnLst>
                              <p:par>
                                <p:cTn id="1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8500"/>
                            </p:stCondLst>
                            <p:childTnLst>
                              <p:par>
                                <p:cTn id="1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9000"/>
                            </p:stCondLst>
                            <p:childTnLst>
                              <p:par>
                                <p:cTn id="1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8" grpId="0"/>
      <p:bldP spid="10" grpId="0"/>
      <p:bldP spid="11" grpId="0"/>
      <p:bldP spid="12" grpId="0"/>
      <p:bldP spid="13" grpId="0"/>
      <p:bldP spid="15" grpId="0"/>
      <p:bldP spid="16" grpId="0"/>
      <p:bldP spid="17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meike\Desktop\Presentatie BlueLine20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C:\Users\meike\Desktop\BlueLine\Reseller-blok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3363918"/>
            <a:ext cx="126760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4" descr="C:\Users\meike\Desktop\BlueLine\Reseller-blok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3363918"/>
            <a:ext cx="126760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C:\Users\meike\Desktop\BlueLine\Reseller-blok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3363918"/>
            <a:ext cx="126760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4" descr="C:\Users\meike\Desktop\BlueLine\Reseller-blok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3363918"/>
            <a:ext cx="126760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" descr="C:\Users\meike\Desktop\BlueLine\Reseller-blok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3363918"/>
            <a:ext cx="126760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" name="Picture 2" descr="C:\Users\meike\Desktop\BlueLine\BlueLine-blo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1995846"/>
            <a:ext cx="2537442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meike\Desktop\BlueLine\MLM-blok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67494"/>
            <a:ext cx="1582914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Rechte verbindingslijn met pijl 16"/>
          <p:cNvCxnSpPr/>
          <p:nvPr/>
        </p:nvCxnSpPr>
        <p:spPr>
          <a:xfrm flipH="1" flipV="1">
            <a:off x="2699792" y="1167494"/>
            <a:ext cx="1772777" cy="828352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31" name="Picture 7" descr="C:\Users\meike\Desktop\BlueLine\MMM-blok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81" y="267494"/>
            <a:ext cx="1582915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eike\Desktop\BlueLine\MFM-blok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267494"/>
            <a:ext cx="1582915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Rechte verbindingslijn met pijl 19"/>
          <p:cNvCxnSpPr/>
          <p:nvPr/>
        </p:nvCxnSpPr>
        <p:spPr>
          <a:xfrm flipV="1">
            <a:off x="4472569" y="1167494"/>
            <a:ext cx="5134" cy="828352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Rechte verbindingslijn met pijl 13"/>
          <p:cNvCxnSpPr/>
          <p:nvPr/>
        </p:nvCxnSpPr>
        <p:spPr>
          <a:xfrm flipH="1" flipV="1">
            <a:off x="1042978" y="1167494"/>
            <a:ext cx="3429591" cy="828352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33" name="Picture 9" descr="C:\Users\meike\Desktop\BlueLine\MAM-blok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7357" y="267494"/>
            <a:ext cx="1582915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meike\Desktop\BlueLine\MDM-blok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549" y="267494"/>
            <a:ext cx="1582915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Rechte verbindingslijn met pijl 23"/>
          <p:cNvCxnSpPr/>
          <p:nvPr/>
        </p:nvCxnSpPr>
        <p:spPr>
          <a:xfrm flipV="1">
            <a:off x="4472569" y="1167494"/>
            <a:ext cx="1755535" cy="828352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Rechte verbindingslijn met pijl 26"/>
          <p:cNvCxnSpPr/>
          <p:nvPr/>
        </p:nvCxnSpPr>
        <p:spPr>
          <a:xfrm flipV="1">
            <a:off x="4472569" y="1167494"/>
            <a:ext cx="3483176" cy="828352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75" name="Groep 274"/>
          <p:cNvGrpSpPr/>
          <p:nvPr/>
        </p:nvGrpSpPr>
        <p:grpSpPr>
          <a:xfrm>
            <a:off x="252781" y="267494"/>
            <a:ext cx="8495683" cy="3168352"/>
            <a:chOff x="251520" y="267494"/>
            <a:chExt cx="8495683" cy="3168352"/>
          </a:xfrm>
        </p:grpSpPr>
        <p:pic>
          <p:nvPicPr>
            <p:cNvPr id="264" name="Picture 2" descr="C:\Users\meike\Desktop\BlueLine\BlueLine-blok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3218" y="1995846"/>
              <a:ext cx="2537442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5" name="Picture 3" descr="C:\Users\meike\Desktop\BlueLine\MLM-blok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8451" y="267494"/>
              <a:ext cx="1582914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66" name="Rechte verbindingslijn met pijl 265"/>
            <p:cNvCxnSpPr/>
            <p:nvPr/>
          </p:nvCxnSpPr>
          <p:spPr>
            <a:xfrm flipH="1" flipV="1">
              <a:off x="2698531" y="1167494"/>
              <a:ext cx="1772777" cy="828352"/>
            </a:xfrm>
            <a:prstGeom prst="straightConnector1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267" name="Picture 7" descr="C:\Users\meike\Desktop\BlueLine\MMM-blok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520" y="267494"/>
              <a:ext cx="1582915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8" name="Picture 8" descr="C:\Users\meike\Desktop\BlueLine\MFM-blok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6643" y="267494"/>
              <a:ext cx="1582915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69" name="Rechte verbindingslijn met pijl 268"/>
            <p:cNvCxnSpPr/>
            <p:nvPr/>
          </p:nvCxnSpPr>
          <p:spPr>
            <a:xfrm flipV="1">
              <a:off x="4471308" y="1167494"/>
              <a:ext cx="5134" cy="828352"/>
            </a:xfrm>
            <a:prstGeom prst="straightConnector1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0" name="Rechte verbindingslijn met pijl 269"/>
            <p:cNvCxnSpPr/>
            <p:nvPr/>
          </p:nvCxnSpPr>
          <p:spPr>
            <a:xfrm flipH="1" flipV="1">
              <a:off x="1041717" y="1167494"/>
              <a:ext cx="3429591" cy="828352"/>
            </a:xfrm>
            <a:prstGeom prst="straightConnector1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271" name="Picture 9" descr="C:\Users\meike\Desktop\BlueLine\MAM-blok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6096" y="267494"/>
              <a:ext cx="1582915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2" name="Picture 10" descr="C:\Users\meike\Desktop\BlueLine\MDM-blok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288" y="267494"/>
              <a:ext cx="1582915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73" name="Rechte verbindingslijn met pijl 272"/>
            <p:cNvCxnSpPr/>
            <p:nvPr/>
          </p:nvCxnSpPr>
          <p:spPr>
            <a:xfrm flipV="1">
              <a:off x="4471308" y="1167494"/>
              <a:ext cx="1755535" cy="828352"/>
            </a:xfrm>
            <a:prstGeom prst="straightConnector1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4" name="Rechte verbindingslijn met pijl 273"/>
            <p:cNvCxnSpPr/>
            <p:nvPr/>
          </p:nvCxnSpPr>
          <p:spPr>
            <a:xfrm flipV="1">
              <a:off x="4471308" y="1167494"/>
              <a:ext cx="3483176" cy="828352"/>
            </a:xfrm>
            <a:prstGeom prst="straightConnector1">
              <a:avLst/>
            </a:prstGeom>
            <a:ln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89" name="Rechte verbindingslijn met pijl 88"/>
          <p:cNvCxnSpPr/>
          <p:nvPr/>
        </p:nvCxnSpPr>
        <p:spPr>
          <a:xfrm flipH="1">
            <a:off x="1749419" y="2680022"/>
            <a:ext cx="2742289" cy="683896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Rechte verbindingslijn met pijl 90"/>
          <p:cNvCxnSpPr/>
          <p:nvPr/>
        </p:nvCxnSpPr>
        <p:spPr>
          <a:xfrm flipH="1">
            <a:off x="3120566" y="2680022"/>
            <a:ext cx="1371142" cy="683896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Rechte verbindingslijn met pijl 95"/>
          <p:cNvCxnSpPr/>
          <p:nvPr/>
        </p:nvCxnSpPr>
        <p:spPr>
          <a:xfrm flipH="1">
            <a:off x="4472568" y="2680022"/>
            <a:ext cx="19140" cy="683896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Rechte verbindingslijn met pijl 98"/>
          <p:cNvCxnSpPr/>
          <p:nvPr/>
        </p:nvCxnSpPr>
        <p:spPr>
          <a:xfrm>
            <a:off x="4499912" y="2680022"/>
            <a:ext cx="1353963" cy="683896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Rechte verbindingslijn met pijl 101"/>
          <p:cNvCxnSpPr/>
          <p:nvPr/>
        </p:nvCxnSpPr>
        <p:spPr>
          <a:xfrm>
            <a:off x="4499912" y="2680022"/>
            <a:ext cx="2664375" cy="683896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00" name="Groep 399"/>
          <p:cNvGrpSpPr/>
          <p:nvPr/>
        </p:nvGrpSpPr>
        <p:grpSpPr>
          <a:xfrm>
            <a:off x="1957895" y="967038"/>
            <a:ext cx="5085456" cy="2828847"/>
            <a:chOff x="1298867" y="195486"/>
            <a:chExt cx="6403512" cy="3562032"/>
          </a:xfrm>
        </p:grpSpPr>
        <p:pic>
          <p:nvPicPr>
            <p:cNvPr id="401" name="Picture 2" descr="C:\Users\meike\Desktop\BlueLine\BlueLine-blok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417" y="1498209"/>
              <a:ext cx="1813478" cy="10291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02" name="Groep 401"/>
            <p:cNvGrpSpPr/>
            <p:nvPr/>
          </p:nvGrpSpPr>
          <p:grpSpPr>
            <a:xfrm>
              <a:off x="1298867" y="195486"/>
              <a:ext cx="6403512" cy="1302723"/>
              <a:chOff x="252781" y="267494"/>
              <a:chExt cx="8495685" cy="1728352"/>
            </a:xfrm>
          </p:grpSpPr>
          <p:pic>
            <p:nvPicPr>
              <p:cNvPr id="414" name="Picture 3" descr="C:\Users\meike\Desktop\BlueLine\MLM-blok.png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79713" y="267494"/>
                <a:ext cx="1582914" cy="8999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415" name="Rechte verbindingslijn met pijl 414"/>
              <p:cNvCxnSpPr/>
              <p:nvPr/>
            </p:nvCxnSpPr>
            <p:spPr>
              <a:xfrm flipH="1" flipV="1">
                <a:off x="2699793" y="1167493"/>
                <a:ext cx="1772778" cy="828353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pic>
            <p:nvPicPr>
              <p:cNvPr id="416" name="Picture 7" descr="C:\Users\meike\Desktop\BlueLine\MMM-blok.png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2781" y="267494"/>
                <a:ext cx="1582916" cy="8999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7" name="Picture 8" descr="C:\Users\meike\Desktop\BlueLine\MFM-blok.png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07905" y="267494"/>
                <a:ext cx="1582916" cy="8999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418" name="Rechte verbindingslijn met pijl 417"/>
              <p:cNvCxnSpPr/>
              <p:nvPr/>
            </p:nvCxnSpPr>
            <p:spPr>
              <a:xfrm flipV="1">
                <a:off x="4472570" y="1167493"/>
                <a:ext cx="5134" cy="828353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19" name="Rechte verbindingslijn met pijl 418"/>
              <p:cNvCxnSpPr/>
              <p:nvPr/>
            </p:nvCxnSpPr>
            <p:spPr>
              <a:xfrm flipH="1" flipV="1">
                <a:off x="1042978" y="1167493"/>
                <a:ext cx="3429592" cy="828353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pic>
            <p:nvPicPr>
              <p:cNvPr id="420" name="Picture 9" descr="C:\Users\meike\Desktop\BlueLine\MAM-blok.png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7359" y="267494"/>
                <a:ext cx="1582916" cy="8999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1" name="Picture 10" descr="C:\Users\meike\Desktop\BlueLine\MDM-blok.png"/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65550" y="267494"/>
                <a:ext cx="1582916" cy="8999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422" name="Rechte verbindingslijn met pijl 421"/>
              <p:cNvCxnSpPr/>
              <p:nvPr/>
            </p:nvCxnSpPr>
            <p:spPr>
              <a:xfrm flipV="1">
                <a:off x="4472570" y="1167493"/>
                <a:ext cx="1755535" cy="828353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23" name="Rechte verbindingslijn met pijl 422"/>
              <p:cNvCxnSpPr/>
              <p:nvPr/>
            </p:nvCxnSpPr>
            <p:spPr>
              <a:xfrm flipV="1">
                <a:off x="4472568" y="1167493"/>
                <a:ext cx="3483177" cy="828353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403" name="Groep 402"/>
            <p:cNvGrpSpPr/>
            <p:nvPr/>
          </p:nvGrpSpPr>
          <p:grpSpPr>
            <a:xfrm>
              <a:off x="1526433" y="2527358"/>
              <a:ext cx="5906090" cy="1230160"/>
              <a:chOff x="1115616" y="2680022"/>
              <a:chExt cx="6740214" cy="1403896"/>
            </a:xfrm>
          </p:grpSpPr>
          <p:pic>
            <p:nvPicPr>
              <p:cNvPr id="404" name="Picture 4" descr="C:\Users\meike\Desktop\BlueLine\Reseller-blok.png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5616" y="3363918"/>
                <a:ext cx="1267606" cy="7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5" name="Picture 4" descr="C:\Users\meike\Desktop\BlueLine\Reseller-blok.png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83768" y="3363918"/>
                <a:ext cx="1267606" cy="7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6" name="Picture 4" descr="C:\Users\meike\Desktop\BlueLine\Reseller-blok.png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51920" y="3363918"/>
                <a:ext cx="1267606" cy="7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7" name="Picture 4" descr="C:\Users\meike\Desktop\BlueLine\Reseller-blok.png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20072" y="3363918"/>
                <a:ext cx="1267606" cy="7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8" name="Picture 4" descr="C:\Users\meike\Desktop\BlueLine\Reseller-blok.png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88224" y="3363918"/>
                <a:ext cx="1267606" cy="72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409" name="Rechte verbindingslijn met pijl 408"/>
              <p:cNvCxnSpPr/>
              <p:nvPr/>
            </p:nvCxnSpPr>
            <p:spPr>
              <a:xfrm flipH="1">
                <a:off x="1749419" y="2680022"/>
                <a:ext cx="2742289" cy="683896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10" name="Rechte verbindingslijn met pijl 409"/>
              <p:cNvCxnSpPr/>
              <p:nvPr/>
            </p:nvCxnSpPr>
            <p:spPr>
              <a:xfrm flipH="1">
                <a:off x="3120566" y="2680022"/>
                <a:ext cx="1371142" cy="683896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11" name="Rechte verbindingslijn met pijl 410"/>
              <p:cNvCxnSpPr/>
              <p:nvPr/>
            </p:nvCxnSpPr>
            <p:spPr>
              <a:xfrm flipH="1">
                <a:off x="4472568" y="2680022"/>
                <a:ext cx="19140" cy="683896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12" name="Rechte verbindingslijn met pijl 411"/>
              <p:cNvCxnSpPr/>
              <p:nvPr/>
            </p:nvCxnSpPr>
            <p:spPr>
              <a:xfrm>
                <a:off x="4499912" y="2680022"/>
                <a:ext cx="1353963" cy="683896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13" name="Rechte verbindingslijn met pijl 412"/>
              <p:cNvCxnSpPr/>
              <p:nvPr/>
            </p:nvCxnSpPr>
            <p:spPr>
              <a:xfrm>
                <a:off x="4499912" y="2680022"/>
                <a:ext cx="2664375" cy="683896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pic>
        <p:nvPicPr>
          <p:cNvPr id="60" name="Picture 11" descr="C:\Users\meike\Desktop\BlueLine\Company-blok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3391254"/>
            <a:ext cx="934588" cy="47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1" descr="C:\Users\meike\Desktop\BlueLine\Company-blok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7668" y="3391254"/>
            <a:ext cx="934588" cy="47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1" descr="C:\Users\meike\Desktop\BlueLine\Company-blok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5897" y="3391254"/>
            <a:ext cx="934588" cy="47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1" descr="C:\Users\meike\Desktop\BlueLine\Company-blok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845" y="3391254"/>
            <a:ext cx="934588" cy="47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9" name="Rechte verbindingslijn met pijl 68"/>
          <p:cNvCxnSpPr>
            <a:endCxn id="60" idx="0"/>
          </p:cNvCxnSpPr>
          <p:nvPr/>
        </p:nvCxnSpPr>
        <p:spPr>
          <a:xfrm flipH="1">
            <a:off x="2519014" y="2977378"/>
            <a:ext cx="1960995" cy="413876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Rechte verbindingslijn met pijl 69"/>
          <p:cNvCxnSpPr/>
          <p:nvPr/>
        </p:nvCxnSpPr>
        <p:spPr>
          <a:xfrm flipH="1">
            <a:off x="3477445" y="2986464"/>
            <a:ext cx="1002564" cy="422962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Rechte verbindingslijn met pijl 70"/>
          <p:cNvCxnSpPr>
            <a:endCxn id="62" idx="0"/>
          </p:cNvCxnSpPr>
          <p:nvPr/>
        </p:nvCxnSpPr>
        <p:spPr>
          <a:xfrm>
            <a:off x="4480009" y="2986464"/>
            <a:ext cx="3182" cy="404790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Rechte verbindingslijn met pijl 71"/>
          <p:cNvCxnSpPr>
            <a:endCxn id="65" idx="0"/>
          </p:cNvCxnSpPr>
          <p:nvPr/>
        </p:nvCxnSpPr>
        <p:spPr>
          <a:xfrm>
            <a:off x="4480009" y="2986464"/>
            <a:ext cx="979130" cy="404790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3" name="Picture 2" descr="C:\Users\meike\Downloads\Seats-blok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4299942"/>
            <a:ext cx="654545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2" descr="C:\Users\meike\Downloads\Seats-blok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307" y="4301719"/>
            <a:ext cx="654545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" descr="C:\Users\meike\Downloads\Seats-blok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9045" y="4301719"/>
            <a:ext cx="654545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" descr="C:\Users\meike\Downloads\Seats-blok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875" y="4299942"/>
            <a:ext cx="654545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2" descr="C:\Users\meike\Downloads\Seats-blok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8430" y="4301719"/>
            <a:ext cx="654545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C:\Users\meike\Downloads\Seats-blok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7168" y="4301719"/>
            <a:ext cx="654545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9" name="Rechte verbindingslijn met pijl 78"/>
          <p:cNvCxnSpPr>
            <a:endCxn id="73" idx="0"/>
          </p:cNvCxnSpPr>
          <p:nvPr/>
        </p:nvCxnSpPr>
        <p:spPr>
          <a:xfrm flipH="1">
            <a:off x="2753554" y="3886066"/>
            <a:ext cx="1730575" cy="413876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Rechte verbindingslijn met pijl 79"/>
          <p:cNvCxnSpPr/>
          <p:nvPr/>
        </p:nvCxnSpPr>
        <p:spPr>
          <a:xfrm flipH="1">
            <a:off x="3395718" y="3884289"/>
            <a:ext cx="1089839" cy="415653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Rechte verbindingslijn met pijl 80"/>
          <p:cNvCxnSpPr/>
          <p:nvPr/>
        </p:nvCxnSpPr>
        <p:spPr>
          <a:xfrm flipH="1">
            <a:off x="4119464" y="3884288"/>
            <a:ext cx="360545" cy="415653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Rechte verbindingslijn met pijl 81"/>
          <p:cNvCxnSpPr/>
          <p:nvPr/>
        </p:nvCxnSpPr>
        <p:spPr>
          <a:xfrm>
            <a:off x="4480009" y="3890725"/>
            <a:ext cx="358285" cy="409217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Rechte verbindingslijn met pijl 82"/>
          <p:cNvCxnSpPr/>
          <p:nvPr/>
        </p:nvCxnSpPr>
        <p:spPr>
          <a:xfrm>
            <a:off x="4480009" y="3884287"/>
            <a:ext cx="1067962" cy="415653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Rechte verbindingslijn met pijl 83"/>
          <p:cNvCxnSpPr/>
          <p:nvPr/>
        </p:nvCxnSpPr>
        <p:spPr>
          <a:xfrm>
            <a:off x="4476863" y="3884287"/>
            <a:ext cx="1785296" cy="410994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5" name="Picture 11" descr="C:\Users\meike\Desktop\BlueLine\Company-blok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622" y="3393679"/>
            <a:ext cx="934588" cy="47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6" name="Rechte verbindingslijn met pijl 85"/>
          <p:cNvCxnSpPr>
            <a:endCxn id="85" idx="0"/>
          </p:cNvCxnSpPr>
          <p:nvPr/>
        </p:nvCxnSpPr>
        <p:spPr>
          <a:xfrm>
            <a:off x="4480009" y="2986464"/>
            <a:ext cx="1970907" cy="407215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17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5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6" dur="2000" fill="hold"/>
                                        <p:tgtEl>
                                          <p:spTgt spid="275"/>
                                        </p:tgtEl>
                                      </p:cBhvr>
                                      <p:by x="75000" y="75000"/>
                                    </p:animScale>
                                  </p:childTnLst>
                                </p:cTn>
                              </p:par>
                              <p:par>
                                <p:cTn id="97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0.0281 L 2.5E-6 -0.07011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9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7500"/>
                            </p:stCondLst>
                            <p:childTnLst>
                              <p:par>
                                <p:cTn id="10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8000"/>
                            </p:stCondLst>
                            <p:childTnLst>
                              <p:par>
                                <p:cTn id="1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1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8500"/>
                            </p:stCondLst>
                            <p:childTnLst>
                              <p:par>
                                <p:cTn id="1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8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9000"/>
                            </p:stCondLst>
                            <p:childTnLst>
                              <p:par>
                                <p:cTn id="1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3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9500"/>
                            </p:stCondLst>
                            <p:childTnLst>
                              <p:par>
                                <p:cTn id="1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4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50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1" dur="10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4" dur="1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6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2" dur="10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8" dur="10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4" dur="10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7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0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3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6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9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2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5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8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1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4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8" dur="200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0.07721 L 2.5E-6 -0.15905 " pathEditMode="relative" rAng="0" ptsTypes="AA">
                                      <p:cBhvr>
                                        <p:cTn id="220" dur="20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0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1" fill="hold">
                            <p:stCondLst>
                              <p:cond delay="12000"/>
                            </p:stCondLst>
                            <p:childTnLst>
                              <p:par>
                                <p:cTn id="2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3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1" fill="hold">
                            <p:stCondLst>
                              <p:cond delay="12500"/>
                            </p:stCondLst>
                            <p:childTnLst>
                              <p:par>
                                <p:cTn id="2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4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1" fill="hold">
                            <p:stCondLst>
                              <p:cond delay="13000"/>
                            </p:stCondLst>
                            <p:childTnLst>
                              <p:par>
                                <p:cTn id="2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5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1" fill="hold">
                            <p:stCondLst>
                              <p:cond delay="13500"/>
                            </p:stCondLst>
                            <p:childTnLst>
                              <p:par>
                                <p:cTn id="2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6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1" fill="hold">
                            <p:stCondLst>
                              <p:cond delay="14000"/>
                            </p:stCondLst>
                            <p:childTnLst>
                              <p:par>
                                <p:cTn id="2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7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1" fill="hold">
                            <p:stCondLst>
                              <p:cond delay="14500"/>
                            </p:stCondLst>
                            <p:childTnLst>
                              <p:par>
                                <p:cTn id="27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8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1" fill="hold">
                            <p:stCondLst>
                              <p:cond delay="15000"/>
                            </p:stCondLst>
                            <p:childTnLst>
                              <p:par>
                                <p:cTn id="28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9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1" fill="hold">
                            <p:stCondLst>
                              <p:cond delay="15500"/>
                            </p:stCondLst>
                            <p:childTnLst>
                              <p:par>
                                <p:cTn id="29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0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1" fill="hold">
                            <p:stCondLst>
                              <p:cond delay="16000"/>
                            </p:stCondLst>
                            <p:childTnLst>
                              <p:par>
                                <p:cTn id="3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1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1" fill="hold">
                            <p:stCondLst>
                              <p:cond delay="16500"/>
                            </p:stCondLst>
                            <p:childTnLst>
                              <p:par>
                                <p:cTn id="3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2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1" fill="hold">
                            <p:stCondLst>
                              <p:cond delay="17000"/>
                            </p:stCondLst>
                            <p:childTnLst>
                              <p:par>
                                <p:cTn id="3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3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meike\Desktop\Presentatie BlueLine20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462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5" name="Picture 9" descr="C:\Users\meike\Desktop\BlueLine\Presentatie BlueLine10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Vrije vorm 7"/>
          <p:cNvSpPr/>
          <p:nvPr/>
        </p:nvSpPr>
        <p:spPr>
          <a:xfrm>
            <a:off x="1547664" y="1923678"/>
            <a:ext cx="887760" cy="45719"/>
          </a:xfrm>
          <a:custGeom>
            <a:avLst/>
            <a:gdLst>
              <a:gd name="connsiteX0" fmla="*/ 0 w 947351"/>
              <a:gd name="connsiteY0" fmla="*/ 24713 h 24713"/>
              <a:gd name="connsiteX1" fmla="*/ 947351 w 947351"/>
              <a:gd name="connsiteY1" fmla="*/ 0 h 24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47351" h="24713">
                <a:moveTo>
                  <a:pt x="0" y="24713"/>
                </a:moveTo>
                <a:lnTo>
                  <a:pt x="947351" y="0"/>
                </a:ln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ln w="3175">
                <a:solidFill>
                  <a:schemeClr val="tx1"/>
                </a:solidFill>
              </a:ln>
            </a:endParaRPr>
          </a:p>
        </p:txBody>
      </p:sp>
      <p:sp>
        <p:nvSpPr>
          <p:cNvPr id="9" name="Vrije vorm 8"/>
          <p:cNvSpPr/>
          <p:nvPr/>
        </p:nvSpPr>
        <p:spPr>
          <a:xfrm>
            <a:off x="2150533" y="2067694"/>
            <a:ext cx="423334" cy="421506"/>
          </a:xfrm>
          <a:custGeom>
            <a:avLst/>
            <a:gdLst>
              <a:gd name="connsiteX0" fmla="*/ 423334 w 423334"/>
              <a:gd name="connsiteY0" fmla="*/ 0 h 533400"/>
              <a:gd name="connsiteX1" fmla="*/ 347134 w 423334"/>
              <a:gd name="connsiteY1" fmla="*/ 423333 h 533400"/>
              <a:gd name="connsiteX2" fmla="*/ 0 w 423334"/>
              <a:gd name="connsiteY2" fmla="*/ 53340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3334" h="533400">
                <a:moveTo>
                  <a:pt x="423334" y="0"/>
                </a:moveTo>
                <a:cubicBezTo>
                  <a:pt x="420512" y="167216"/>
                  <a:pt x="417690" y="334433"/>
                  <a:pt x="347134" y="423333"/>
                </a:cubicBezTo>
                <a:cubicBezTo>
                  <a:pt x="276578" y="512233"/>
                  <a:pt x="46567" y="530578"/>
                  <a:pt x="0" y="5334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Vrije vorm 5"/>
          <p:cNvSpPr/>
          <p:nvPr/>
        </p:nvSpPr>
        <p:spPr>
          <a:xfrm>
            <a:off x="1573427" y="2570205"/>
            <a:ext cx="354227" cy="280087"/>
          </a:xfrm>
          <a:custGeom>
            <a:avLst/>
            <a:gdLst>
              <a:gd name="connsiteX0" fmla="*/ 354227 w 354227"/>
              <a:gd name="connsiteY0" fmla="*/ 0 h 280087"/>
              <a:gd name="connsiteX1" fmla="*/ 0 w 354227"/>
              <a:gd name="connsiteY1" fmla="*/ 280087 h 28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54227" h="280087">
                <a:moveTo>
                  <a:pt x="354227" y="0"/>
                </a:moveTo>
                <a:lnTo>
                  <a:pt x="0" y="280087"/>
                </a:ln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ln>
                <a:solidFill>
                  <a:schemeClr val="bg1"/>
                </a:solidFill>
              </a:ln>
            </a:endParaRPr>
          </a:p>
        </p:txBody>
      </p:sp>
      <p:sp>
        <p:nvSpPr>
          <p:cNvPr id="7" name="Vrije vorm 6"/>
          <p:cNvSpPr/>
          <p:nvPr/>
        </p:nvSpPr>
        <p:spPr>
          <a:xfrm>
            <a:off x="988517" y="3048000"/>
            <a:ext cx="469580" cy="576649"/>
          </a:xfrm>
          <a:custGeom>
            <a:avLst/>
            <a:gdLst>
              <a:gd name="connsiteX0" fmla="*/ 453105 w 469580"/>
              <a:gd name="connsiteY0" fmla="*/ 0 h 576649"/>
              <a:gd name="connsiteX1" fmla="*/ 24 w 469580"/>
              <a:gd name="connsiteY1" fmla="*/ 288324 h 576649"/>
              <a:gd name="connsiteX2" fmla="*/ 469580 w 469580"/>
              <a:gd name="connsiteY2" fmla="*/ 576649 h 576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9580" h="576649">
                <a:moveTo>
                  <a:pt x="453105" y="0"/>
                </a:moveTo>
                <a:cubicBezTo>
                  <a:pt x="225191" y="96108"/>
                  <a:pt x="-2722" y="192216"/>
                  <a:pt x="24" y="288324"/>
                </a:cubicBezTo>
                <a:cubicBezTo>
                  <a:pt x="2770" y="384432"/>
                  <a:pt x="388575" y="532714"/>
                  <a:pt x="469580" y="576649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Vrije vorm 9"/>
          <p:cNvSpPr/>
          <p:nvPr/>
        </p:nvSpPr>
        <p:spPr>
          <a:xfrm>
            <a:off x="1705232" y="2619632"/>
            <a:ext cx="1029730" cy="939114"/>
          </a:xfrm>
          <a:custGeom>
            <a:avLst/>
            <a:gdLst>
              <a:gd name="connsiteX0" fmla="*/ 0 w 1029730"/>
              <a:gd name="connsiteY0" fmla="*/ 939114 h 939114"/>
              <a:gd name="connsiteX1" fmla="*/ 461319 w 1029730"/>
              <a:gd name="connsiteY1" fmla="*/ 263611 h 939114"/>
              <a:gd name="connsiteX2" fmla="*/ 1029730 w 1029730"/>
              <a:gd name="connsiteY2" fmla="*/ 0 h 93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29730" h="939114">
                <a:moveTo>
                  <a:pt x="0" y="939114"/>
                </a:moveTo>
                <a:cubicBezTo>
                  <a:pt x="144848" y="679622"/>
                  <a:pt x="289697" y="420130"/>
                  <a:pt x="461319" y="263611"/>
                </a:cubicBezTo>
                <a:cubicBezTo>
                  <a:pt x="632941" y="107092"/>
                  <a:pt x="902044" y="48054"/>
                  <a:pt x="102973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Vrije vorm 10"/>
          <p:cNvSpPr/>
          <p:nvPr/>
        </p:nvSpPr>
        <p:spPr>
          <a:xfrm>
            <a:off x="3784600" y="1515533"/>
            <a:ext cx="499533" cy="177800"/>
          </a:xfrm>
          <a:custGeom>
            <a:avLst/>
            <a:gdLst>
              <a:gd name="connsiteX0" fmla="*/ 0 w 499533"/>
              <a:gd name="connsiteY0" fmla="*/ 135467 h 135467"/>
              <a:gd name="connsiteX1" fmla="*/ 499533 w 499533"/>
              <a:gd name="connsiteY1" fmla="*/ 0 h 135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99533" h="135467">
                <a:moveTo>
                  <a:pt x="0" y="135467"/>
                </a:moveTo>
                <a:lnTo>
                  <a:pt x="499533" y="0"/>
                </a:ln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Vrije vorm 12"/>
          <p:cNvSpPr/>
          <p:nvPr/>
        </p:nvSpPr>
        <p:spPr>
          <a:xfrm>
            <a:off x="4453467" y="1507067"/>
            <a:ext cx="315934" cy="524933"/>
          </a:xfrm>
          <a:custGeom>
            <a:avLst/>
            <a:gdLst>
              <a:gd name="connsiteX0" fmla="*/ 0 w 315934"/>
              <a:gd name="connsiteY0" fmla="*/ 0 h 524933"/>
              <a:gd name="connsiteX1" fmla="*/ 304800 w 315934"/>
              <a:gd name="connsiteY1" fmla="*/ 135466 h 524933"/>
              <a:gd name="connsiteX2" fmla="*/ 220133 w 315934"/>
              <a:gd name="connsiteY2" fmla="*/ 524933 h 524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5934" h="524933">
                <a:moveTo>
                  <a:pt x="0" y="0"/>
                </a:moveTo>
                <a:cubicBezTo>
                  <a:pt x="134055" y="23988"/>
                  <a:pt x="268111" y="47977"/>
                  <a:pt x="304800" y="135466"/>
                </a:cubicBezTo>
                <a:cubicBezTo>
                  <a:pt x="341489" y="222955"/>
                  <a:pt x="280811" y="373944"/>
                  <a:pt x="220133" y="524933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Vrije vorm 13"/>
          <p:cNvSpPr/>
          <p:nvPr/>
        </p:nvSpPr>
        <p:spPr>
          <a:xfrm>
            <a:off x="4690533" y="1507067"/>
            <a:ext cx="563687" cy="651933"/>
          </a:xfrm>
          <a:custGeom>
            <a:avLst/>
            <a:gdLst>
              <a:gd name="connsiteX0" fmla="*/ 0 w 563687"/>
              <a:gd name="connsiteY0" fmla="*/ 651933 h 651933"/>
              <a:gd name="connsiteX1" fmla="*/ 482600 w 563687"/>
              <a:gd name="connsiteY1" fmla="*/ 533400 h 651933"/>
              <a:gd name="connsiteX2" fmla="*/ 558800 w 563687"/>
              <a:gd name="connsiteY2" fmla="*/ 0 h 651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687" h="651933">
                <a:moveTo>
                  <a:pt x="0" y="651933"/>
                </a:moveTo>
                <a:cubicBezTo>
                  <a:pt x="194733" y="646994"/>
                  <a:pt x="389467" y="642055"/>
                  <a:pt x="482600" y="533400"/>
                </a:cubicBezTo>
                <a:cubicBezTo>
                  <a:pt x="575733" y="424745"/>
                  <a:pt x="567266" y="212372"/>
                  <a:pt x="55880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Vrije vorm 14"/>
          <p:cNvSpPr/>
          <p:nvPr/>
        </p:nvSpPr>
        <p:spPr>
          <a:xfrm>
            <a:off x="5342467" y="1413933"/>
            <a:ext cx="406400" cy="152400"/>
          </a:xfrm>
          <a:custGeom>
            <a:avLst/>
            <a:gdLst>
              <a:gd name="connsiteX0" fmla="*/ 0 w 406400"/>
              <a:gd name="connsiteY0" fmla="*/ 0 h 152400"/>
              <a:gd name="connsiteX1" fmla="*/ 406400 w 406400"/>
              <a:gd name="connsiteY1" fmla="*/ 152400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6400" h="152400">
                <a:moveTo>
                  <a:pt x="0" y="0"/>
                </a:moveTo>
                <a:cubicBezTo>
                  <a:pt x="168628" y="67028"/>
                  <a:pt x="337256" y="134056"/>
                  <a:pt x="406400" y="1524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Vrije vorm 15"/>
          <p:cNvSpPr/>
          <p:nvPr/>
        </p:nvSpPr>
        <p:spPr>
          <a:xfrm>
            <a:off x="5926667" y="1769533"/>
            <a:ext cx="135466" cy="491067"/>
          </a:xfrm>
          <a:custGeom>
            <a:avLst/>
            <a:gdLst>
              <a:gd name="connsiteX0" fmla="*/ 0 w 135466"/>
              <a:gd name="connsiteY0" fmla="*/ 0 h 567267"/>
              <a:gd name="connsiteX1" fmla="*/ 135466 w 135466"/>
              <a:gd name="connsiteY1" fmla="*/ 567267 h 567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5466" h="567267">
                <a:moveTo>
                  <a:pt x="0" y="0"/>
                </a:moveTo>
                <a:lnTo>
                  <a:pt x="135466" y="567267"/>
                </a:ln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Vrije vorm 16"/>
          <p:cNvSpPr/>
          <p:nvPr/>
        </p:nvSpPr>
        <p:spPr>
          <a:xfrm>
            <a:off x="2971800" y="1828800"/>
            <a:ext cx="584200" cy="685800"/>
          </a:xfrm>
          <a:custGeom>
            <a:avLst/>
            <a:gdLst>
              <a:gd name="connsiteX0" fmla="*/ 0 w 584200"/>
              <a:gd name="connsiteY0" fmla="*/ 685800 h 685800"/>
              <a:gd name="connsiteX1" fmla="*/ 584200 w 584200"/>
              <a:gd name="connsiteY1" fmla="*/ 0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4200" h="685800">
                <a:moveTo>
                  <a:pt x="0" y="685800"/>
                </a:moveTo>
                <a:cubicBezTo>
                  <a:pt x="241300" y="396522"/>
                  <a:pt x="482600" y="107244"/>
                  <a:pt x="58420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AutoShape 8" descr="https://mxmblueline-my.sharepoint.com/personal/hp_mxmblueline_nl/Documents/Data/Presentatie%20BlueLine/Presentatie%20BlueLine10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3" name="Vrije vorm 2"/>
          <p:cNvSpPr/>
          <p:nvPr/>
        </p:nvSpPr>
        <p:spPr>
          <a:xfrm>
            <a:off x="6155267" y="2480733"/>
            <a:ext cx="101600" cy="347134"/>
          </a:xfrm>
          <a:custGeom>
            <a:avLst/>
            <a:gdLst>
              <a:gd name="connsiteX0" fmla="*/ 0 w 101600"/>
              <a:gd name="connsiteY0" fmla="*/ 0 h 347134"/>
              <a:gd name="connsiteX1" fmla="*/ 101600 w 101600"/>
              <a:gd name="connsiteY1" fmla="*/ 347134 h 347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1600" h="347134">
                <a:moveTo>
                  <a:pt x="0" y="0"/>
                </a:moveTo>
                <a:lnTo>
                  <a:pt x="101600" y="347134"/>
                </a:ln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Vrije vorm 3"/>
          <p:cNvSpPr/>
          <p:nvPr/>
        </p:nvSpPr>
        <p:spPr>
          <a:xfrm>
            <a:off x="6392333" y="2785517"/>
            <a:ext cx="863600" cy="186283"/>
          </a:xfrm>
          <a:custGeom>
            <a:avLst/>
            <a:gdLst>
              <a:gd name="connsiteX0" fmla="*/ 0 w 863600"/>
              <a:gd name="connsiteY0" fmla="*/ 186283 h 186283"/>
              <a:gd name="connsiteX1" fmla="*/ 406400 w 863600"/>
              <a:gd name="connsiteY1" fmla="*/ 16 h 186283"/>
              <a:gd name="connsiteX2" fmla="*/ 863600 w 863600"/>
              <a:gd name="connsiteY2" fmla="*/ 177816 h 18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63600" h="186283">
                <a:moveTo>
                  <a:pt x="0" y="186283"/>
                </a:moveTo>
                <a:cubicBezTo>
                  <a:pt x="131233" y="93855"/>
                  <a:pt x="262467" y="1427"/>
                  <a:pt x="406400" y="16"/>
                </a:cubicBezTo>
                <a:cubicBezTo>
                  <a:pt x="550333" y="-1395"/>
                  <a:pt x="706966" y="88210"/>
                  <a:pt x="863600" y="177816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Vrije vorm 4"/>
          <p:cNvSpPr/>
          <p:nvPr/>
        </p:nvSpPr>
        <p:spPr>
          <a:xfrm>
            <a:off x="7450667" y="3098800"/>
            <a:ext cx="635000" cy="524933"/>
          </a:xfrm>
          <a:custGeom>
            <a:avLst/>
            <a:gdLst>
              <a:gd name="connsiteX0" fmla="*/ 0 w 635000"/>
              <a:gd name="connsiteY0" fmla="*/ 0 h 524933"/>
              <a:gd name="connsiteX1" fmla="*/ 635000 w 635000"/>
              <a:gd name="connsiteY1" fmla="*/ 524933 h 524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5000" h="524933">
                <a:moveTo>
                  <a:pt x="0" y="0"/>
                </a:moveTo>
                <a:lnTo>
                  <a:pt x="635000" y="524933"/>
                </a:ln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Vrije vorm 11"/>
          <p:cNvSpPr/>
          <p:nvPr/>
        </p:nvSpPr>
        <p:spPr>
          <a:xfrm>
            <a:off x="7272867" y="3826933"/>
            <a:ext cx="922866" cy="271549"/>
          </a:xfrm>
          <a:custGeom>
            <a:avLst/>
            <a:gdLst>
              <a:gd name="connsiteX0" fmla="*/ 922866 w 922866"/>
              <a:gd name="connsiteY0" fmla="*/ 0 h 271549"/>
              <a:gd name="connsiteX1" fmla="*/ 550333 w 922866"/>
              <a:gd name="connsiteY1" fmla="*/ 270934 h 271549"/>
              <a:gd name="connsiteX2" fmla="*/ 0 w 922866"/>
              <a:gd name="connsiteY2" fmla="*/ 59267 h 271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22866" h="271549">
                <a:moveTo>
                  <a:pt x="922866" y="0"/>
                </a:moveTo>
                <a:cubicBezTo>
                  <a:pt x="813505" y="130528"/>
                  <a:pt x="704144" y="261056"/>
                  <a:pt x="550333" y="270934"/>
                </a:cubicBezTo>
                <a:cubicBezTo>
                  <a:pt x="396522" y="280812"/>
                  <a:pt x="198261" y="170039"/>
                  <a:pt x="0" y="59267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Vrije vorm 27"/>
          <p:cNvSpPr/>
          <p:nvPr/>
        </p:nvSpPr>
        <p:spPr>
          <a:xfrm>
            <a:off x="6705600" y="3750733"/>
            <a:ext cx="338667" cy="397934"/>
          </a:xfrm>
          <a:custGeom>
            <a:avLst/>
            <a:gdLst>
              <a:gd name="connsiteX0" fmla="*/ 338667 w 338667"/>
              <a:gd name="connsiteY0" fmla="*/ 0 h 397934"/>
              <a:gd name="connsiteX1" fmla="*/ 59267 w 338667"/>
              <a:gd name="connsiteY1" fmla="*/ 101600 h 397934"/>
              <a:gd name="connsiteX2" fmla="*/ 0 w 338667"/>
              <a:gd name="connsiteY2" fmla="*/ 397934 h 397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8667" h="397934">
                <a:moveTo>
                  <a:pt x="338667" y="0"/>
                </a:moveTo>
                <a:cubicBezTo>
                  <a:pt x="227189" y="17639"/>
                  <a:pt x="115711" y="35278"/>
                  <a:pt x="59267" y="101600"/>
                </a:cubicBezTo>
                <a:cubicBezTo>
                  <a:pt x="2823" y="167922"/>
                  <a:pt x="1411" y="282928"/>
                  <a:pt x="0" y="397934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Vrije vorm 28"/>
          <p:cNvSpPr/>
          <p:nvPr/>
        </p:nvSpPr>
        <p:spPr>
          <a:xfrm>
            <a:off x="6036733" y="4360333"/>
            <a:ext cx="575734" cy="67734"/>
          </a:xfrm>
          <a:custGeom>
            <a:avLst/>
            <a:gdLst>
              <a:gd name="connsiteX0" fmla="*/ 575734 w 575734"/>
              <a:gd name="connsiteY0" fmla="*/ 0 h 67734"/>
              <a:gd name="connsiteX1" fmla="*/ 0 w 575734"/>
              <a:gd name="connsiteY1" fmla="*/ 67734 h 67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75734" h="67734">
                <a:moveTo>
                  <a:pt x="575734" y="0"/>
                </a:moveTo>
                <a:lnTo>
                  <a:pt x="0" y="67734"/>
                </a:ln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0" name="Vrije vorm 29"/>
          <p:cNvSpPr/>
          <p:nvPr/>
        </p:nvSpPr>
        <p:spPr>
          <a:xfrm>
            <a:off x="4986867" y="3589867"/>
            <a:ext cx="778933" cy="829733"/>
          </a:xfrm>
          <a:custGeom>
            <a:avLst/>
            <a:gdLst>
              <a:gd name="connsiteX0" fmla="*/ 778933 w 778933"/>
              <a:gd name="connsiteY0" fmla="*/ 829733 h 829733"/>
              <a:gd name="connsiteX1" fmla="*/ 262466 w 778933"/>
              <a:gd name="connsiteY1" fmla="*/ 524933 h 829733"/>
              <a:gd name="connsiteX2" fmla="*/ 0 w 778933"/>
              <a:gd name="connsiteY2" fmla="*/ 0 h 82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8933" h="829733">
                <a:moveTo>
                  <a:pt x="778933" y="829733"/>
                </a:moveTo>
                <a:cubicBezTo>
                  <a:pt x="585610" y="746477"/>
                  <a:pt x="392288" y="663222"/>
                  <a:pt x="262466" y="524933"/>
                </a:cubicBezTo>
                <a:cubicBezTo>
                  <a:pt x="132644" y="386644"/>
                  <a:pt x="66322" y="193322"/>
                  <a:pt x="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Vrije vorm 30"/>
          <p:cNvSpPr/>
          <p:nvPr/>
        </p:nvSpPr>
        <p:spPr>
          <a:xfrm>
            <a:off x="4521200" y="3437467"/>
            <a:ext cx="270933" cy="25400"/>
          </a:xfrm>
          <a:custGeom>
            <a:avLst/>
            <a:gdLst>
              <a:gd name="connsiteX0" fmla="*/ 270933 w 270933"/>
              <a:gd name="connsiteY0" fmla="*/ 25400 h 25400"/>
              <a:gd name="connsiteX1" fmla="*/ 0 w 270933"/>
              <a:gd name="connsiteY1" fmla="*/ 0 h 2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0933" h="25400">
                <a:moveTo>
                  <a:pt x="270933" y="2540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096" name="Vrije vorm 4095"/>
          <p:cNvSpPr/>
          <p:nvPr/>
        </p:nvSpPr>
        <p:spPr>
          <a:xfrm>
            <a:off x="3742267" y="3294424"/>
            <a:ext cx="541866" cy="151509"/>
          </a:xfrm>
          <a:custGeom>
            <a:avLst/>
            <a:gdLst>
              <a:gd name="connsiteX0" fmla="*/ 541866 w 541866"/>
              <a:gd name="connsiteY0" fmla="*/ 32976 h 151509"/>
              <a:gd name="connsiteX1" fmla="*/ 203200 w 541866"/>
              <a:gd name="connsiteY1" fmla="*/ 7576 h 151509"/>
              <a:gd name="connsiteX2" fmla="*/ 0 w 541866"/>
              <a:gd name="connsiteY2" fmla="*/ 151509 h 15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1866" h="151509">
                <a:moveTo>
                  <a:pt x="541866" y="32976"/>
                </a:moveTo>
                <a:cubicBezTo>
                  <a:pt x="417688" y="10398"/>
                  <a:pt x="293511" y="-12179"/>
                  <a:pt x="203200" y="7576"/>
                </a:cubicBezTo>
                <a:cubicBezTo>
                  <a:pt x="112889" y="27331"/>
                  <a:pt x="0" y="151509"/>
                  <a:pt x="0" y="151509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097" name="Vrije vorm 4096"/>
          <p:cNvSpPr/>
          <p:nvPr/>
        </p:nvSpPr>
        <p:spPr>
          <a:xfrm>
            <a:off x="3674533" y="3657600"/>
            <a:ext cx="211667" cy="457200"/>
          </a:xfrm>
          <a:custGeom>
            <a:avLst/>
            <a:gdLst>
              <a:gd name="connsiteX0" fmla="*/ 0 w 211667"/>
              <a:gd name="connsiteY0" fmla="*/ 0 h 457200"/>
              <a:gd name="connsiteX1" fmla="*/ 211667 w 211667"/>
              <a:gd name="connsiteY1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1667" h="457200">
                <a:moveTo>
                  <a:pt x="0" y="0"/>
                </a:moveTo>
                <a:lnTo>
                  <a:pt x="211667" y="457200"/>
                </a:ln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098" name="Vrije vorm 4097"/>
          <p:cNvSpPr/>
          <p:nvPr/>
        </p:nvSpPr>
        <p:spPr>
          <a:xfrm>
            <a:off x="3429000" y="4267200"/>
            <a:ext cx="414867" cy="85890"/>
          </a:xfrm>
          <a:custGeom>
            <a:avLst/>
            <a:gdLst>
              <a:gd name="connsiteX0" fmla="*/ 414867 w 414867"/>
              <a:gd name="connsiteY0" fmla="*/ 42333 h 85890"/>
              <a:gd name="connsiteX1" fmla="*/ 160867 w 414867"/>
              <a:gd name="connsiteY1" fmla="*/ 84667 h 85890"/>
              <a:gd name="connsiteX2" fmla="*/ 0 w 414867"/>
              <a:gd name="connsiteY2" fmla="*/ 0 h 85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4867" h="85890">
                <a:moveTo>
                  <a:pt x="414867" y="42333"/>
                </a:moveTo>
                <a:cubicBezTo>
                  <a:pt x="322439" y="67027"/>
                  <a:pt x="230011" y="91722"/>
                  <a:pt x="160867" y="84667"/>
                </a:cubicBezTo>
                <a:cubicBezTo>
                  <a:pt x="91723" y="77612"/>
                  <a:pt x="7056" y="11289"/>
                  <a:pt x="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099" name="Vrije vorm 4098"/>
          <p:cNvSpPr/>
          <p:nvPr/>
        </p:nvSpPr>
        <p:spPr>
          <a:xfrm>
            <a:off x="2920376" y="4199467"/>
            <a:ext cx="288491" cy="516466"/>
          </a:xfrm>
          <a:custGeom>
            <a:avLst/>
            <a:gdLst>
              <a:gd name="connsiteX0" fmla="*/ 288491 w 288491"/>
              <a:gd name="connsiteY0" fmla="*/ 0 h 516466"/>
              <a:gd name="connsiteX1" fmla="*/ 624 w 288491"/>
              <a:gd name="connsiteY1" fmla="*/ 270933 h 516466"/>
              <a:gd name="connsiteX2" fmla="*/ 212291 w 288491"/>
              <a:gd name="connsiteY2" fmla="*/ 516466 h 516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8491" h="516466">
                <a:moveTo>
                  <a:pt x="288491" y="0"/>
                </a:moveTo>
                <a:cubicBezTo>
                  <a:pt x="150907" y="92427"/>
                  <a:pt x="13324" y="184855"/>
                  <a:pt x="624" y="270933"/>
                </a:cubicBezTo>
                <a:cubicBezTo>
                  <a:pt x="-12076" y="357011"/>
                  <a:pt x="172780" y="475544"/>
                  <a:pt x="212291" y="516466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169" name="Picture 1" descr="C:\Users\meike\Downloads\Vliegtuig-roo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800" y="2302544"/>
            <a:ext cx="270000" cy="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" descr="C:\Users\meike\Downloads\Vliegtuig-roo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570114" y="4225333"/>
            <a:ext cx="270000" cy="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meike\Downloads\Presentatie BlueLine13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89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608 0.01233 C -0.00399 0.00647 -0.0033 0.00246 -0.00052 -0.00247 C 0.00156 -0.01419 -0.00139 2.8338E-6 0.00313 -0.01234 C 0.00365 -0.01388 0.00365 -0.01573 0.00399 -0.01727 C 0.00451 -0.01912 0.00521 -0.02066 0.0059 -0.0222 C 0.00747 -0.03115 0.00608 -0.02498 0.01059 -0.03701 C 0.01181 -0.0404 0.01424 -0.04687 0.01424 -0.04656 C 0.01649 -0.05921 0.01285 -0.0441 0.01892 -0.05366 C 0.02413 -0.06167 0.02083 -0.06198 0.02448 -0.06846 C 0.0283 -0.07524 0.03594 -0.08665 0.04115 -0.08973 C 0.04497 -0.09436 0.04792 -0.09868 0.05226 -0.10114 C 0.05486 -0.10423 0.0559 -0.10885 0.05868 -0.11101 " pathEditMode="relative" rAng="0" ptsTypes="fffffffffffA">
                                      <p:cBhvr>
                                        <p:cTn id="28" dur="2000" fill="hold"/>
                                        <p:tgtEl>
                                          <p:spTgt spid="71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29" y="-616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8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500"/>
                            </p:stCondLst>
                            <p:childTnLst>
                              <p:par>
                                <p:cTn id="44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4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000"/>
                            </p:stCondLst>
                            <p:childTnLst>
                              <p:par>
                                <p:cTn id="48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6500"/>
                            </p:stCondLst>
                            <p:childTnLst>
                              <p:par>
                                <p:cTn id="52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000"/>
                            </p:stCondLst>
                            <p:childTnLst>
                              <p:par>
                                <p:cTn id="56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5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500"/>
                            </p:stCondLst>
                            <p:childTnLst>
                              <p:par>
                                <p:cTn id="60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6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8000"/>
                            </p:stCondLst>
                            <p:childTnLst>
                              <p:par>
                                <p:cTn id="64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8500"/>
                            </p:stCondLst>
                            <p:childTnLst>
                              <p:par>
                                <p:cTn id="68" presetID="18" presetClass="entr" presetSubtype="9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7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9000"/>
                            </p:stCondLst>
                            <p:childTnLst>
                              <p:par>
                                <p:cTn id="72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9500"/>
                            </p:stCondLst>
                            <p:childTnLst>
                              <p:par>
                                <p:cTn id="7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4.80419E-6 L -0.07674 -0.15172 " pathEditMode="relative" rAng="0" ptsTypes="AA">
                                      <p:cBhvr>
                                        <p:cTn id="82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37" y="-758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1500"/>
                            </p:stCondLst>
                            <p:childTnLst>
                              <p:par>
                                <p:cTn id="8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8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8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2000"/>
                            </p:stCondLst>
                            <p:childTnLst>
                              <p:par>
                                <p:cTn id="90" presetID="18" presetClass="entr" presetSubtype="9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9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2500"/>
                            </p:stCondLst>
                            <p:childTnLst>
                              <p:par>
                                <p:cTn id="94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96" dur="500"/>
                                        <p:tgtEl>
                                          <p:spTgt spid="40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3000"/>
                            </p:stCondLst>
                            <p:childTnLst>
                              <p:par>
                                <p:cTn id="98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0" dur="500"/>
                                        <p:tgtEl>
                                          <p:spTgt spid="40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3500"/>
                            </p:stCondLst>
                            <p:childTnLst>
                              <p:par>
                                <p:cTn id="102" presetID="18" presetClass="entr" presetSubtype="9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104" dur="2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5500"/>
                            </p:stCondLst>
                            <p:childTnLst>
                              <p:par>
                                <p:cTn id="106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8" dur="20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2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6" grpId="0" animBg="1"/>
      <p:bldP spid="7" grpId="0" animBg="1"/>
      <p:bldP spid="10" grpId="0" animBg="1"/>
      <p:bldP spid="11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" grpId="0" animBg="1"/>
      <p:bldP spid="4" grpId="0" animBg="1"/>
      <p:bldP spid="5" grpId="0" animBg="1"/>
      <p:bldP spid="12" grpId="0" animBg="1"/>
      <p:bldP spid="28" grpId="0" animBg="1"/>
      <p:bldP spid="29" grpId="0" animBg="1"/>
      <p:bldP spid="30" grpId="0" animBg="1"/>
      <p:bldP spid="31" grpId="0" animBg="1"/>
      <p:bldP spid="4096" grpId="0" animBg="1"/>
      <p:bldP spid="4097" grpId="0" animBg="1"/>
      <p:bldP spid="4098" grpId="0" animBg="1"/>
      <p:bldP spid="409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meike\Desktop\Presentatie BlueLine2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vak 3"/>
          <p:cNvSpPr txBox="1"/>
          <p:nvPr/>
        </p:nvSpPr>
        <p:spPr>
          <a:xfrm>
            <a:off x="323528" y="1061655"/>
            <a:ext cx="8496944" cy="5542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1600" b="1" dirty="0" smtClean="0">
                <a:solidFill>
                  <a:schemeClr val="bg1"/>
                </a:solidFill>
                <a:latin typeface="Helveticaa"/>
              </a:rPr>
              <a:t>Contentmarketing</a:t>
            </a:r>
          </a:p>
          <a:p>
            <a:pPr>
              <a:lnSpc>
                <a:spcPts val="2000"/>
              </a:lnSpc>
            </a:pPr>
            <a:r>
              <a:rPr lang="nl-NL" sz="1600" dirty="0" smtClean="0">
                <a:solidFill>
                  <a:schemeClr val="bg1"/>
                </a:solidFill>
                <a:latin typeface="Helveticaa"/>
              </a:rPr>
              <a:t>	- Dagelijks vers ICT-nieuws &amp; inspireerde content</a:t>
            </a:r>
          </a:p>
          <a:p>
            <a:pPr>
              <a:lnSpc>
                <a:spcPts val="2000"/>
              </a:lnSpc>
            </a:pPr>
            <a:r>
              <a:rPr lang="nl-NL" sz="1600" dirty="0" smtClean="0">
                <a:solidFill>
                  <a:schemeClr val="bg1"/>
                </a:solidFill>
                <a:latin typeface="Helveticaa"/>
              </a:rPr>
              <a:t>	- Media: </a:t>
            </a:r>
            <a:r>
              <a:rPr lang="nl-NL" sz="1600" dirty="0" err="1" smtClean="0">
                <a:solidFill>
                  <a:schemeClr val="bg1"/>
                </a:solidFill>
                <a:latin typeface="Helveticaa"/>
              </a:rPr>
              <a:t>nieuwsfeed</a:t>
            </a:r>
            <a:r>
              <a:rPr lang="nl-NL" sz="1600" dirty="0" smtClean="0">
                <a:solidFill>
                  <a:schemeClr val="bg1"/>
                </a:solidFill>
                <a:latin typeface="Helveticaa"/>
              </a:rPr>
              <a:t>, MSP24-app, nieuwsbrieven (digitaal en print)</a:t>
            </a:r>
          </a:p>
          <a:p>
            <a:pPr marL="342900" indent="-342900">
              <a:lnSpc>
                <a:spcPts val="2500"/>
              </a:lnSpc>
              <a:buBlip>
                <a:blip r:embed="rId3"/>
              </a:buBlip>
            </a:pPr>
            <a:r>
              <a:rPr lang="nl-NL" sz="1600" b="1" dirty="0" smtClean="0">
                <a:solidFill>
                  <a:schemeClr val="bg1"/>
                </a:solidFill>
                <a:latin typeface="Helveticaa"/>
              </a:rPr>
              <a:t>Online Marketing </a:t>
            </a:r>
          </a:p>
          <a:p>
            <a:pPr>
              <a:lnSpc>
                <a:spcPts val="2500"/>
              </a:lnSpc>
            </a:pPr>
            <a:r>
              <a:rPr lang="nl-NL" sz="1600" b="1" dirty="0">
                <a:solidFill>
                  <a:schemeClr val="bg1"/>
                </a:solidFill>
                <a:latin typeface="Helveticaa"/>
              </a:rPr>
              <a:t>	</a:t>
            </a:r>
            <a:r>
              <a:rPr lang="nl-NL" sz="1600" dirty="0" smtClean="0">
                <a:solidFill>
                  <a:schemeClr val="bg1"/>
                </a:solidFill>
                <a:latin typeface="Helveticaa"/>
              </a:rPr>
              <a:t>- MSP24 ‘Always On’-propositie</a:t>
            </a:r>
          </a:p>
          <a:p>
            <a:pPr>
              <a:lnSpc>
                <a:spcPts val="2000"/>
              </a:lnSpc>
            </a:pPr>
            <a:r>
              <a:rPr lang="nl-NL" sz="1600" dirty="0" smtClean="0">
                <a:solidFill>
                  <a:schemeClr val="bg1"/>
                </a:solidFill>
                <a:latin typeface="Helveticaa"/>
              </a:rPr>
              <a:t>	- Meer rendement uit marketingbudget</a:t>
            </a:r>
          </a:p>
          <a:p>
            <a:pPr>
              <a:lnSpc>
                <a:spcPts val="2000"/>
              </a:lnSpc>
            </a:pPr>
            <a:r>
              <a:rPr lang="nl-NL" sz="1600" dirty="0" smtClean="0">
                <a:solidFill>
                  <a:schemeClr val="bg1"/>
                </a:solidFill>
                <a:latin typeface="Helveticaa"/>
              </a:rPr>
              <a:t>	- Collectieve inkoop van online campagnes / werven van </a:t>
            </a:r>
            <a:r>
              <a:rPr lang="nl-NL" sz="1600" dirty="0" err="1" smtClean="0">
                <a:solidFill>
                  <a:schemeClr val="bg1"/>
                </a:solidFill>
                <a:latin typeface="Helveticaa"/>
              </a:rPr>
              <a:t>vendor</a:t>
            </a:r>
            <a:r>
              <a:rPr lang="nl-NL" sz="1600" dirty="0" smtClean="0">
                <a:solidFill>
                  <a:schemeClr val="bg1"/>
                </a:solidFill>
                <a:latin typeface="Helveticaa"/>
              </a:rPr>
              <a:t>-MDF</a:t>
            </a:r>
          </a:p>
          <a:p>
            <a:pPr>
              <a:lnSpc>
                <a:spcPts val="2000"/>
              </a:lnSpc>
            </a:pPr>
            <a:r>
              <a:rPr lang="nl-NL" sz="1600" dirty="0" smtClean="0">
                <a:solidFill>
                  <a:schemeClr val="bg1"/>
                </a:solidFill>
                <a:latin typeface="Helveticaa"/>
              </a:rPr>
              <a:t>	- In samenwerking met specialist </a:t>
            </a:r>
            <a:r>
              <a:rPr lang="nl-NL" sz="1600" dirty="0" err="1" smtClean="0">
                <a:solidFill>
                  <a:schemeClr val="bg1"/>
                </a:solidFill>
                <a:latin typeface="Helveticaa"/>
              </a:rPr>
              <a:t>ClickDistrict</a:t>
            </a:r>
            <a:endParaRPr lang="nl-NL" sz="1600" dirty="0">
              <a:solidFill>
                <a:schemeClr val="bg1"/>
              </a:solidFill>
              <a:latin typeface="Helveticaa"/>
            </a:endParaRPr>
          </a:p>
          <a:p>
            <a:pPr marL="342900" indent="-342900">
              <a:lnSpc>
                <a:spcPts val="2500"/>
              </a:lnSpc>
              <a:buBlip>
                <a:blip r:embed="rId3"/>
              </a:buBlip>
            </a:pPr>
            <a:r>
              <a:rPr lang="nl-NL" sz="1600" b="1" dirty="0" err="1" smtClean="0">
                <a:solidFill>
                  <a:schemeClr val="bg1"/>
                </a:solidFill>
                <a:latin typeface="Helveticaa"/>
              </a:rPr>
              <a:t>Clinics</a:t>
            </a:r>
            <a:r>
              <a:rPr lang="nl-NL" sz="1600" b="1" dirty="0" smtClean="0">
                <a:solidFill>
                  <a:schemeClr val="bg1"/>
                </a:solidFill>
                <a:latin typeface="Helveticaa"/>
              </a:rPr>
              <a:t>: technisch, </a:t>
            </a:r>
            <a:r>
              <a:rPr lang="nl-NL" sz="1600" b="1" dirty="0" err="1" smtClean="0">
                <a:solidFill>
                  <a:schemeClr val="bg1"/>
                </a:solidFill>
                <a:latin typeface="Helveticaa"/>
              </a:rPr>
              <a:t>hostmanship</a:t>
            </a:r>
            <a:r>
              <a:rPr lang="nl-NL" sz="1600" b="1" dirty="0" smtClean="0">
                <a:solidFill>
                  <a:schemeClr val="bg1"/>
                </a:solidFill>
                <a:latin typeface="Helveticaa"/>
              </a:rPr>
              <a:t>, sales- en marketing, financieel</a:t>
            </a:r>
          </a:p>
          <a:p>
            <a:pPr marL="342900" indent="-342900">
              <a:lnSpc>
                <a:spcPts val="2500"/>
              </a:lnSpc>
              <a:buBlip>
                <a:blip r:embed="rId3"/>
              </a:buBlip>
            </a:pPr>
            <a:r>
              <a:rPr lang="nl-NL" sz="1600" b="1" dirty="0" smtClean="0">
                <a:solidFill>
                  <a:schemeClr val="bg1"/>
                </a:solidFill>
                <a:latin typeface="Helveticaa"/>
              </a:rPr>
              <a:t>Events: netwerkborrel MWC en IFA, </a:t>
            </a:r>
            <a:r>
              <a:rPr lang="nl-NL" sz="1600" b="1" dirty="0" err="1" smtClean="0">
                <a:solidFill>
                  <a:schemeClr val="bg1"/>
                </a:solidFill>
                <a:latin typeface="Helveticaa"/>
              </a:rPr>
              <a:t>XaaS-summit</a:t>
            </a:r>
            <a:r>
              <a:rPr lang="nl-NL" sz="1600" b="1" dirty="0" smtClean="0">
                <a:solidFill>
                  <a:schemeClr val="bg1"/>
                </a:solidFill>
                <a:latin typeface="Helveticaa"/>
              </a:rPr>
              <a:t>, Summer Fair</a:t>
            </a:r>
          </a:p>
          <a:p>
            <a:pPr marL="342900" indent="-342900">
              <a:lnSpc>
                <a:spcPts val="2500"/>
              </a:lnSpc>
              <a:buBlip>
                <a:blip r:embed="rId3"/>
              </a:buBlip>
            </a:pPr>
            <a:r>
              <a:rPr lang="nl-NL" sz="1600" b="1" dirty="0" smtClean="0">
                <a:solidFill>
                  <a:schemeClr val="bg1"/>
                </a:solidFill>
                <a:latin typeface="Helveticaa"/>
              </a:rPr>
              <a:t>Leadgeneratie: speciale </a:t>
            </a:r>
            <a:r>
              <a:rPr lang="nl-NL" sz="1600" b="1" dirty="0" err="1" smtClean="0">
                <a:solidFill>
                  <a:schemeClr val="bg1"/>
                </a:solidFill>
                <a:latin typeface="Helveticaa"/>
              </a:rPr>
              <a:t>leadgen</a:t>
            </a:r>
            <a:r>
              <a:rPr lang="nl-NL" sz="1600" b="1" dirty="0" smtClean="0">
                <a:solidFill>
                  <a:schemeClr val="bg1"/>
                </a:solidFill>
                <a:latin typeface="Helveticaa"/>
              </a:rPr>
              <a:t>-website gericht op MKB </a:t>
            </a:r>
          </a:p>
          <a:p>
            <a:pPr marL="342900" indent="-342900">
              <a:lnSpc>
                <a:spcPts val="2500"/>
              </a:lnSpc>
              <a:buBlip>
                <a:blip r:embed="rId3"/>
              </a:buBlip>
            </a:pPr>
            <a:r>
              <a:rPr lang="nl-NL" sz="1600" b="1" dirty="0" err="1" smtClean="0">
                <a:solidFill>
                  <a:schemeClr val="bg1"/>
                </a:solidFill>
                <a:latin typeface="Helveticaa"/>
              </a:rPr>
              <a:t>Loyalty</a:t>
            </a:r>
            <a:r>
              <a:rPr lang="nl-NL" sz="1600" b="1" dirty="0" smtClean="0">
                <a:solidFill>
                  <a:schemeClr val="bg1"/>
                </a:solidFill>
                <a:latin typeface="Helveticaa"/>
              </a:rPr>
              <a:t>: spaarprogramma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endParaRPr lang="nl-NL" sz="2200" b="1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Font typeface="Wingdings" pitchFamily="2" charset="2"/>
              <a:buChar char="§"/>
            </a:pPr>
            <a:endParaRPr lang="nl-NL" sz="2000" b="1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>
              <a:lnSpc>
                <a:spcPts val="2500"/>
              </a:lnSpc>
            </a:pPr>
            <a:r>
              <a:rPr lang="nl-NL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Helveticaa"/>
              </a:rPr>
              <a:t>	</a:t>
            </a:r>
            <a:endParaRPr lang="nl-NL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>
              <a:lnSpc>
                <a:spcPts val="3000"/>
              </a:lnSpc>
            </a:pPr>
            <a:endParaRPr lang="nl-NL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Font typeface="Wingdings" pitchFamily="2" charset="2"/>
              <a:buChar char="§"/>
            </a:pPr>
            <a:endParaRPr lang="nl-NL" sz="2400" dirty="0">
              <a:solidFill>
                <a:schemeClr val="tx1">
                  <a:lumMod val="75000"/>
                  <a:lumOff val="25000"/>
                </a:schemeClr>
              </a:solidFill>
              <a:latin typeface="Helveticaa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MSP24-programma</a:t>
            </a:r>
          </a:p>
        </p:txBody>
      </p:sp>
    </p:spTree>
    <p:extLst>
      <p:ext uri="{BB962C8B-B14F-4D97-AF65-F5344CB8AC3E}">
        <p14:creationId xmlns:p14="http://schemas.microsoft.com/office/powerpoint/2010/main" val="266207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8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2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C:\Users\meike\Downloads\Presentatie BlueLine-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" y="0"/>
            <a:ext cx="914129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2265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C:\Users\meike\Desktop\Presentatie BlueLine2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C:\Users\meike\Downloads\Ticket-tes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404" y="771550"/>
            <a:ext cx="8066036" cy="3240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633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C:\Users\meike\Desktop\Presentatie BlueLine2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4588" y="257175"/>
            <a:ext cx="4314825" cy="462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50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meike\Downloads\Presentatie BlueLine12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" y="0"/>
            <a:ext cx="914129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1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 descr="img_mainpicture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57" b="33722"/>
          <a:stretch/>
        </p:blipFill>
        <p:spPr>
          <a:xfrm>
            <a:off x="0" y="-1"/>
            <a:ext cx="9144000" cy="4095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05734" y="4251363"/>
            <a:ext cx="7273766" cy="694874"/>
          </a:xfrm>
        </p:spPr>
        <p:txBody>
          <a:bodyPr>
            <a:normAutofit fontScale="90000"/>
          </a:bodyPr>
          <a:lstStyle/>
          <a:p>
            <a:pPr algn="l"/>
            <a:r>
              <a:rPr lang="nl-NL" b="1" dirty="0" err="1" smtClean="0">
                <a:latin typeface="Helvetica Neue Medium"/>
                <a:cs typeface="Helvetica Neue Medium"/>
              </a:rPr>
              <a:t>BlueLine</a:t>
            </a:r>
            <a:r>
              <a:rPr lang="nl-NL" b="1" dirty="0" smtClean="0">
                <a:latin typeface="Helvetica Neue Medium"/>
                <a:cs typeface="Helvetica Neue Medium"/>
              </a:rPr>
              <a:t> </a:t>
            </a:r>
            <a:r>
              <a:rPr lang="nl-NL" b="1" dirty="0">
                <a:latin typeface="Helvetica Neue Medium"/>
                <a:cs typeface="Helvetica Neue Medium"/>
              </a:rPr>
              <a:t>&amp; </a:t>
            </a:r>
            <a:r>
              <a:rPr lang="nl-NL" b="1" dirty="0" smtClean="0">
                <a:latin typeface="Helvetica Neue Medium"/>
                <a:cs typeface="Helvetica Neue Medium"/>
              </a:rPr>
              <a:t>ClickDistrict</a:t>
            </a:r>
            <a:endParaRPr lang="nl-NL" sz="3200" dirty="0">
              <a:latin typeface="Helvetica Neue Medium"/>
              <a:cs typeface="Helvetica Neue Medium"/>
            </a:endParaRPr>
          </a:p>
        </p:txBody>
      </p:sp>
      <p:pic>
        <p:nvPicPr>
          <p:cNvPr id="5" name="Afbeelding 4" descr="lg_clickdistrict_payoff_locked_4c copy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292" y="4251363"/>
            <a:ext cx="1032886" cy="694874"/>
          </a:xfrm>
          <a:prstGeom prst="rect">
            <a:avLst/>
          </a:prstGeom>
        </p:spPr>
      </p:pic>
      <p:cxnSp>
        <p:nvCxnSpPr>
          <p:cNvPr id="11" name="Rechte verbindingslijn 10"/>
          <p:cNvCxnSpPr/>
          <p:nvPr/>
        </p:nvCxnSpPr>
        <p:spPr>
          <a:xfrm>
            <a:off x="0" y="4651897"/>
            <a:ext cx="784286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8938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ver </a:t>
            </a:r>
            <a:r>
              <a:rPr lang="nl-NL" dirty="0" err="1" smtClean="0"/>
              <a:t>ClickDistrict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sz="2000" dirty="0"/>
              <a:t>ClickDistrict, opgericht in 2007, is sinds 2015 onderdeel van Digital Agency Group (DAG). We hebben technologie in ons DNA zitten. Bij voorkeur maken we gebruik van de voordelen van </a:t>
            </a:r>
            <a:r>
              <a:rPr lang="nl-NL" sz="2000" b="1" dirty="0" err="1"/>
              <a:t>programmatic</a:t>
            </a:r>
            <a:r>
              <a:rPr lang="nl-NL" sz="2000" b="1" dirty="0"/>
              <a:t> </a:t>
            </a:r>
            <a:r>
              <a:rPr lang="nl-NL" sz="2000" b="1" dirty="0" err="1"/>
              <a:t>buying</a:t>
            </a:r>
            <a:r>
              <a:rPr lang="nl-NL" sz="2000" dirty="0"/>
              <a:t>. Waarbij we DSP-onafhankelijk opereren. </a:t>
            </a:r>
          </a:p>
          <a:p>
            <a:pPr marL="0" indent="0">
              <a:buNone/>
            </a:pPr>
            <a:r>
              <a:rPr lang="nl-NL" sz="2000" dirty="0"/>
              <a:t>Wij zorgen ervoor dat de online doelstelling behaald wordt. Die kan variëren van zichtbaarheid binnen de juiste omgeving of de juiste doelgroep, traffic naar de site of sales.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Presentatietitel  |  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" name="Groeperen 5"/>
          <p:cNvGrpSpPr/>
          <p:nvPr/>
        </p:nvGrpSpPr>
        <p:grpSpPr>
          <a:xfrm>
            <a:off x="1535906" y="3309946"/>
            <a:ext cx="6242264" cy="1350036"/>
            <a:chOff x="726334" y="1987262"/>
            <a:chExt cx="9177866" cy="2777068"/>
          </a:xfrm>
        </p:grpSpPr>
        <p:sp>
          <p:nvSpPr>
            <p:cNvPr id="7" name="Afgeronde rechthoek 6"/>
            <p:cNvSpPr/>
            <p:nvPr/>
          </p:nvSpPr>
          <p:spPr>
            <a:xfrm>
              <a:off x="4303643" y="1987262"/>
              <a:ext cx="1998133" cy="91440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l-NL">
                <a:solidFill>
                  <a:prstClr val="white"/>
                </a:solidFill>
              </a:endParaRPr>
            </a:p>
          </p:txBody>
        </p:sp>
        <p:pic>
          <p:nvPicPr>
            <p:cNvPr id="8" name="Afbeelding 7" descr="logo's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3711" y="2102139"/>
              <a:ext cx="1772852" cy="7233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</p:pic>
        <p:sp>
          <p:nvSpPr>
            <p:cNvPr id="9" name="Afgeronde rechthoek 8"/>
            <p:cNvSpPr/>
            <p:nvPr/>
          </p:nvSpPr>
          <p:spPr>
            <a:xfrm>
              <a:off x="726334" y="3849929"/>
              <a:ext cx="1998133" cy="914401"/>
            </a:xfrm>
            <a:prstGeom prst="roundRect">
              <a:avLst/>
            </a:prstGeom>
            <a:solidFill>
              <a:srgbClr val="FFFF00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10" name="Afgeronde rechthoek 9"/>
            <p:cNvSpPr/>
            <p:nvPr/>
          </p:nvSpPr>
          <p:spPr>
            <a:xfrm>
              <a:off x="5531307" y="3849929"/>
              <a:ext cx="1998133" cy="914401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11" name="Afgeronde rechthoek 10"/>
            <p:cNvSpPr/>
            <p:nvPr/>
          </p:nvSpPr>
          <p:spPr>
            <a:xfrm>
              <a:off x="3130866" y="3849929"/>
              <a:ext cx="1998133" cy="914401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12" name="Afgeronde rechthoek 11"/>
            <p:cNvSpPr/>
            <p:nvPr/>
          </p:nvSpPr>
          <p:spPr>
            <a:xfrm>
              <a:off x="7906067" y="3849929"/>
              <a:ext cx="1998133" cy="914401"/>
            </a:xfrm>
            <a:prstGeom prst="roundRect">
              <a:avLst/>
            </a:prstGeom>
            <a:solidFill>
              <a:srgbClr val="71A58E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l-NL">
                <a:solidFill>
                  <a:prstClr val="white"/>
                </a:solidFill>
              </a:endParaRPr>
            </a:p>
          </p:txBody>
        </p:sp>
        <p:cxnSp>
          <p:nvCxnSpPr>
            <p:cNvPr id="13" name="Gebogen verbindingslijn 12"/>
            <p:cNvCxnSpPr>
              <a:stCxn id="7" idx="2"/>
              <a:endCxn id="9" idx="0"/>
            </p:cNvCxnSpPr>
            <p:nvPr/>
          </p:nvCxnSpPr>
          <p:spPr>
            <a:xfrm rot="5400000">
              <a:off x="3039923" y="1587142"/>
              <a:ext cx="948266" cy="3577309"/>
            </a:xfrm>
            <a:prstGeom prst="bentConnector3">
              <a:avLst/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bogen verbindingslijn 13"/>
            <p:cNvCxnSpPr>
              <a:stCxn id="7" idx="2"/>
              <a:endCxn id="10" idx="0"/>
            </p:cNvCxnSpPr>
            <p:nvPr/>
          </p:nvCxnSpPr>
          <p:spPr>
            <a:xfrm rot="16200000" flipH="1">
              <a:off x="5442409" y="2761964"/>
              <a:ext cx="948266" cy="122766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bogen verbindingslijn 14"/>
            <p:cNvCxnSpPr>
              <a:stCxn id="7" idx="2"/>
              <a:endCxn id="11" idx="0"/>
            </p:cNvCxnSpPr>
            <p:nvPr/>
          </p:nvCxnSpPr>
          <p:spPr>
            <a:xfrm rot="5400000">
              <a:off x="4242189" y="2789408"/>
              <a:ext cx="948266" cy="117277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bogen verbindingslijn 15"/>
            <p:cNvCxnSpPr>
              <a:stCxn id="7" idx="2"/>
              <a:endCxn id="12" idx="0"/>
            </p:cNvCxnSpPr>
            <p:nvPr/>
          </p:nvCxnSpPr>
          <p:spPr>
            <a:xfrm rot="16200000" flipH="1">
              <a:off x="6629789" y="1574584"/>
              <a:ext cx="948266" cy="360242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Afbeelding 16" descr="qban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1899" y="4054196"/>
              <a:ext cx="1658833" cy="530827"/>
            </a:xfrm>
            <a:prstGeom prst="rect">
              <a:avLst/>
            </a:prstGeom>
          </p:spPr>
        </p:pic>
        <p:pic>
          <p:nvPicPr>
            <p:cNvPr id="18" name="Afbeelding 17" descr="lg_clickdistrict_payoff_2c.eps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6563" y="3949931"/>
              <a:ext cx="781503" cy="712256"/>
            </a:xfrm>
            <a:prstGeom prst="rect">
              <a:avLst/>
            </a:prstGeom>
          </p:spPr>
        </p:pic>
        <p:pic>
          <p:nvPicPr>
            <p:cNvPr id="19" name="Afbeelding 1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9272" y="3949929"/>
              <a:ext cx="712257" cy="712257"/>
            </a:xfrm>
            <a:prstGeom prst="rect">
              <a:avLst/>
            </a:prstGeom>
          </p:spPr>
        </p:pic>
        <p:pic>
          <p:nvPicPr>
            <p:cNvPr id="20" name="Afbeelding 19" descr="logo_DBS_cmyk_2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6735" y="4032159"/>
              <a:ext cx="1642997" cy="5613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302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628688" y="273821"/>
            <a:ext cx="7886626" cy="6906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mtClean="0"/>
              <a:t>Klanten/leads porfolio</a:t>
            </a:r>
            <a:endParaRPr lang="nl-NL" dirty="0"/>
          </a:p>
        </p:txBody>
      </p:sp>
      <p:pic>
        <p:nvPicPr>
          <p:cNvPr id="8" name="Afbeelding 7" descr="Hastens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182" y="3270737"/>
            <a:ext cx="899223" cy="472992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9" name="Afbeelding 8" descr="Hema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188" y="2888254"/>
            <a:ext cx="515342" cy="515342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0" name="Afbeelding 9" descr="Monte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5287" y="2486430"/>
            <a:ext cx="971784" cy="291536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1" name="Afbeelding 10" descr="protest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39" y="2718183"/>
            <a:ext cx="990068" cy="547838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2" name="Afbeelding 11" descr="WE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183" y="2210109"/>
            <a:ext cx="725118" cy="330054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3" name="Afbeelding 12" descr="Squla_logo_CMYK_Basis_vierkantt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6381" y="3089166"/>
            <a:ext cx="618895" cy="284073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68023" y="1602418"/>
            <a:ext cx="1376012" cy="312481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5" name="Afbeelding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8593" y="1567191"/>
            <a:ext cx="1191785" cy="440315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79781" y="1572222"/>
            <a:ext cx="997741" cy="358496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7" name="Afbeelding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13676" y="3812448"/>
            <a:ext cx="1371837" cy="478714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8" name="Afbeelding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30576" y="2084607"/>
            <a:ext cx="1427795" cy="387198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19" name="Afbeelding 1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27094" y="3772266"/>
            <a:ext cx="1280076" cy="457414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368934" y="3611536"/>
            <a:ext cx="685876" cy="685876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74310" y="1567191"/>
            <a:ext cx="904103" cy="366725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22" name="Afbeelding 2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33216" y="2169927"/>
            <a:ext cx="904103" cy="439834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23" name="Afbeelding 2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839599" y="2215140"/>
            <a:ext cx="1064833" cy="406214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24" name="Afbeelding 23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72487" y="2898240"/>
            <a:ext cx="1679623" cy="256711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25" name="Afbeelding 24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120876" y="2898240"/>
            <a:ext cx="1040473" cy="324938"/>
          </a:xfrm>
          <a:prstGeom prst="rect">
            <a:avLst/>
          </a:prstGeom>
          <a:effectLst>
            <a:outerShdw blurRad="698500" dist="38100" dir="6300000">
              <a:srgbClr val="000000">
                <a:alpha val="43000"/>
              </a:srgbClr>
            </a:outerShdw>
          </a:effectLst>
        </p:spPr>
      </p:pic>
      <p:pic>
        <p:nvPicPr>
          <p:cNvPr id="26" name="Afbeelding 25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18450" y="3443431"/>
            <a:ext cx="1160266" cy="426938"/>
          </a:xfrm>
          <a:prstGeom prst="rect">
            <a:avLst/>
          </a:prstGeom>
        </p:spPr>
      </p:pic>
      <p:pic>
        <p:nvPicPr>
          <p:cNvPr id="27" name="Picture 2" descr="http://3.bp.blogspot.com/-lFRzHgLsC0E/TbAfnthm5QI/AAAAAAAABFQ/ocbmy_xDUzo/s1600/C%26A+logo+2011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5182" y="1080422"/>
            <a:ext cx="895300" cy="68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http://pandoragroup.com/Media/Image-Libary/~/media/EB0344D647E048CEACBEF32ACA0DA882.ashx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365" y="874901"/>
            <a:ext cx="1300859" cy="504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https://www.zonnebloem.nl/Resources/Images/logo-staand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2849" y="415735"/>
            <a:ext cx="464949" cy="70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" descr="https://pbs.twimg.com/profile_images/558183656447963136/K-eEVg-3.jpe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3089" y="2859360"/>
            <a:ext cx="647874" cy="64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Afbeelding 30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767720" y="3401966"/>
            <a:ext cx="1205471" cy="552508"/>
          </a:xfrm>
          <a:prstGeom prst="rect">
            <a:avLst/>
          </a:prstGeom>
        </p:spPr>
      </p:pic>
      <p:pic>
        <p:nvPicPr>
          <p:cNvPr id="32" name="Afbeelding 31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073308" y="2540162"/>
            <a:ext cx="884012" cy="72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776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nl-NL" dirty="0" err="1"/>
              <a:t>Outline</a:t>
            </a:r>
            <a:r>
              <a:rPr lang="nl-NL" dirty="0"/>
              <a:t> uitgangspositie</a:t>
            </a:r>
            <a:endParaRPr lang="nl-NL" dirty="0">
              <a:latin typeface="Open Sans"/>
              <a:cs typeface="Open Sans"/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fontScale="32500" lnSpcReduction="20000"/>
          </a:bodyPr>
          <a:lstStyle/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nl-NL" b="1" dirty="0">
                <a:cs typeface="Arial" panose="020B0604020202020204" pitchFamily="34" charset="0"/>
              </a:rPr>
              <a:t>C</a:t>
            </a:r>
            <a:r>
              <a:rPr lang="nl-NL" b="1" dirty="0" smtClean="0">
                <a:cs typeface="Arial" panose="020B0604020202020204" pitchFamily="34" charset="0"/>
              </a:rPr>
              <a:t>entrale </a:t>
            </a:r>
            <a:r>
              <a:rPr lang="nl-NL" b="1" dirty="0">
                <a:cs typeface="Arial" panose="020B0604020202020204" pitchFamily="34" charset="0"/>
              </a:rPr>
              <a:t>vraag</a:t>
            </a:r>
          </a:p>
          <a:p>
            <a:pPr marL="0" indent="0">
              <a:buSzPts val="1000"/>
              <a:buNone/>
              <a:tabLst>
                <a:tab pos="457200" algn="l"/>
              </a:tabLst>
            </a:pPr>
            <a:r>
              <a:rPr lang="nl-NL" dirty="0">
                <a:ea typeface="Calibri" panose="020F0502020204030204" pitchFamily="34" charset="0"/>
              </a:rPr>
              <a:t>Click District is gevraagd door Blue line om een online </a:t>
            </a:r>
            <a:r>
              <a:rPr lang="nl-NL" dirty="0" err="1">
                <a:ea typeface="Calibri" panose="020F0502020204030204" pitchFamily="34" charset="0"/>
              </a:rPr>
              <a:t>always</a:t>
            </a:r>
            <a:r>
              <a:rPr lang="nl-NL" dirty="0">
                <a:ea typeface="Calibri" panose="020F0502020204030204" pitchFamily="34" charset="0"/>
              </a:rPr>
              <a:t> on strategie op te stellen voor lokale </a:t>
            </a:r>
            <a:r>
              <a:rPr lang="nl-NL" dirty="0" smtClean="0">
                <a:ea typeface="Calibri" panose="020F0502020204030204" pitchFamily="34" charset="0"/>
              </a:rPr>
              <a:t>ICT / Telecom </a:t>
            </a:r>
            <a:r>
              <a:rPr lang="nl-NL" dirty="0" err="1">
                <a:ea typeface="Calibri" panose="020F0502020204030204" pitchFamily="34" charset="0"/>
              </a:rPr>
              <a:t>resellers</a:t>
            </a:r>
            <a:r>
              <a:rPr lang="nl-NL" dirty="0">
                <a:ea typeface="Calibri" panose="020F0502020204030204" pitchFamily="34" charset="0"/>
              </a:rPr>
              <a:t> in Nederland. </a:t>
            </a:r>
          </a:p>
          <a:p>
            <a:pPr>
              <a:buSzPts val="1000"/>
              <a:tabLst>
                <a:tab pos="457200" algn="l"/>
              </a:tabLst>
            </a:pPr>
            <a:endParaRPr lang="nl-NL" b="1" dirty="0">
              <a:ea typeface="Calibri" panose="020F0502020204030204" pitchFamily="34" charset="0"/>
            </a:endParaRPr>
          </a:p>
          <a:p>
            <a:pPr marL="0" indent="0">
              <a:buSzPts val="1000"/>
              <a:buNone/>
              <a:tabLst>
                <a:tab pos="457200" algn="l"/>
              </a:tabLst>
            </a:pPr>
            <a:r>
              <a:rPr lang="nl-NL" b="1" dirty="0">
                <a:ea typeface="Calibri" panose="020F0502020204030204" pitchFamily="34" charset="0"/>
              </a:rPr>
              <a:t>Timing</a:t>
            </a:r>
            <a:r>
              <a:rPr lang="nl-NL" dirty="0">
                <a:cs typeface="Arial" panose="020B0604020202020204" pitchFamily="34" charset="0"/>
              </a:rPr>
              <a:t> 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dirty="0">
                <a:cs typeface="Arial" panose="020B0604020202020204" pitchFamily="34" charset="0"/>
              </a:rPr>
              <a:t>Q1 2016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dirty="0">
                <a:ea typeface="Calibri" panose="020F0502020204030204" pitchFamily="34" charset="0"/>
                <a:cs typeface="Arial" panose="020B0604020202020204" pitchFamily="34" charset="0"/>
              </a:rPr>
              <a:t>Looptijd van de overeenkomst is ten minste een kwartaal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dirty="0">
                <a:ea typeface="Calibri" panose="020F0502020204030204" pitchFamily="34" charset="0"/>
                <a:cs typeface="Arial" panose="020B0604020202020204" pitchFamily="34" charset="0"/>
              </a:rPr>
              <a:t>Ten alle tijden opzegbaar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dirty="0">
                <a:ea typeface="Calibri" panose="020F0502020204030204" pitchFamily="34" charset="0"/>
                <a:cs typeface="Arial" panose="020B0604020202020204" pitchFamily="34" charset="0"/>
              </a:rPr>
              <a:t>De campagne kenmerkt zich door optimalisatie </a:t>
            </a:r>
            <a:r>
              <a:rPr lang="nl-NL" dirty="0" err="1">
                <a:ea typeface="Calibri" panose="020F0502020204030204" pitchFamily="34" charset="0"/>
                <a:cs typeface="Arial" panose="020B0604020202020204" pitchFamily="34" charset="0"/>
              </a:rPr>
              <a:t>obv</a:t>
            </a:r>
            <a:r>
              <a:rPr lang="nl-NL" dirty="0">
                <a:ea typeface="Calibri" panose="020F0502020204030204" pitchFamily="34" charset="0"/>
                <a:cs typeface="Arial" panose="020B0604020202020204" pitchFamily="34" charset="0"/>
              </a:rPr>
              <a:t> media data. Hierdoor is een langlopend karakter zeer wenselijk.</a:t>
            </a:r>
            <a:endParaRPr lang="nl-NL" b="1" dirty="0">
              <a:ea typeface="Calibri" panose="020F0502020204030204" pitchFamily="34" charset="0"/>
            </a:endParaRPr>
          </a:p>
          <a:p>
            <a:pPr>
              <a:buSzPts val="1000"/>
              <a:tabLst>
                <a:tab pos="457200" algn="l"/>
              </a:tabLst>
            </a:pPr>
            <a:endParaRPr lang="nl-NL" b="1" dirty="0">
              <a:ea typeface="Calibri" panose="020F0502020204030204" pitchFamily="34" charset="0"/>
            </a:endParaRPr>
          </a:p>
          <a:p>
            <a:pPr marL="0" lvl="0" indent="0">
              <a:spcAft>
                <a:spcPts val="0"/>
              </a:spcAft>
              <a:buSzPts val="1000"/>
              <a:buNone/>
              <a:tabLst>
                <a:tab pos="457200" algn="l"/>
              </a:tabLst>
            </a:pPr>
            <a:r>
              <a:rPr lang="nl-NL" b="1" dirty="0">
                <a:ea typeface="Calibri" panose="020F0502020204030204" pitchFamily="34" charset="0"/>
              </a:rPr>
              <a:t>Doelstelling</a:t>
            </a:r>
            <a:r>
              <a:rPr lang="nl-NL" dirty="0">
                <a:ea typeface="Calibri" panose="020F0502020204030204" pitchFamily="34" charset="0"/>
              </a:rPr>
              <a:t> </a:t>
            </a:r>
          </a:p>
          <a:p>
            <a:pPr marL="0" lvl="0" indent="0">
              <a:buSzPts val="1000"/>
              <a:buNone/>
              <a:tabLst>
                <a:tab pos="457200" algn="l"/>
              </a:tabLst>
            </a:pPr>
            <a:r>
              <a:rPr lang="nl-NL" dirty="0">
                <a:ea typeface="Calibri" panose="020F0502020204030204" pitchFamily="34" charset="0"/>
              </a:rPr>
              <a:t>Traffic en leads naar </a:t>
            </a:r>
            <a:r>
              <a:rPr lang="nl-NL" dirty="0" smtClean="0">
                <a:ea typeface="Calibri" panose="020F0502020204030204" pitchFamily="34" charset="0"/>
              </a:rPr>
              <a:t>de website van de </a:t>
            </a:r>
            <a:r>
              <a:rPr lang="nl-NL" dirty="0" err="1" smtClean="0">
                <a:ea typeface="Calibri" panose="020F0502020204030204" pitchFamily="34" charset="0"/>
              </a:rPr>
              <a:t>reseller</a:t>
            </a:r>
            <a:r>
              <a:rPr lang="nl-NL" dirty="0" smtClean="0">
                <a:ea typeface="Calibri" panose="020F0502020204030204" pitchFamily="34" charset="0"/>
              </a:rPr>
              <a:t>. </a:t>
            </a:r>
          </a:p>
          <a:p>
            <a:pPr marL="0" lvl="0" indent="0">
              <a:buSzPts val="1000"/>
              <a:buNone/>
              <a:tabLst>
                <a:tab pos="457200" algn="l"/>
              </a:tabLst>
            </a:pPr>
            <a:endParaRPr lang="nl-NL" dirty="0">
              <a:cs typeface="Arial" panose="020B0604020202020204" pitchFamily="34" charset="0"/>
            </a:endParaRPr>
          </a:p>
          <a:p>
            <a:pPr marL="0" indent="0">
              <a:buSzPts val="1000"/>
              <a:buNone/>
              <a:tabLst>
                <a:tab pos="457200" algn="l"/>
              </a:tabLst>
            </a:pPr>
            <a:r>
              <a:rPr lang="nl-NL" b="1" dirty="0" smtClean="0">
                <a:ea typeface="Calibri" panose="020F0502020204030204" pitchFamily="34" charset="0"/>
              </a:rPr>
              <a:t>Locatie</a:t>
            </a:r>
            <a:endParaRPr lang="nl-NL" b="1" dirty="0">
              <a:ea typeface="Calibri" panose="020F0502020204030204" pitchFamily="34" charset="0"/>
            </a:endParaRPr>
          </a:p>
          <a:p>
            <a:pPr marL="0" indent="0">
              <a:buSzPts val="1000"/>
              <a:buNone/>
              <a:tabLst>
                <a:tab pos="457200" algn="l"/>
              </a:tabLst>
            </a:pPr>
            <a:r>
              <a:rPr lang="nl-NL" dirty="0" smtClean="0">
                <a:ea typeface="Calibri" panose="020F0502020204030204" pitchFamily="34" charset="0"/>
              </a:rPr>
              <a:t>Deze online media inzet is geprogrammeerd voor </a:t>
            </a:r>
          </a:p>
          <a:p>
            <a:pPr marL="0" indent="0">
              <a:buSzPts val="1000"/>
              <a:buNone/>
              <a:tabLst>
                <a:tab pos="457200" algn="l"/>
              </a:tabLst>
            </a:pPr>
            <a:r>
              <a:rPr lang="nl-NL" dirty="0" smtClean="0">
                <a:ea typeface="Calibri" panose="020F0502020204030204" pitchFamily="34" charset="0"/>
              </a:rPr>
              <a:t>lokale communicatie. Dit kan van tot aan het </a:t>
            </a:r>
          </a:p>
          <a:p>
            <a:pPr marL="0" indent="0">
              <a:buSzPts val="1000"/>
              <a:buNone/>
              <a:tabLst>
                <a:tab pos="457200" algn="l"/>
              </a:tabLst>
            </a:pPr>
            <a:r>
              <a:rPr lang="nl-NL" dirty="0">
                <a:ea typeface="Calibri" panose="020F0502020204030204" pitchFamily="34" charset="0"/>
              </a:rPr>
              <a:t>p</a:t>
            </a:r>
            <a:r>
              <a:rPr lang="nl-NL" dirty="0" smtClean="0">
                <a:ea typeface="Calibri" panose="020F0502020204030204" pitchFamily="34" charset="0"/>
              </a:rPr>
              <a:t>ostcode gebied specifiek.</a:t>
            </a:r>
            <a:endParaRPr lang="nl-NL" dirty="0">
              <a:ea typeface="Calibri" panose="020F0502020204030204" pitchFamily="34" charset="0"/>
            </a:endParaRPr>
          </a:p>
          <a:p>
            <a:pPr>
              <a:buSzPts val="1000"/>
              <a:tabLst>
                <a:tab pos="457200" algn="l"/>
              </a:tabLst>
            </a:pPr>
            <a:endParaRPr lang="nl-NL" b="1" dirty="0">
              <a:ea typeface="Calibri" panose="020F0502020204030204" pitchFamily="34" charset="0"/>
            </a:endParaRPr>
          </a:p>
          <a:p>
            <a:pPr marL="0" indent="0">
              <a:buSzPts val="1000"/>
              <a:buNone/>
              <a:tabLst>
                <a:tab pos="457200" algn="l"/>
              </a:tabLst>
            </a:pPr>
            <a:r>
              <a:rPr lang="nl-NL" b="1" dirty="0">
                <a:ea typeface="Calibri" panose="020F0502020204030204" pitchFamily="34" charset="0"/>
              </a:rPr>
              <a:t>Doelgroep </a:t>
            </a:r>
          </a:p>
          <a:p>
            <a:pPr marL="0" indent="0">
              <a:buSzPts val="1000"/>
              <a:buNone/>
              <a:tabLst>
                <a:tab pos="457200" algn="l"/>
              </a:tabLst>
            </a:pPr>
            <a:r>
              <a:rPr lang="nl-NL" dirty="0" err="1">
                <a:cs typeface="Arial" panose="020B0604020202020204" pitchFamily="34" charset="0"/>
              </a:rPr>
              <a:t>BtoB</a:t>
            </a:r>
            <a:r>
              <a:rPr lang="nl-NL" dirty="0">
                <a:cs typeface="Arial" panose="020B0604020202020204" pitchFamily="34" charset="0"/>
              </a:rPr>
              <a:t> markt in de omgeving </a:t>
            </a:r>
            <a:r>
              <a:rPr lang="nl-NL" dirty="0" smtClean="0">
                <a:cs typeface="Arial" panose="020B0604020202020204" pitchFamily="34" charset="0"/>
              </a:rPr>
              <a:t>van de </a:t>
            </a:r>
            <a:r>
              <a:rPr lang="nl-NL" dirty="0" err="1" smtClean="0">
                <a:cs typeface="Arial" panose="020B0604020202020204" pitchFamily="34" charset="0"/>
              </a:rPr>
              <a:t>reseller</a:t>
            </a:r>
            <a:r>
              <a:rPr lang="nl-NL" dirty="0" smtClean="0">
                <a:cs typeface="Arial" panose="020B0604020202020204" pitchFamily="34" charset="0"/>
              </a:rPr>
              <a:t>.</a:t>
            </a:r>
            <a:endParaRPr lang="nl-NL" dirty="0">
              <a:cs typeface="Arial" panose="020B0604020202020204" pitchFamily="34" charset="0"/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1295400" y="4776789"/>
            <a:ext cx="6591300" cy="273844"/>
          </a:xfrm>
        </p:spPr>
        <p:txBody>
          <a:bodyPr/>
          <a:lstStyle/>
          <a:p>
            <a:pPr algn="l"/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Afbeelding 5" descr="lg_clickdistrict_payoff_locked_4c copy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579735"/>
            <a:ext cx="685800" cy="461372"/>
          </a:xfrm>
          <a:prstGeom prst="rect">
            <a:avLst/>
          </a:prstGeom>
        </p:spPr>
      </p:pic>
      <p:cxnSp>
        <p:nvCxnSpPr>
          <p:cNvPr id="8" name="Rechte verbindingslijn 7"/>
          <p:cNvCxnSpPr/>
          <p:nvPr/>
        </p:nvCxnSpPr>
        <p:spPr>
          <a:xfrm>
            <a:off x="8305800" y="4767263"/>
            <a:ext cx="3810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Afbeelding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9822" y="2606201"/>
            <a:ext cx="4065965" cy="171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610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trategie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fontScale="40000" lnSpcReduction="20000"/>
          </a:bodyPr>
          <a:lstStyle/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nl-NL" dirty="0">
                <a:cs typeface="Arial" panose="020B0604020202020204" pitchFamily="34" charset="0"/>
              </a:rPr>
              <a:t>De gekozen aanvliegroute voor het genereren van traffic kent een lokaal karakter. </a:t>
            </a:r>
            <a:endParaRPr lang="nl-NL" b="1" dirty="0" smtClean="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nl-NL" dirty="0" smtClean="0">
                <a:cs typeface="Arial" panose="020B0604020202020204" pitchFamily="34" charset="0"/>
              </a:rPr>
              <a:t>De </a:t>
            </a:r>
            <a:r>
              <a:rPr lang="nl-NL" dirty="0">
                <a:cs typeface="Arial" panose="020B0604020202020204" pitchFamily="34" charset="0"/>
              </a:rPr>
              <a:t>reden hiervan is omdat we te maken hebben met een fysieke offline verkoop locatie. </a:t>
            </a:r>
            <a:r>
              <a:rPr lang="nl-NL" dirty="0" smtClean="0">
                <a:cs typeface="Arial" panose="020B0604020202020204" pitchFamily="34" charset="0"/>
              </a:rPr>
              <a:t>Met deze aanpak kunnen we iedere willekeurige regio in Nederland </a:t>
            </a:r>
            <a:r>
              <a:rPr lang="nl-NL" dirty="0" err="1" smtClean="0">
                <a:cs typeface="Arial" panose="020B0604020202020204" pitchFamily="34" charset="0"/>
              </a:rPr>
              <a:t>targeten</a:t>
            </a:r>
            <a:r>
              <a:rPr lang="nl-NL" dirty="0" smtClean="0">
                <a:cs typeface="Arial" panose="020B0604020202020204" pitchFamily="34" charset="0"/>
              </a:rPr>
              <a:t>. Dit </a:t>
            </a:r>
            <a:r>
              <a:rPr lang="nl-NL" dirty="0">
                <a:cs typeface="Arial" panose="020B0604020202020204" pitchFamily="34" charset="0"/>
              </a:rPr>
              <a:t>is online op verschillende manieren mogelijk. Dit lokale plan is op de volgende kernwaarden gebaseerd: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nl-NL" dirty="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nl-NL" dirty="0">
                <a:cs typeface="Arial" panose="020B0604020202020204" pitchFamily="34" charset="0"/>
              </a:rPr>
              <a:t>Doel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nl-NL" dirty="0">
                <a:cs typeface="Arial" panose="020B0604020202020204" pitchFamily="34" charset="0"/>
              </a:rPr>
              <a:t>Traffic en / of leads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nl-NL" dirty="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nl-NL" dirty="0">
                <a:cs typeface="Arial" panose="020B0604020202020204" pitchFamily="34" charset="0"/>
              </a:rPr>
              <a:t>Kanalen </a:t>
            </a:r>
            <a:r>
              <a:rPr lang="nl-NL" dirty="0" smtClean="0">
                <a:cs typeface="Arial" panose="020B0604020202020204" pitchFamily="34" charset="0"/>
              </a:rPr>
              <a:t/>
            </a:r>
            <a:br>
              <a:rPr lang="nl-NL" dirty="0" smtClean="0">
                <a:cs typeface="Arial" panose="020B0604020202020204" pitchFamily="34" charset="0"/>
              </a:rPr>
            </a:br>
            <a:r>
              <a:rPr lang="nl-NL" dirty="0" err="1" smtClean="0">
                <a:cs typeface="Arial" panose="020B0604020202020204" pitchFamily="34" charset="0"/>
              </a:rPr>
              <a:t>Prospecting</a:t>
            </a:r>
            <a:r>
              <a:rPr lang="nl-NL" dirty="0">
                <a:cs typeface="Arial" panose="020B0604020202020204" pitchFamily="34" charset="0"/>
              </a:rPr>
              <a:t>, </a:t>
            </a:r>
            <a:r>
              <a:rPr lang="nl-NL" dirty="0" err="1">
                <a:cs typeface="Arial" panose="020B0604020202020204" pitchFamily="34" charset="0"/>
              </a:rPr>
              <a:t>retargeting</a:t>
            </a:r>
            <a:r>
              <a:rPr lang="nl-NL" dirty="0">
                <a:cs typeface="Arial" panose="020B0604020202020204" pitchFamily="34" charset="0"/>
              </a:rPr>
              <a:t>, mobile display.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nl-NL" dirty="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nl-NL" dirty="0" err="1" smtClean="0">
                <a:cs typeface="Arial" panose="020B0604020202020204" pitchFamily="34" charset="0"/>
              </a:rPr>
              <a:t>Devices</a:t>
            </a:r>
            <a:r>
              <a:rPr lang="nl-NL" dirty="0">
                <a:cs typeface="Arial" panose="020B0604020202020204" pitchFamily="34" charset="0"/>
              </a:rPr>
              <a:t/>
            </a:r>
            <a:br>
              <a:rPr lang="nl-NL" dirty="0">
                <a:cs typeface="Arial" panose="020B0604020202020204" pitchFamily="34" charset="0"/>
              </a:rPr>
            </a:br>
            <a:r>
              <a:rPr lang="nl-NL" dirty="0" smtClean="0">
                <a:cs typeface="Arial" panose="020B0604020202020204" pitchFamily="34" charset="0"/>
              </a:rPr>
              <a:t>Desktop </a:t>
            </a:r>
            <a:r>
              <a:rPr lang="nl-NL" dirty="0">
                <a:cs typeface="Arial" panose="020B0604020202020204" pitchFamily="34" charset="0"/>
              </a:rPr>
              <a:t>en mobile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nl-NL" dirty="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nl-NL" dirty="0" smtClean="0">
                <a:cs typeface="Arial" panose="020B0604020202020204" pitchFamily="34" charset="0"/>
              </a:rPr>
              <a:t>Creatie</a:t>
            </a:r>
            <a:br>
              <a:rPr lang="nl-NL" dirty="0" smtClean="0">
                <a:cs typeface="Arial" panose="020B0604020202020204" pitchFamily="34" charset="0"/>
              </a:rPr>
            </a:br>
            <a:r>
              <a:rPr lang="nl-NL" dirty="0" smtClean="0">
                <a:cs typeface="Arial" panose="020B0604020202020204" pitchFamily="34" charset="0"/>
              </a:rPr>
              <a:t>Standaard </a:t>
            </a:r>
            <a:r>
              <a:rPr lang="nl-NL" dirty="0">
                <a:cs typeface="Arial" panose="020B0604020202020204" pitchFamily="34" charset="0"/>
              </a:rPr>
              <a:t>IAB set (lage productie </a:t>
            </a:r>
            <a:r>
              <a:rPr lang="nl-NL" dirty="0" smtClean="0">
                <a:cs typeface="Arial" panose="020B0604020202020204" pitchFamily="34" charset="0"/>
              </a:rPr>
              <a:t>&amp;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nl-NL" dirty="0" smtClean="0">
                <a:cs typeface="Arial" panose="020B0604020202020204" pitchFamily="34" charset="0"/>
              </a:rPr>
              <a:t> </a:t>
            </a:r>
            <a:r>
              <a:rPr lang="nl-NL" dirty="0">
                <a:cs typeface="Arial" panose="020B0604020202020204" pitchFamily="34" charset="0"/>
              </a:rPr>
              <a:t>goede traffic mogelijkheden)</a:t>
            </a:r>
          </a:p>
          <a:p>
            <a:pPr marL="285750" indent="-2857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Tx/>
              <a:buChar char="-"/>
            </a:pPr>
            <a:endParaRPr lang="nl-NL" dirty="0"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nl-NL" dirty="0">
              <a:cs typeface="Arial" panose="020B0604020202020204" pitchFamily="34" charset="0"/>
            </a:endParaRPr>
          </a:p>
          <a:p>
            <a:pPr lvl="0">
              <a:spcAft>
                <a:spcPts val="0"/>
              </a:spcAft>
              <a:buSzPts val="1000"/>
              <a:tabLst>
                <a:tab pos="457200" algn="l"/>
              </a:tabLst>
            </a:pPr>
            <a:endParaRPr lang="nl-NL" b="1" dirty="0">
              <a:ea typeface="Calibri" panose="020F0502020204030204" pitchFamily="34" charset="0"/>
            </a:endParaRPr>
          </a:p>
          <a:p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7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5250" y="2453066"/>
            <a:ext cx="4781550" cy="153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70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8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rapezium 6"/>
          <p:cNvSpPr/>
          <p:nvPr/>
        </p:nvSpPr>
        <p:spPr>
          <a:xfrm rot="10800000">
            <a:off x="860713" y="2394293"/>
            <a:ext cx="3826319" cy="1088279"/>
          </a:xfrm>
          <a:prstGeom prst="trapezoid">
            <a:avLst>
              <a:gd name="adj" fmla="val 40447"/>
            </a:avLst>
          </a:prstGeom>
          <a:solidFill>
            <a:schemeClr val="tx2">
              <a:lumMod val="60000"/>
              <a:lumOff val="4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black"/>
              </a:solidFill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1583553" y="2631439"/>
            <a:ext cx="24872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nl-NL" sz="2400" b="1" dirty="0" smtClean="0">
                <a:solidFill>
                  <a:prstClr val="black"/>
                </a:solidFill>
              </a:rPr>
              <a:t>Leads</a:t>
            </a:r>
            <a:endParaRPr lang="nl-NL" sz="3600" b="1" dirty="0" smtClean="0">
              <a:solidFill>
                <a:prstClr val="black"/>
              </a:solidFill>
            </a:endParaRPr>
          </a:p>
          <a:p>
            <a:pPr algn="ctr" defTabSz="457200"/>
            <a:r>
              <a:rPr lang="nl-NL" sz="1200" dirty="0" smtClean="0">
                <a:solidFill>
                  <a:prstClr val="black"/>
                </a:solidFill>
              </a:rPr>
              <a:t>Contactaanvraag</a:t>
            </a:r>
          </a:p>
          <a:p>
            <a:pPr algn="ctr" defTabSz="457200"/>
            <a:endParaRPr lang="nl-NL" sz="2400" b="1" dirty="0">
              <a:solidFill>
                <a:prstClr val="black"/>
              </a:solidFill>
            </a:endParaRPr>
          </a:p>
        </p:txBody>
      </p:sp>
      <p:cxnSp>
        <p:nvCxnSpPr>
          <p:cNvPr id="9" name="Rechte verbindingslijn 8"/>
          <p:cNvCxnSpPr/>
          <p:nvPr/>
        </p:nvCxnSpPr>
        <p:spPr>
          <a:xfrm flipH="1">
            <a:off x="5055098" y="2316503"/>
            <a:ext cx="363170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Rechte verbindingslijn 9"/>
          <p:cNvCxnSpPr/>
          <p:nvPr/>
        </p:nvCxnSpPr>
        <p:spPr>
          <a:xfrm flipH="1">
            <a:off x="4400850" y="3482571"/>
            <a:ext cx="428595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rapezium 10"/>
          <p:cNvSpPr/>
          <p:nvPr/>
        </p:nvSpPr>
        <p:spPr>
          <a:xfrm rot="10800000">
            <a:off x="1511558" y="3641013"/>
            <a:ext cx="2559234" cy="1088279"/>
          </a:xfrm>
          <a:prstGeom prst="trapezoid">
            <a:avLst>
              <a:gd name="adj" fmla="val 40447"/>
            </a:avLst>
          </a:prstGeom>
          <a:solidFill>
            <a:schemeClr val="tx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black"/>
              </a:solidFill>
            </a:endParaRPr>
          </a:p>
        </p:txBody>
      </p:sp>
      <p:sp>
        <p:nvSpPr>
          <p:cNvPr id="12" name="Tekstvak 11"/>
          <p:cNvSpPr txBox="1"/>
          <p:nvPr/>
        </p:nvSpPr>
        <p:spPr>
          <a:xfrm>
            <a:off x="1710406" y="3829044"/>
            <a:ext cx="21642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nl-NL" sz="2400" b="1" dirty="0" smtClean="0">
                <a:solidFill>
                  <a:srgbClr val="FFFFFF"/>
                </a:solidFill>
              </a:rPr>
              <a:t>Sales gesprek</a:t>
            </a:r>
            <a:endParaRPr lang="nl-NL" sz="3600" b="1" dirty="0">
              <a:solidFill>
                <a:srgbClr val="FFFFFF"/>
              </a:solidFill>
            </a:endParaRPr>
          </a:p>
          <a:p>
            <a:pPr algn="ctr" defTabSz="457200"/>
            <a:r>
              <a:rPr lang="nl-NL" sz="1200" dirty="0" smtClean="0">
                <a:solidFill>
                  <a:srgbClr val="FFFFFF"/>
                </a:solidFill>
              </a:rPr>
              <a:t>Offline</a:t>
            </a:r>
            <a:endParaRPr lang="nl-NL" sz="1200" dirty="0">
              <a:solidFill>
                <a:srgbClr val="FFFFFF"/>
              </a:solidFill>
            </a:endParaRPr>
          </a:p>
          <a:p>
            <a:pPr algn="ctr" defTabSz="457200"/>
            <a:endParaRPr lang="nl-NL" sz="2400" b="1" dirty="0">
              <a:solidFill>
                <a:prstClr val="black"/>
              </a:solidFill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5486958" y="2639922"/>
            <a:ext cx="2243137" cy="58477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nl-NL" sz="1600" dirty="0" smtClean="0">
                <a:solidFill>
                  <a:prstClr val="black"/>
                </a:solidFill>
              </a:rPr>
              <a:t>Display Advertising Retargeting</a:t>
            </a:r>
            <a:endParaRPr lang="nl-NL" sz="1600" dirty="0">
              <a:solidFill>
                <a:prstClr val="black"/>
              </a:solidFill>
            </a:endParaRPr>
          </a:p>
        </p:txBody>
      </p:sp>
      <p:sp>
        <p:nvSpPr>
          <p:cNvPr id="14" name="Tekstvak 13"/>
          <p:cNvSpPr txBox="1"/>
          <p:nvPr/>
        </p:nvSpPr>
        <p:spPr>
          <a:xfrm>
            <a:off x="6836477" y="2009540"/>
            <a:ext cx="2243137" cy="338554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nl-NL" sz="1600" dirty="0" smtClean="0">
                <a:solidFill>
                  <a:prstClr val="black"/>
                </a:solidFill>
              </a:rPr>
              <a:t>Mobile display</a:t>
            </a:r>
            <a:endParaRPr lang="nl-NL" sz="1600" dirty="0">
              <a:solidFill>
                <a:prstClr val="black"/>
              </a:solidFill>
            </a:endParaRPr>
          </a:p>
        </p:txBody>
      </p:sp>
      <p:sp>
        <p:nvSpPr>
          <p:cNvPr id="15" name="Tekstvak 14"/>
          <p:cNvSpPr txBox="1"/>
          <p:nvPr/>
        </p:nvSpPr>
        <p:spPr>
          <a:xfrm>
            <a:off x="5448859" y="1374089"/>
            <a:ext cx="2243137" cy="58477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nl-NL" sz="1600" dirty="0">
                <a:solidFill>
                  <a:prstClr val="black"/>
                </a:solidFill>
              </a:rPr>
              <a:t>Display Advertising </a:t>
            </a:r>
            <a:r>
              <a:rPr lang="nl-NL" sz="1600" dirty="0" err="1" smtClean="0">
                <a:solidFill>
                  <a:prstClr val="black"/>
                </a:solidFill>
              </a:rPr>
              <a:t>Prospecting</a:t>
            </a:r>
            <a:endParaRPr lang="nl-NL" sz="1600" dirty="0">
              <a:solidFill>
                <a:prstClr val="black"/>
              </a:solidFill>
            </a:endParaRPr>
          </a:p>
        </p:txBody>
      </p:sp>
      <p:sp>
        <p:nvSpPr>
          <p:cNvPr id="16" name="Trapezium 15"/>
          <p:cNvSpPr/>
          <p:nvPr/>
        </p:nvSpPr>
        <p:spPr>
          <a:xfrm rot="10800000">
            <a:off x="204368" y="1147573"/>
            <a:ext cx="5219783" cy="1088279"/>
          </a:xfrm>
          <a:prstGeom prst="trapezoid">
            <a:avLst>
              <a:gd name="adj" fmla="val 40447"/>
            </a:avLst>
          </a:prstGeom>
          <a:solidFill>
            <a:schemeClr val="tx2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black"/>
              </a:solidFill>
            </a:endParaRPr>
          </a:p>
        </p:txBody>
      </p:sp>
      <p:sp>
        <p:nvSpPr>
          <p:cNvPr id="17" name="Tekstvak 16"/>
          <p:cNvSpPr txBox="1"/>
          <p:nvPr/>
        </p:nvSpPr>
        <p:spPr>
          <a:xfrm>
            <a:off x="1558530" y="1302484"/>
            <a:ext cx="24872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nl-NL" sz="2400" b="1" dirty="0" smtClean="0">
                <a:solidFill>
                  <a:prstClr val="black"/>
                </a:solidFill>
              </a:rPr>
              <a:t>Traffic</a:t>
            </a:r>
            <a:endParaRPr lang="nl-NL" sz="3600" b="1" dirty="0" smtClean="0">
              <a:solidFill>
                <a:prstClr val="black"/>
              </a:solidFill>
            </a:endParaRPr>
          </a:p>
          <a:p>
            <a:pPr algn="ctr" defTabSz="457200"/>
            <a:r>
              <a:rPr lang="nl-NL" sz="1200" dirty="0" smtClean="0">
                <a:solidFill>
                  <a:prstClr val="black"/>
                </a:solidFill>
              </a:rPr>
              <a:t>Herhalingscontacten en traffic naar de website en het project</a:t>
            </a:r>
          </a:p>
          <a:p>
            <a:pPr algn="ctr" defTabSz="457200"/>
            <a:endParaRPr lang="nl-NL" sz="2400" b="1" dirty="0">
              <a:solidFill>
                <a:prstClr val="black"/>
              </a:solidFill>
            </a:endParaRP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/>
          <a:p>
            <a:r>
              <a:rPr lang="nl-NL" dirty="0"/>
              <a:t>Strategie</a:t>
            </a:r>
          </a:p>
        </p:txBody>
      </p:sp>
    </p:spTree>
    <p:extLst>
      <p:ext uri="{BB962C8B-B14F-4D97-AF65-F5344CB8AC3E}">
        <p14:creationId xmlns:p14="http://schemas.microsoft.com/office/powerpoint/2010/main" val="3276466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Display Advertising – </a:t>
            </a:r>
            <a:r>
              <a:rPr lang="nl-NL" dirty="0" err="1" smtClean="0"/>
              <a:t>Programmatic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783186" y="1024482"/>
            <a:ext cx="2390259" cy="33944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sz="1000" dirty="0" smtClean="0"/>
              <a:t>RTB</a:t>
            </a:r>
          </a:p>
          <a:p>
            <a:pPr marL="0" indent="0">
              <a:buNone/>
            </a:pPr>
            <a:r>
              <a:rPr lang="nl-NL" sz="1000" dirty="0" smtClean="0"/>
              <a:t>Uitingen worden verhandelt in een online veilingsysteem. (RTB = Real </a:t>
            </a:r>
            <a:r>
              <a:rPr lang="nl-NL" sz="1000" dirty="0" err="1" smtClean="0"/>
              <a:t>Tîme</a:t>
            </a:r>
            <a:r>
              <a:rPr lang="nl-NL" sz="1000" dirty="0" smtClean="0"/>
              <a:t> </a:t>
            </a:r>
            <a:r>
              <a:rPr lang="nl-NL" sz="1000" dirty="0" err="1" smtClean="0"/>
              <a:t>Bidding</a:t>
            </a:r>
            <a:r>
              <a:rPr lang="nl-NL" sz="1000" dirty="0" smtClean="0"/>
              <a:t>)</a:t>
            </a:r>
          </a:p>
          <a:p>
            <a:pPr marL="0" indent="0">
              <a:buNone/>
            </a:pPr>
            <a:endParaRPr lang="nl-NL" sz="1000" dirty="0"/>
          </a:p>
          <a:p>
            <a:pPr marL="0" indent="0">
              <a:buNone/>
            </a:pPr>
            <a:r>
              <a:rPr lang="nl-NL" sz="1000" dirty="0" smtClean="0"/>
              <a:t>Aanpak:</a:t>
            </a:r>
          </a:p>
          <a:p>
            <a:pPr>
              <a:buFontTx/>
              <a:buChar char="-"/>
            </a:pPr>
            <a:r>
              <a:rPr lang="nl-NL" sz="1000" dirty="0" smtClean="0"/>
              <a:t>Locatie</a:t>
            </a:r>
          </a:p>
          <a:p>
            <a:pPr>
              <a:buFontTx/>
              <a:buChar char="-"/>
            </a:pPr>
            <a:r>
              <a:rPr lang="nl-NL" sz="1000" dirty="0" smtClean="0"/>
              <a:t>Doelgroep</a:t>
            </a:r>
          </a:p>
          <a:p>
            <a:pPr>
              <a:buFontTx/>
              <a:buChar char="-"/>
            </a:pPr>
            <a:r>
              <a:rPr lang="nl-NL" sz="1000" dirty="0" smtClean="0"/>
              <a:t>Platform</a:t>
            </a:r>
          </a:p>
          <a:p>
            <a:pPr>
              <a:buFontTx/>
              <a:buChar char="-"/>
            </a:pPr>
            <a:r>
              <a:rPr lang="nl-NL" sz="1000" dirty="0" smtClean="0"/>
              <a:t>Tijdframe</a:t>
            </a:r>
          </a:p>
          <a:p>
            <a:pPr>
              <a:buFontTx/>
              <a:buChar char="-"/>
            </a:pPr>
            <a:r>
              <a:rPr lang="nl-NL" sz="1000" dirty="0" err="1" smtClean="0"/>
              <a:t>Enz</a:t>
            </a:r>
            <a:endParaRPr lang="nl-NL" sz="1000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29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6447" y="2255529"/>
            <a:ext cx="2975513" cy="1254682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6447" y="925223"/>
            <a:ext cx="2975513" cy="1254683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8484" y="3569462"/>
            <a:ext cx="2975513" cy="1254682"/>
          </a:xfrm>
          <a:prstGeom prst="rect">
            <a:avLst/>
          </a:prstGeom>
        </p:spPr>
      </p:pic>
      <p:sp>
        <p:nvSpPr>
          <p:cNvPr id="9" name="Rechthoek 8"/>
          <p:cNvSpPr/>
          <p:nvPr/>
        </p:nvSpPr>
        <p:spPr>
          <a:xfrm>
            <a:off x="2370216" y="1024482"/>
            <a:ext cx="1600208" cy="166643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2089480" y="3827842"/>
            <a:ext cx="2157670" cy="422315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sp>
        <p:nvSpPr>
          <p:cNvPr id="11" name="Rechthoek 10"/>
          <p:cNvSpPr/>
          <p:nvPr/>
        </p:nvSpPr>
        <p:spPr>
          <a:xfrm>
            <a:off x="3509206" y="2859814"/>
            <a:ext cx="737944" cy="45334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cxnSp>
        <p:nvCxnSpPr>
          <p:cNvPr id="13" name="Rechte verbindingslijn met pijl 12"/>
          <p:cNvCxnSpPr/>
          <p:nvPr/>
        </p:nvCxnSpPr>
        <p:spPr>
          <a:xfrm flipH="1">
            <a:off x="1211177" y="1119556"/>
            <a:ext cx="1184976" cy="202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Rechte verbindingslijn met pijl 14"/>
          <p:cNvCxnSpPr/>
          <p:nvPr/>
        </p:nvCxnSpPr>
        <p:spPr>
          <a:xfrm flipH="1" flipV="1">
            <a:off x="1211177" y="1290383"/>
            <a:ext cx="2416562" cy="15653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Rechte verbindingslijn met pijl 18"/>
          <p:cNvCxnSpPr/>
          <p:nvPr/>
        </p:nvCxnSpPr>
        <p:spPr>
          <a:xfrm flipH="1" flipV="1">
            <a:off x="1263150" y="1321610"/>
            <a:ext cx="829805" cy="24959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hthoek 19"/>
          <p:cNvSpPr/>
          <p:nvPr/>
        </p:nvSpPr>
        <p:spPr>
          <a:xfrm>
            <a:off x="5763123" y="1011731"/>
            <a:ext cx="2410322" cy="192063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grpSp>
        <p:nvGrpSpPr>
          <p:cNvPr id="21" name="Groep 20"/>
          <p:cNvGrpSpPr/>
          <p:nvPr/>
        </p:nvGrpSpPr>
        <p:grpSpPr>
          <a:xfrm>
            <a:off x="4836408" y="3033151"/>
            <a:ext cx="1283495" cy="1907174"/>
            <a:chOff x="6218317" y="1784825"/>
            <a:chExt cx="2331652" cy="4788417"/>
          </a:xfrm>
        </p:grpSpPr>
        <p:grpSp>
          <p:nvGrpSpPr>
            <p:cNvPr id="22" name="Groep 21"/>
            <p:cNvGrpSpPr/>
            <p:nvPr/>
          </p:nvGrpSpPr>
          <p:grpSpPr>
            <a:xfrm>
              <a:off x="6218317" y="1784825"/>
              <a:ext cx="2331652" cy="4788417"/>
              <a:chOff x="6218317" y="1784825"/>
              <a:chExt cx="2331652" cy="4788417"/>
            </a:xfrm>
          </p:grpSpPr>
          <p:pic>
            <p:nvPicPr>
              <p:cNvPr id="24" name="Picture 2" descr="http://bin.ilsemedia.nl/m/fnzyqnaurn0z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18317" y="1784825"/>
                <a:ext cx="2331652" cy="47884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Rechthoek 24"/>
              <p:cNvSpPr/>
              <p:nvPr/>
            </p:nvSpPr>
            <p:spPr>
              <a:xfrm>
                <a:off x="6446114" y="3825032"/>
                <a:ext cx="1882800" cy="151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nl-NL" sz="140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3" name="Tekstvak 22"/>
            <p:cNvSpPr txBox="1"/>
            <p:nvPr/>
          </p:nvSpPr>
          <p:spPr>
            <a:xfrm>
              <a:off x="6741092" y="4369965"/>
              <a:ext cx="335590" cy="6568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/>
              <a:endParaRPr lang="nl-NL" sz="110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29" name="Rechte verbindingslijn met pijl 28"/>
          <p:cNvCxnSpPr/>
          <p:nvPr/>
        </p:nvCxnSpPr>
        <p:spPr>
          <a:xfrm flipH="1" flipV="1">
            <a:off x="1290875" y="1321608"/>
            <a:ext cx="3670924" cy="28252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kstvak 11"/>
          <p:cNvSpPr txBox="1"/>
          <p:nvPr/>
        </p:nvSpPr>
        <p:spPr>
          <a:xfrm>
            <a:off x="6246257" y="3133502"/>
            <a:ext cx="2631361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nl-NL" sz="1200" dirty="0" smtClean="0">
                <a:solidFill>
                  <a:prstClr val="black"/>
                </a:solidFill>
              </a:rPr>
              <a:t>Voorbeelden van sites</a:t>
            </a:r>
          </a:p>
          <a:p>
            <a:pPr marL="171450" indent="-171450" defTabSz="457200">
              <a:buFontTx/>
              <a:buChar char="-"/>
            </a:pPr>
            <a:r>
              <a:rPr lang="nl-NL" sz="1200" dirty="0" smtClean="0">
                <a:solidFill>
                  <a:prstClr val="black"/>
                </a:solidFill>
              </a:rPr>
              <a:t>Nu.nl (gehele Sanoma netwerk)</a:t>
            </a:r>
          </a:p>
          <a:p>
            <a:pPr marL="171450" indent="-171450" defTabSz="457200">
              <a:buFontTx/>
              <a:buChar char="-"/>
            </a:pPr>
            <a:r>
              <a:rPr lang="nl-NL" sz="1200" dirty="0" smtClean="0">
                <a:solidFill>
                  <a:prstClr val="black"/>
                </a:solidFill>
              </a:rPr>
              <a:t>FD.nl (FD media groep)</a:t>
            </a:r>
          </a:p>
          <a:p>
            <a:pPr marL="171450" indent="-171450" defTabSz="457200">
              <a:buFontTx/>
              <a:buChar char="-"/>
            </a:pPr>
            <a:r>
              <a:rPr lang="nl-NL" sz="1200" dirty="0" smtClean="0">
                <a:solidFill>
                  <a:prstClr val="black"/>
                </a:solidFill>
              </a:rPr>
              <a:t>DTF.nl (Gehele Telegraaf groep)</a:t>
            </a:r>
          </a:p>
          <a:p>
            <a:pPr marL="171450" indent="-171450" defTabSz="457200">
              <a:buFontTx/>
              <a:buChar char="-"/>
            </a:pPr>
            <a:r>
              <a:rPr lang="nl-NL" sz="1200" dirty="0" smtClean="0">
                <a:solidFill>
                  <a:prstClr val="black"/>
                </a:solidFill>
              </a:rPr>
              <a:t>msn.nl (Gehele Microsoft groep)</a:t>
            </a:r>
          </a:p>
          <a:p>
            <a:pPr marL="171450" indent="-171450" defTabSz="457200">
              <a:buFontTx/>
              <a:buChar char="-"/>
            </a:pPr>
            <a:r>
              <a:rPr lang="nl-NL" sz="1200" dirty="0" smtClean="0">
                <a:solidFill>
                  <a:prstClr val="black"/>
                </a:solidFill>
              </a:rPr>
              <a:t>Enz.</a:t>
            </a:r>
          </a:p>
          <a:p>
            <a:pPr defTabSz="457200"/>
            <a:endParaRPr lang="nl-NL" sz="1200" dirty="0" smtClean="0">
              <a:solidFill>
                <a:prstClr val="black"/>
              </a:solidFill>
            </a:endParaRPr>
          </a:p>
          <a:p>
            <a:pPr defTabSz="457200"/>
            <a:r>
              <a:rPr lang="nl-NL" sz="1200" dirty="0" smtClean="0">
                <a:solidFill>
                  <a:prstClr val="black"/>
                </a:solidFill>
              </a:rPr>
              <a:t>Totaal dekkend netwerk van </a:t>
            </a:r>
            <a:r>
              <a:rPr lang="nl-NL" sz="1200" dirty="0">
                <a:solidFill>
                  <a:prstClr val="black"/>
                </a:solidFill>
              </a:rPr>
              <a:t>d</a:t>
            </a:r>
            <a:r>
              <a:rPr lang="nl-NL" sz="1200" dirty="0" smtClean="0">
                <a:solidFill>
                  <a:prstClr val="black"/>
                </a:solidFill>
              </a:rPr>
              <a:t>e portals </a:t>
            </a:r>
          </a:p>
          <a:p>
            <a:pPr defTabSz="457200"/>
            <a:r>
              <a:rPr lang="nl-NL" sz="1200" dirty="0" smtClean="0">
                <a:solidFill>
                  <a:prstClr val="black"/>
                </a:solidFill>
              </a:rPr>
              <a:t>In Nederland.</a:t>
            </a:r>
          </a:p>
          <a:p>
            <a:pPr marL="171450" indent="-171450" defTabSz="457200">
              <a:buFontTx/>
              <a:buChar char="-"/>
            </a:pPr>
            <a:endParaRPr lang="nl-NL" sz="1200" dirty="0">
              <a:solidFill>
                <a:prstClr val="black"/>
              </a:solidFill>
            </a:endParaRPr>
          </a:p>
        </p:txBody>
      </p:sp>
      <p:pic>
        <p:nvPicPr>
          <p:cNvPr id="1026" name="Picture 2" descr="https://161media.com/wp-content/uploads/logo_platform161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04" y="969586"/>
            <a:ext cx="1168673" cy="1303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kstvak 26"/>
          <p:cNvSpPr txBox="1"/>
          <p:nvPr/>
        </p:nvSpPr>
        <p:spPr>
          <a:xfrm>
            <a:off x="187926" y="2177411"/>
            <a:ext cx="108395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nl-NL" sz="4400" dirty="0" smtClean="0">
                <a:solidFill>
                  <a:prstClr val="black"/>
                </a:solidFill>
              </a:rPr>
              <a:t>DSP</a:t>
            </a:r>
            <a:endParaRPr lang="nl-NL" sz="4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009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meike\Desktop\Presentatie BlueLine2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2"/>
          <p:cNvSpPr txBox="1"/>
          <p:nvPr/>
        </p:nvSpPr>
        <p:spPr>
          <a:xfrm>
            <a:off x="0" y="411510"/>
            <a:ext cx="9144000" cy="990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Programma | 3 december 2015</a:t>
            </a:r>
          </a:p>
          <a:p>
            <a:pPr algn="ctr">
              <a:lnSpc>
                <a:spcPts val="3500"/>
              </a:lnSpc>
            </a:pPr>
            <a:r>
              <a:rPr lang="nl-NL" sz="2400" dirty="0" smtClean="0">
                <a:solidFill>
                  <a:schemeClr val="bg1"/>
                </a:solidFill>
                <a:latin typeface="Helveticaa"/>
              </a:rPr>
              <a:t>Kick-off </a:t>
            </a:r>
            <a:r>
              <a:rPr lang="nl-NL" sz="2400" dirty="0" err="1" smtClean="0">
                <a:solidFill>
                  <a:schemeClr val="bg1"/>
                </a:solidFill>
                <a:latin typeface="Helveticaa"/>
              </a:rPr>
              <a:t>BlueLine</a:t>
            </a:r>
            <a:r>
              <a:rPr lang="nl-NL" sz="2400" dirty="0" smtClean="0">
                <a:solidFill>
                  <a:schemeClr val="bg1"/>
                </a:solidFill>
                <a:latin typeface="Helveticaa"/>
              </a:rPr>
              <a:t> &amp; MSP24</a:t>
            </a:r>
          </a:p>
        </p:txBody>
      </p:sp>
      <p:sp>
        <p:nvSpPr>
          <p:cNvPr id="2" name="Rechthoek 1"/>
          <p:cNvSpPr/>
          <p:nvPr/>
        </p:nvSpPr>
        <p:spPr>
          <a:xfrm>
            <a:off x="467544" y="1779662"/>
            <a:ext cx="8280920" cy="2208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14.30 </a:t>
            </a:r>
            <a:r>
              <a:rPr lang="nl-NL" b="1" dirty="0">
                <a:solidFill>
                  <a:schemeClr val="bg1"/>
                </a:solidFill>
                <a:latin typeface="Helveticaa"/>
              </a:rPr>
              <a:t>– </a:t>
            </a: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14.50 uur |</a:t>
            </a:r>
            <a:r>
              <a:rPr lang="nl-NL" b="1" dirty="0">
                <a:solidFill>
                  <a:schemeClr val="bg1"/>
                </a:solidFill>
                <a:latin typeface="Helveticaa"/>
              </a:rPr>
              <a:t> </a:t>
            </a: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Introductie </a:t>
            </a:r>
            <a:r>
              <a:rPr lang="nl-NL" b="1" dirty="0" err="1" smtClean="0">
                <a:solidFill>
                  <a:schemeClr val="bg1"/>
                </a:solidFill>
                <a:latin typeface="Helveticaa"/>
              </a:rPr>
              <a:t>MxM</a:t>
            </a: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 </a:t>
            </a:r>
            <a:r>
              <a:rPr lang="nl-NL" b="1" dirty="0" err="1" smtClean="0">
                <a:solidFill>
                  <a:schemeClr val="bg1"/>
                </a:solidFill>
                <a:latin typeface="Helveticaa"/>
              </a:rPr>
              <a:t>BlueLine</a:t>
            </a: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 en proposities MLM &amp; MFM</a:t>
            </a:r>
          </a:p>
          <a:p>
            <a:pPr>
              <a:lnSpc>
                <a:spcPts val="1500"/>
              </a:lnSpc>
            </a:pPr>
            <a:endParaRPr lang="nl-NL" b="1" dirty="0" smtClean="0">
              <a:solidFill>
                <a:schemeClr val="bg1"/>
              </a:solidFill>
              <a:latin typeface="Helveticaa"/>
            </a:endParaRPr>
          </a:p>
          <a:p>
            <a:pPr>
              <a:lnSpc>
                <a:spcPts val="1500"/>
              </a:lnSpc>
            </a:pP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14.50 – 15.15 uur | Het MSP24-programma: van </a:t>
            </a:r>
            <a:r>
              <a:rPr lang="nl-NL" b="1" dirty="0" err="1" smtClean="0">
                <a:solidFill>
                  <a:schemeClr val="bg1"/>
                </a:solidFill>
                <a:latin typeface="Helveticaa"/>
              </a:rPr>
              <a:t>reseller</a:t>
            </a: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 naar MSP</a:t>
            </a:r>
          </a:p>
          <a:p>
            <a:pPr>
              <a:lnSpc>
                <a:spcPts val="1500"/>
              </a:lnSpc>
            </a:pPr>
            <a:endParaRPr lang="nl-NL" b="1" dirty="0">
              <a:solidFill>
                <a:schemeClr val="bg1"/>
              </a:solidFill>
              <a:latin typeface="Helveticaa"/>
            </a:endParaRPr>
          </a:p>
          <a:p>
            <a:pPr>
              <a:lnSpc>
                <a:spcPts val="1500"/>
              </a:lnSpc>
            </a:pP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15.15 – 15.45 uur | </a:t>
            </a:r>
            <a:r>
              <a:rPr lang="nl-NL" b="1" dirty="0">
                <a:solidFill>
                  <a:schemeClr val="bg1"/>
                </a:solidFill>
                <a:latin typeface="Helveticaa"/>
              </a:rPr>
              <a:t>Online Marketing Programma door </a:t>
            </a:r>
            <a:r>
              <a:rPr lang="nl-NL" b="1" dirty="0" err="1">
                <a:solidFill>
                  <a:schemeClr val="bg1"/>
                </a:solidFill>
                <a:latin typeface="Helveticaa"/>
              </a:rPr>
              <a:t>ClickDistrict</a:t>
            </a:r>
            <a:endParaRPr lang="nl-NL" b="1" dirty="0">
              <a:solidFill>
                <a:schemeClr val="bg1"/>
              </a:solidFill>
              <a:latin typeface="Helveticaa"/>
            </a:endParaRPr>
          </a:p>
          <a:p>
            <a:pPr>
              <a:lnSpc>
                <a:spcPts val="1500"/>
              </a:lnSpc>
            </a:pPr>
            <a:r>
              <a:rPr lang="nl-NL" b="1" dirty="0">
                <a:solidFill>
                  <a:schemeClr val="bg1"/>
                </a:solidFill>
                <a:latin typeface="Helveticaa"/>
              </a:rPr>
              <a:t/>
            </a:r>
            <a:br>
              <a:rPr lang="nl-NL" b="1" dirty="0">
                <a:solidFill>
                  <a:schemeClr val="bg1"/>
                </a:solidFill>
                <a:latin typeface="Helveticaa"/>
              </a:rPr>
            </a:b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15.45 </a:t>
            </a:r>
            <a:r>
              <a:rPr lang="nl-NL" b="1" dirty="0">
                <a:solidFill>
                  <a:schemeClr val="bg1"/>
                </a:solidFill>
                <a:latin typeface="Helveticaa"/>
              </a:rPr>
              <a:t>– </a:t>
            </a: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16.15 uur |</a:t>
            </a:r>
            <a:r>
              <a:rPr lang="nl-NL" b="1" dirty="0">
                <a:solidFill>
                  <a:schemeClr val="bg1"/>
                </a:solidFill>
                <a:latin typeface="Helveticaa"/>
              </a:rPr>
              <a:t> MSP24-app door </a:t>
            </a:r>
            <a:r>
              <a:rPr lang="nl-NL" b="1" dirty="0" err="1">
                <a:solidFill>
                  <a:schemeClr val="bg1"/>
                </a:solidFill>
                <a:latin typeface="Helveticaa"/>
              </a:rPr>
              <a:t>BackBone</a:t>
            </a:r>
            <a:r>
              <a:rPr lang="nl-NL" b="1" dirty="0">
                <a:solidFill>
                  <a:schemeClr val="bg1"/>
                </a:solidFill>
                <a:latin typeface="Helveticaa"/>
              </a:rPr>
              <a:t> Company</a:t>
            </a:r>
          </a:p>
          <a:p>
            <a:pPr>
              <a:lnSpc>
                <a:spcPts val="1500"/>
              </a:lnSpc>
            </a:pPr>
            <a:r>
              <a:rPr lang="nl-NL" b="1" dirty="0">
                <a:solidFill>
                  <a:schemeClr val="bg1"/>
                </a:solidFill>
                <a:latin typeface="Helveticaa"/>
              </a:rPr>
              <a:t/>
            </a:r>
            <a:br>
              <a:rPr lang="nl-NL" b="1" dirty="0">
                <a:solidFill>
                  <a:schemeClr val="bg1"/>
                </a:solidFill>
                <a:latin typeface="Helveticaa"/>
              </a:rPr>
            </a:b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16.15 </a:t>
            </a:r>
            <a:r>
              <a:rPr lang="nl-NL" b="1" dirty="0">
                <a:solidFill>
                  <a:schemeClr val="bg1"/>
                </a:solidFill>
                <a:latin typeface="Helveticaa"/>
              </a:rPr>
              <a:t>– 17.00 </a:t>
            </a: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uur |</a:t>
            </a:r>
            <a:r>
              <a:rPr lang="nl-NL" b="1" dirty="0">
                <a:solidFill>
                  <a:schemeClr val="bg1"/>
                </a:solidFill>
                <a:latin typeface="Helveticaa"/>
              </a:rPr>
              <a:t> Exclusieve rondleiding ‘achter de schermen</a:t>
            </a: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’</a:t>
            </a:r>
          </a:p>
          <a:p>
            <a:pPr>
              <a:lnSpc>
                <a:spcPts val="1500"/>
              </a:lnSpc>
            </a:pPr>
            <a:r>
              <a:rPr lang="nl-NL" b="1" dirty="0">
                <a:solidFill>
                  <a:schemeClr val="bg1"/>
                </a:solidFill>
                <a:latin typeface="Helveticaa"/>
              </a:rPr>
              <a:t/>
            </a:r>
            <a:br>
              <a:rPr lang="nl-NL" b="1" dirty="0">
                <a:solidFill>
                  <a:schemeClr val="bg1"/>
                </a:solidFill>
                <a:latin typeface="Helveticaa"/>
              </a:rPr>
            </a:br>
            <a:r>
              <a:rPr lang="nl-NL" b="1" dirty="0">
                <a:solidFill>
                  <a:schemeClr val="bg1"/>
                </a:solidFill>
                <a:latin typeface="Helveticaa"/>
              </a:rPr>
              <a:t>17.00 – </a:t>
            </a:r>
            <a:r>
              <a:rPr lang="nl-NL" b="1" dirty="0" smtClean="0">
                <a:solidFill>
                  <a:schemeClr val="bg1"/>
                </a:solidFill>
                <a:latin typeface="Helveticaa"/>
              </a:rPr>
              <a:t>18.00 uur | Netwerkborrel </a:t>
            </a:r>
            <a:r>
              <a:rPr lang="nl-NL" b="1" dirty="0">
                <a:solidFill>
                  <a:schemeClr val="bg1"/>
                </a:solidFill>
                <a:latin typeface="Helveticaa"/>
              </a:rPr>
              <a:t>in Grandcafé Horizon</a:t>
            </a:r>
          </a:p>
        </p:txBody>
      </p:sp>
    </p:spTree>
    <p:extLst>
      <p:ext uri="{BB962C8B-B14F-4D97-AF65-F5344CB8AC3E}">
        <p14:creationId xmlns:p14="http://schemas.microsoft.com/office/powerpoint/2010/main" val="205423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Display Advertising - </a:t>
            </a:r>
            <a:r>
              <a:rPr lang="nl-NL" dirty="0" err="1" smtClean="0"/>
              <a:t>prospecting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27312" y="1200151"/>
            <a:ext cx="3496614" cy="3394472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nl-NL" dirty="0"/>
              <a:t>Doelgroep selectie</a:t>
            </a:r>
          </a:p>
          <a:p>
            <a:r>
              <a:rPr lang="nl-NL" dirty="0" smtClean="0"/>
              <a:t>Regio</a:t>
            </a:r>
          </a:p>
          <a:p>
            <a:r>
              <a:rPr lang="nl-NL" dirty="0"/>
              <a:t>Gebied concurrent</a:t>
            </a:r>
          </a:p>
          <a:p>
            <a:r>
              <a:rPr lang="nl-NL" dirty="0"/>
              <a:t>IP </a:t>
            </a:r>
            <a:r>
              <a:rPr lang="nl-NL" dirty="0" smtClean="0"/>
              <a:t>string</a:t>
            </a:r>
          </a:p>
          <a:p>
            <a:r>
              <a:rPr lang="nl-NL" dirty="0" smtClean="0"/>
              <a:t>Tijdframe</a:t>
            </a:r>
          </a:p>
          <a:p>
            <a:r>
              <a:rPr lang="nl-NL" dirty="0" smtClean="0"/>
              <a:t>Prijs</a:t>
            </a:r>
          </a:p>
          <a:p>
            <a:r>
              <a:rPr lang="nl-NL" dirty="0" smtClean="0"/>
              <a:t>Whitelist</a:t>
            </a:r>
          </a:p>
          <a:p>
            <a:r>
              <a:rPr lang="nl-NL" dirty="0" smtClean="0"/>
              <a:t>Formaat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30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50" name="Picture 2" descr="https://161media.com/wp-content/uploads/logo_platform161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580" y="1063230"/>
            <a:ext cx="1209585" cy="1349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Tijdelijke aanduiding voor inhoud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83" y="3602874"/>
            <a:ext cx="3182155" cy="1341816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7987" y="3152537"/>
            <a:ext cx="3182155" cy="1341817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6047" y="1399355"/>
            <a:ext cx="3162434" cy="1333501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72740" y="2323265"/>
            <a:ext cx="3247060" cy="1369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147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isplay Advertising – </a:t>
            </a:r>
            <a:r>
              <a:rPr lang="nl-NL" dirty="0" err="1"/>
              <a:t>Retargeting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" name="Groep 5"/>
          <p:cNvGrpSpPr/>
          <p:nvPr/>
        </p:nvGrpSpPr>
        <p:grpSpPr>
          <a:xfrm>
            <a:off x="388531" y="1371780"/>
            <a:ext cx="8709250" cy="2598110"/>
            <a:chOff x="4977190" y="2429645"/>
            <a:chExt cx="6581279" cy="3111163"/>
          </a:xfrm>
        </p:grpSpPr>
        <p:sp>
          <p:nvSpPr>
            <p:cNvPr id="8" name="Rechthoek 7"/>
            <p:cNvSpPr/>
            <p:nvPr/>
          </p:nvSpPr>
          <p:spPr>
            <a:xfrm>
              <a:off x="6926347" y="2429645"/>
              <a:ext cx="234459" cy="9633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l-NL">
                <a:solidFill>
                  <a:prstClr val="white"/>
                </a:solidFill>
              </a:endParaRPr>
            </a:p>
          </p:txBody>
        </p:sp>
        <p:sp>
          <p:nvSpPr>
            <p:cNvPr id="9" name="Rechthoek 8"/>
            <p:cNvSpPr/>
            <p:nvPr/>
          </p:nvSpPr>
          <p:spPr>
            <a:xfrm>
              <a:off x="4977190" y="3483248"/>
              <a:ext cx="2164055" cy="6081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nl-NL" sz="900" dirty="0" smtClean="0">
                  <a:solidFill>
                    <a:prstClr val="black"/>
                  </a:solidFill>
                  <a:latin typeface="Helvetica" pitchFamily="34" charset="0"/>
                </a:rPr>
                <a:t>Dankzij de meetpixel kunnen we de specifieke gebruikers een herhalingsboodschap tonen via </a:t>
              </a:r>
              <a:r>
                <a:rPr lang="nl-NL" sz="900" dirty="0" err="1" smtClean="0">
                  <a:solidFill>
                    <a:prstClr val="black"/>
                  </a:solidFill>
                  <a:latin typeface="Helvetica" pitchFamily="34" charset="0"/>
                </a:rPr>
                <a:t>Programmatic</a:t>
              </a:r>
              <a:r>
                <a:rPr lang="nl-NL" sz="900" dirty="0" smtClean="0">
                  <a:solidFill>
                    <a:prstClr val="black"/>
                  </a:solidFill>
                  <a:latin typeface="Helvetica" pitchFamily="34" charset="0"/>
                </a:rPr>
                <a:t> (Retargeting</a:t>
              </a:r>
              <a:r>
                <a:rPr lang="nl-NL" sz="900" dirty="0">
                  <a:solidFill>
                    <a:prstClr val="black"/>
                  </a:solidFill>
                  <a:latin typeface="Helvetica" pitchFamily="34" charset="0"/>
                </a:rPr>
                <a:t>)</a:t>
              </a:r>
            </a:p>
          </p:txBody>
        </p:sp>
        <p:sp>
          <p:nvSpPr>
            <p:cNvPr id="20" name="Tekstvak 19"/>
            <p:cNvSpPr txBox="1"/>
            <p:nvPr/>
          </p:nvSpPr>
          <p:spPr>
            <a:xfrm>
              <a:off x="6453766" y="4758812"/>
              <a:ext cx="139595" cy="36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/>
              <a:endParaRPr lang="nl-NL" sz="1400" dirty="0">
                <a:solidFill>
                  <a:prstClr val="black"/>
                </a:solidFill>
              </a:endParaRPr>
            </a:p>
          </p:txBody>
        </p:sp>
        <p:sp>
          <p:nvSpPr>
            <p:cNvPr id="11" name="Rechthoek 10"/>
            <p:cNvSpPr/>
            <p:nvPr/>
          </p:nvSpPr>
          <p:spPr>
            <a:xfrm>
              <a:off x="7258056" y="3517870"/>
              <a:ext cx="2266865" cy="7739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nl-NL" sz="900" dirty="0" smtClean="0">
                  <a:solidFill>
                    <a:prstClr val="black"/>
                  </a:solidFill>
                  <a:latin typeface="Helvetica" pitchFamily="34" charset="0"/>
                </a:rPr>
                <a:t>Op de verdiepende pagina’s op de website plaatsen we aanvullend een unieke meetpixel. Hiermee kunnen specifieke segmenten van bezoekers opvangen in een </a:t>
              </a:r>
              <a:r>
                <a:rPr lang="nl-NL" sz="900" dirty="0" err="1" smtClean="0">
                  <a:solidFill>
                    <a:prstClr val="black"/>
                  </a:solidFill>
                  <a:latin typeface="Helvetica" pitchFamily="34" charset="0"/>
                </a:rPr>
                <a:t>custom</a:t>
              </a:r>
              <a:r>
                <a:rPr lang="nl-NL" sz="900" dirty="0" smtClean="0">
                  <a:solidFill>
                    <a:prstClr val="black"/>
                  </a:solidFill>
                  <a:latin typeface="Helvetica" pitchFamily="34" charset="0"/>
                </a:rPr>
                <a:t> </a:t>
              </a:r>
              <a:r>
                <a:rPr lang="nl-NL" sz="900" dirty="0" err="1" smtClean="0">
                  <a:solidFill>
                    <a:prstClr val="black"/>
                  </a:solidFill>
                  <a:latin typeface="Helvetica" pitchFamily="34" charset="0"/>
                </a:rPr>
                <a:t>audience</a:t>
              </a:r>
              <a:r>
                <a:rPr lang="nl-NL" sz="900" dirty="0" smtClean="0">
                  <a:solidFill>
                    <a:prstClr val="black"/>
                  </a:solidFill>
                  <a:latin typeface="Helvetica" pitchFamily="34" charset="0"/>
                </a:rPr>
                <a:t>.</a:t>
              </a:r>
              <a:endParaRPr lang="nl-NL" sz="900" dirty="0">
                <a:solidFill>
                  <a:prstClr val="black"/>
                </a:solidFill>
                <a:latin typeface="Helvetica" pitchFamily="34" charset="0"/>
              </a:endParaRPr>
            </a:p>
          </p:txBody>
        </p:sp>
        <p:sp>
          <p:nvSpPr>
            <p:cNvPr id="12" name="PIJL-RECHTS 11"/>
            <p:cNvSpPr/>
            <p:nvPr/>
          </p:nvSpPr>
          <p:spPr>
            <a:xfrm>
              <a:off x="6982363" y="4977927"/>
              <a:ext cx="485393" cy="189323"/>
            </a:xfrm>
            <a:prstGeom prst="rightArrow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l-NL" sz="1600">
                <a:solidFill>
                  <a:prstClr val="white"/>
                </a:solidFill>
              </a:endParaRPr>
            </a:p>
          </p:txBody>
        </p:sp>
        <p:pic>
          <p:nvPicPr>
            <p:cNvPr id="13" name="Afbeelding 1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744228" y="4341728"/>
              <a:ext cx="1741170" cy="119908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sp>
          <p:nvSpPr>
            <p:cNvPr id="15" name="Tekstvak 14"/>
            <p:cNvSpPr txBox="1"/>
            <p:nvPr/>
          </p:nvSpPr>
          <p:spPr>
            <a:xfrm>
              <a:off x="9984568" y="4528980"/>
              <a:ext cx="1269397" cy="442265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rtlCol="0">
              <a:spAutoFit/>
            </a:bodyPr>
            <a:lstStyle/>
            <a:p>
              <a:pPr defTabSz="457200"/>
              <a:endParaRPr lang="nl-NL">
                <a:solidFill>
                  <a:prstClr val="black"/>
                </a:solidFill>
              </a:endParaRPr>
            </a:p>
          </p:txBody>
        </p:sp>
        <p:sp>
          <p:nvSpPr>
            <p:cNvPr id="16" name="Tekstvak 15"/>
            <p:cNvSpPr txBox="1"/>
            <p:nvPr/>
          </p:nvSpPr>
          <p:spPr>
            <a:xfrm>
              <a:off x="10570884" y="4479343"/>
              <a:ext cx="294184" cy="36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nl-NL" sz="1400" dirty="0">
                  <a:solidFill>
                    <a:prstClr val="black"/>
                  </a:solidFill>
                </a:rPr>
                <a:t>B</a:t>
              </a:r>
              <a:r>
                <a:rPr lang="nl-NL" sz="1400" dirty="0" smtClean="0">
                  <a:solidFill>
                    <a:prstClr val="black"/>
                  </a:solidFill>
                </a:rPr>
                <a:t>.</a:t>
              </a:r>
              <a:endParaRPr lang="nl-NL" sz="1400" dirty="0">
                <a:solidFill>
                  <a:prstClr val="black"/>
                </a:solidFill>
              </a:endParaRPr>
            </a:p>
          </p:txBody>
        </p:sp>
        <p:sp>
          <p:nvSpPr>
            <p:cNvPr id="17" name="Rechthoek 16"/>
            <p:cNvSpPr/>
            <p:nvPr/>
          </p:nvSpPr>
          <p:spPr>
            <a:xfrm>
              <a:off x="9291604" y="4062571"/>
              <a:ext cx="2266865" cy="2764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nl-NL" sz="900" dirty="0" smtClean="0">
                  <a:solidFill>
                    <a:prstClr val="black"/>
                  </a:solidFill>
                  <a:latin typeface="Helvetica" pitchFamily="34" charset="0"/>
                </a:rPr>
                <a:t>Etc.</a:t>
              </a:r>
              <a:endParaRPr lang="nl-NL" sz="900" dirty="0">
                <a:solidFill>
                  <a:prstClr val="black"/>
                </a:solidFill>
                <a:latin typeface="Helvetica" pitchFamily="34" charset="0"/>
              </a:endParaRPr>
            </a:p>
          </p:txBody>
        </p:sp>
      </p:grpSp>
      <p:sp>
        <p:nvSpPr>
          <p:cNvPr id="21" name="Tekstvak 20"/>
          <p:cNvSpPr txBox="1"/>
          <p:nvPr/>
        </p:nvSpPr>
        <p:spPr>
          <a:xfrm>
            <a:off x="5357514" y="1289520"/>
            <a:ext cx="3150286" cy="10156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nl-NL" sz="1200" dirty="0" smtClean="0">
                <a:solidFill>
                  <a:prstClr val="black"/>
                </a:solidFill>
              </a:rPr>
              <a:t>Slimme boodschap overdracht middels</a:t>
            </a:r>
          </a:p>
          <a:p>
            <a:pPr defTabSz="457200"/>
            <a:r>
              <a:rPr lang="nl-NL" sz="1200" dirty="0" err="1" smtClean="0">
                <a:solidFill>
                  <a:prstClr val="black"/>
                </a:solidFill>
              </a:rPr>
              <a:t>sequential</a:t>
            </a:r>
            <a:r>
              <a:rPr lang="nl-NL" sz="1200" dirty="0" smtClean="0">
                <a:solidFill>
                  <a:prstClr val="black"/>
                </a:solidFill>
              </a:rPr>
              <a:t> story: </a:t>
            </a:r>
            <a:br>
              <a:rPr lang="nl-NL" sz="1200" dirty="0" smtClean="0">
                <a:solidFill>
                  <a:prstClr val="black"/>
                </a:solidFill>
              </a:rPr>
            </a:br>
            <a:endParaRPr lang="nl-NL" sz="1200" dirty="0" smtClean="0">
              <a:solidFill>
                <a:prstClr val="black"/>
              </a:solidFill>
            </a:endParaRPr>
          </a:p>
          <a:p>
            <a:pPr marL="342900" indent="-342900" defTabSz="457200">
              <a:buFontTx/>
              <a:buAutoNum type="alphaUcPeriod"/>
            </a:pPr>
            <a:r>
              <a:rPr lang="nl-NL" sz="1200" dirty="0" smtClean="0">
                <a:solidFill>
                  <a:prstClr val="black"/>
                </a:solidFill>
              </a:rPr>
              <a:t>Algemene informatie</a:t>
            </a:r>
          </a:p>
          <a:p>
            <a:pPr marL="342900" indent="-342900" defTabSz="457200">
              <a:buFontTx/>
              <a:buAutoNum type="alphaUcPeriod"/>
            </a:pPr>
            <a:r>
              <a:rPr lang="nl-NL" sz="1200" dirty="0" smtClean="0">
                <a:solidFill>
                  <a:prstClr val="black"/>
                </a:solidFill>
              </a:rPr>
              <a:t>Specifieke aanbieding </a:t>
            </a:r>
            <a:r>
              <a:rPr lang="nl-NL" sz="1200" dirty="0" err="1" smtClean="0">
                <a:solidFill>
                  <a:prstClr val="black"/>
                </a:solidFill>
              </a:rPr>
              <a:t>obv</a:t>
            </a:r>
            <a:r>
              <a:rPr lang="nl-NL" sz="1200" dirty="0" smtClean="0">
                <a:solidFill>
                  <a:prstClr val="black"/>
                </a:solidFill>
              </a:rPr>
              <a:t> bezoek website</a:t>
            </a:r>
            <a:endParaRPr lang="nl-NL" sz="1200" dirty="0">
              <a:solidFill>
                <a:prstClr val="black"/>
              </a:solidFill>
            </a:endParaRPr>
          </a:p>
        </p:txBody>
      </p:sp>
      <p:pic>
        <p:nvPicPr>
          <p:cNvPr id="23" name="Picture 2" descr="http://png-3.findicons.com/files/icons/1773/free/256/pers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79940" y="4187768"/>
            <a:ext cx="464433" cy="335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PIJL-RECHTS 23"/>
          <p:cNvSpPr/>
          <p:nvPr/>
        </p:nvSpPr>
        <p:spPr>
          <a:xfrm>
            <a:off x="6001543" y="3483793"/>
            <a:ext cx="485393" cy="141992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 sz="1600">
              <a:solidFill>
                <a:prstClr val="white"/>
              </a:solidFill>
            </a:endParaRPr>
          </a:p>
        </p:txBody>
      </p:sp>
      <p:pic>
        <p:nvPicPr>
          <p:cNvPr id="25" name="Afbeelding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7047" y="2980942"/>
            <a:ext cx="2275374" cy="959455"/>
          </a:xfrm>
          <a:prstGeom prst="rect">
            <a:avLst/>
          </a:prstGeom>
        </p:spPr>
      </p:pic>
      <p:pic>
        <p:nvPicPr>
          <p:cNvPr id="26" name="Picture 2" descr="http://png-3.findicons.com/files/icons/1773/free/256/pers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295905" y="4203682"/>
            <a:ext cx="464433" cy="335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http://png-3.findicons.com/files/icons/1773/free/256/pers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05310" y="4124328"/>
            <a:ext cx="464433" cy="335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Afbeelding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007" y="2922578"/>
            <a:ext cx="2381531" cy="1004219"/>
          </a:xfrm>
          <a:prstGeom prst="rect">
            <a:avLst/>
          </a:prstGeom>
        </p:spPr>
      </p:pic>
      <p:sp>
        <p:nvSpPr>
          <p:cNvPr id="34" name="Rechthoek 33"/>
          <p:cNvSpPr/>
          <p:nvPr/>
        </p:nvSpPr>
        <p:spPr>
          <a:xfrm>
            <a:off x="1107319" y="2980941"/>
            <a:ext cx="1379598" cy="142240"/>
          </a:xfrm>
          <a:prstGeom prst="rect">
            <a:avLst/>
          </a:prstGeom>
          <a:solidFill>
            <a:schemeClr val="accent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sp>
        <p:nvSpPr>
          <p:cNvPr id="35" name="Tekstvak 34"/>
          <p:cNvSpPr txBox="1"/>
          <p:nvPr/>
        </p:nvSpPr>
        <p:spPr>
          <a:xfrm>
            <a:off x="1769871" y="2935614"/>
            <a:ext cx="3347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nl-NL" sz="1400" dirty="0">
                <a:solidFill>
                  <a:prstClr val="black"/>
                </a:solidFill>
              </a:rPr>
              <a:t>A</a:t>
            </a:r>
            <a:r>
              <a:rPr lang="nl-NL" sz="1400" dirty="0" smtClean="0">
                <a:solidFill>
                  <a:prstClr val="black"/>
                </a:solidFill>
              </a:rPr>
              <a:t>.</a:t>
            </a:r>
            <a:endParaRPr lang="nl-NL" sz="1400" dirty="0">
              <a:solidFill>
                <a:prstClr val="black"/>
              </a:solidFill>
            </a:endParaRPr>
          </a:p>
        </p:txBody>
      </p:sp>
      <p:pic>
        <p:nvPicPr>
          <p:cNvPr id="42" name="Afbeelding 4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9249" y="4206870"/>
            <a:ext cx="396022" cy="297017"/>
          </a:xfrm>
          <a:prstGeom prst="rect">
            <a:avLst/>
          </a:prstGeom>
        </p:spPr>
      </p:pic>
      <p:pic>
        <p:nvPicPr>
          <p:cNvPr id="29" name="Picture 6" descr="https://encrypted-tbn2.gstatic.com/images?q=tbn:ANd9GcQYN3d9aJjjCXCwLaJHfh2nZvSHQdlt0_s8_iRCkCAMxIjg5DYk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5203" y="4150987"/>
            <a:ext cx="389304" cy="291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Afbeelding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97202" y="4285074"/>
            <a:ext cx="396022" cy="297017"/>
          </a:xfrm>
          <a:prstGeom prst="rect">
            <a:avLst/>
          </a:prstGeom>
        </p:spPr>
      </p:pic>
      <p:pic>
        <p:nvPicPr>
          <p:cNvPr id="44" name="Picture 6" descr="https://encrypted-tbn2.gstatic.com/images?q=tbn:ANd9GcQYN3d9aJjjCXCwLaJHfh2nZvSHQdlt0_s8_iRCkCAMxIjg5DYk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156" y="4229191"/>
            <a:ext cx="389304" cy="291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Afbeelding 4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89324" y="4267026"/>
            <a:ext cx="396022" cy="297017"/>
          </a:xfrm>
          <a:prstGeom prst="rect">
            <a:avLst/>
          </a:prstGeom>
        </p:spPr>
      </p:pic>
      <p:pic>
        <p:nvPicPr>
          <p:cNvPr id="46" name="Picture 6" descr="https://encrypted-tbn2.gstatic.com/images?q=tbn:ANd9GcQYN3d9aJjjCXCwLaJHfh2nZvSHQdlt0_s8_iRCkCAMxIjg5DYk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4164" y="4180307"/>
            <a:ext cx="471532" cy="353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242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3721" y="176160"/>
            <a:ext cx="8376558" cy="916886"/>
          </a:xfrm>
        </p:spPr>
        <p:txBody>
          <a:bodyPr>
            <a:normAutofit fontScale="90000"/>
          </a:bodyPr>
          <a:lstStyle/>
          <a:p>
            <a:r>
              <a:rPr lang="nl-NL" dirty="0"/>
              <a:t>Mobile Marketing - </a:t>
            </a:r>
            <a:r>
              <a:rPr lang="nl-NL" dirty="0" err="1"/>
              <a:t>Custom</a:t>
            </a:r>
            <a:r>
              <a:rPr lang="nl-NL" dirty="0"/>
              <a:t> </a:t>
            </a:r>
            <a:r>
              <a:rPr lang="nl-NL" dirty="0" err="1"/>
              <a:t>Audiences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6629400" y="4714877"/>
            <a:ext cx="2171700" cy="292893"/>
          </a:xfrm>
        </p:spPr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32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kstvak 5"/>
          <p:cNvSpPr txBox="1"/>
          <p:nvPr/>
        </p:nvSpPr>
        <p:spPr>
          <a:xfrm>
            <a:off x="540577" y="986448"/>
            <a:ext cx="3707853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457200"/>
            <a:r>
              <a:rPr lang="nl-NL" sz="1100" b="1" dirty="0" smtClean="0">
                <a:solidFill>
                  <a:prstClr val="black"/>
                </a:solidFill>
              </a:rPr>
              <a:t>Targeting Mobile Marketing:</a:t>
            </a:r>
          </a:p>
          <a:p>
            <a:pPr algn="just" defTabSz="457200"/>
            <a:endParaRPr lang="nl-NL" sz="1100" dirty="0">
              <a:solidFill>
                <a:prstClr val="black"/>
              </a:solidFill>
            </a:endParaRPr>
          </a:p>
          <a:p>
            <a:pPr algn="just" defTabSz="457200"/>
            <a:r>
              <a:rPr lang="nl-NL" sz="1100" dirty="0" smtClean="0">
                <a:solidFill>
                  <a:prstClr val="black"/>
                </a:solidFill>
              </a:rPr>
              <a:t>De inzet op mobiel bestaat uit een impactvolle creatie (vb. </a:t>
            </a:r>
            <a:r>
              <a:rPr lang="nl-NL" sz="1100" dirty="0" err="1" smtClean="0">
                <a:solidFill>
                  <a:prstClr val="black"/>
                </a:solidFill>
              </a:rPr>
              <a:t>rectangle</a:t>
            </a:r>
            <a:r>
              <a:rPr lang="nl-NL" sz="1100" dirty="0" smtClean="0">
                <a:solidFill>
                  <a:prstClr val="black"/>
                </a:solidFill>
              </a:rPr>
              <a:t>) die wordt </a:t>
            </a:r>
            <a:r>
              <a:rPr lang="nl-NL" sz="1100" dirty="0" err="1" smtClean="0">
                <a:solidFill>
                  <a:prstClr val="black"/>
                </a:solidFill>
              </a:rPr>
              <a:t>getarget</a:t>
            </a:r>
            <a:r>
              <a:rPr lang="nl-NL" sz="1100" dirty="0" smtClean="0">
                <a:solidFill>
                  <a:prstClr val="black"/>
                </a:solidFill>
              </a:rPr>
              <a:t> op </a:t>
            </a:r>
            <a:r>
              <a:rPr lang="nl-NL" sz="1100" dirty="0">
                <a:solidFill>
                  <a:prstClr val="black"/>
                </a:solidFill>
              </a:rPr>
              <a:t>bedrijventerreinen of </a:t>
            </a:r>
            <a:r>
              <a:rPr lang="nl-NL" sz="1100" dirty="0" smtClean="0">
                <a:solidFill>
                  <a:prstClr val="black"/>
                </a:solidFill>
              </a:rPr>
              <a:t>industriegebieden op betreffende locatie. (</a:t>
            </a:r>
            <a:r>
              <a:rPr lang="nl-NL" sz="1100" dirty="0" err="1" smtClean="0">
                <a:solidFill>
                  <a:prstClr val="black"/>
                </a:solidFill>
              </a:rPr>
              <a:t>custom</a:t>
            </a:r>
            <a:r>
              <a:rPr lang="nl-NL" sz="1100" dirty="0" smtClean="0">
                <a:solidFill>
                  <a:prstClr val="black"/>
                </a:solidFill>
              </a:rPr>
              <a:t> </a:t>
            </a:r>
            <a:r>
              <a:rPr lang="nl-NL" sz="1100" dirty="0" err="1" smtClean="0">
                <a:solidFill>
                  <a:prstClr val="black"/>
                </a:solidFill>
              </a:rPr>
              <a:t>audience</a:t>
            </a:r>
            <a:r>
              <a:rPr lang="nl-NL" sz="1100" dirty="0" smtClean="0">
                <a:solidFill>
                  <a:prstClr val="black"/>
                </a:solidFill>
              </a:rPr>
              <a:t> </a:t>
            </a:r>
            <a:r>
              <a:rPr lang="nl-NL" sz="1100" dirty="0" err="1" smtClean="0">
                <a:solidFill>
                  <a:prstClr val="black"/>
                </a:solidFill>
              </a:rPr>
              <a:t>targeting</a:t>
            </a:r>
            <a:r>
              <a:rPr lang="nl-NL" sz="1100" dirty="0" smtClean="0">
                <a:solidFill>
                  <a:prstClr val="black"/>
                </a:solidFill>
              </a:rPr>
              <a:t>) Middels de techniek van </a:t>
            </a:r>
            <a:r>
              <a:rPr lang="nl-NL" sz="1100" dirty="0" err="1" smtClean="0">
                <a:solidFill>
                  <a:prstClr val="black"/>
                </a:solidFill>
              </a:rPr>
              <a:t>LocalSensor</a:t>
            </a:r>
            <a:r>
              <a:rPr lang="nl-NL" sz="1100" dirty="0" smtClean="0">
                <a:solidFill>
                  <a:prstClr val="black"/>
                </a:solidFill>
              </a:rPr>
              <a:t> kunnen we tijdens de campagne doelgroep profielen opbouwen middels locatie targeting (GPS).</a:t>
            </a:r>
          </a:p>
          <a:p>
            <a:pPr algn="just" defTabSz="457200"/>
            <a:endParaRPr lang="nl-NL" sz="1100" i="1" dirty="0">
              <a:solidFill>
                <a:prstClr val="black"/>
              </a:solidFill>
            </a:endParaRPr>
          </a:p>
          <a:p>
            <a:pPr algn="just" defTabSz="457200"/>
            <a:r>
              <a:rPr lang="nl-NL" sz="1100" dirty="0" smtClean="0">
                <a:solidFill>
                  <a:prstClr val="black"/>
                </a:solidFill>
              </a:rPr>
              <a:t>Voor het opbouwen van deze </a:t>
            </a:r>
            <a:r>
              <a:rPr lang="nl-NL" sz="1100" dirty="0" err="1" smtClean="0">
                <a:solidFill>
                  <a:prstClr val="black"/>
                </a:solidFill>
              </a:rPr>
              <a:t>audience</a:t>
            </a:r>
            <a:r>
              <a:rPr lang="nl-NL" sz="1100" dirty="0" smtClean="0">
                <a:solidFill>
                  <a:prstClr val="black"/>
                </a:solidFill>
              </a:rPr>
              <a:t> gebruiken we locatiegegevens van de volgende postcode gebieden die overeen zijn gekomen met de betreffende </a:t>
            </a:r>
            <a:r>
              <a:rPr lang="nl-NL" sz="1100" dirty="0" err="1" smtClean="0">
                <a:solidFill>
                  <a:prstClr val="black"/>
                </a:solidFill>
              </a:rPr>
              <a:t>reseller</a:t>
            </a:r>
            <a:r>
              <a:rPr lang="nl-NL" sz="1100" dirty="0" smtClean="0">
                <a:solidFill>
                  <a:prstClr val="black"/>
                </a:solidFill>
              </a:rPr>
              <a:t>. Zoals gezegd kan dit van zeer lokaal tot regionaal naar nationaal.</a:t>
            </a:r>
          </a:p>
          <a:p>
            <a:pPr marL="285750" indent="-285750" algn="just" defTabSz="457200">
              <a:buFont typeface="Arial" panose="020B0604020202020204" pitchFamily="34" charset="0"/>
              <a:buChar char="•"/>
            </a:pPr>
            <a:endParaRPr lang="nl-NL" sz="1100" dirty="0">
              <a:solidFill>
                <a:prstClr val="black"/>
              </a:solidFill>
            </a:endParaRPr>
          </a:p>
          <a:p>
            <a:pPr algn="just" defTabSz="457200"/>
            <a:r>
              <a:rPr lang="nl-NL" sz="1100" dirty="0" smtClean="0">
                <a:solidFill>
                  <a:prstClr val="black"/>
                </a:solidFill>
              </a:rPr>
              <a:t>Verder valt er ook denken aan postcode gebieden rondom omliggende golfbanen.</a:t>
            </a:r>
            <a:endParaRPr lang="nl-NL" sz="1100" dirty="0">
              <a:solidFill>
                <a:prstClr val="black"/>
              </a:solidFill>
            </a:endParaRPr>
          </a:p>
          <a:p>
            <a:pPr algn="just" defTabSz="457200"/>
            <a:endParaRPr lang="nl-NL" sz="1100" dirty="0" smtClean="0">
              <a:solidFill>
                <a:prstClr val="black"/>
              </a:solidFill>
            </a:endParaRPr>
          </a:p>
          <a:p>
            <a:pPr algn="just" defTabSz="457200"/>
            <a:r>
              <a:rPr lang="nl-NL" sz="1100" dirty="0" smtClean="0">
                <a:solidFill>
                  <a:prstClr val="black"/>
                </a:solidFill>
              </a:rPr>
              <a:t>Gebruikers die vaker dan 3x per week aanwezig zijn op deze locatie tussen 9:00 en 18:00 uur worden opgeslagen in de </a:t>
            </a:r>
            <a:r>
              <a:rPr lang="nl-NL" sz="1100" dirty="0" err="1" smtClean="0">
                <a:solidFill>
                  <a:prstClr val="black"/>
                </a:solidFill>
              </a:rPr>
              <a:t>custom</a:t>
            </a:r>
            <a:r>
              <a:rPr lang="nl-NL" sz="1100" dirty="0" smtClean="0">
                <a:solidFill>
                  <a:prstClr val="black"/>
                </a:solidFill>
              </a:rPr>
              <a:t> </a:t>
            </a:r>
            <a:r>
              <a:rPr lang="nl-NL" sz="1100" dirty="0" err="1" smtClean="0">
                <a:solidFill>
                  <a:prstClr val="black"/>
                </a:solidFill>
              </a:rPr>
              <a:t>audience</a:t>
            </a:r>
            <a:r>
              <a:rPr lang="nl-NL" sz="1100" dirty="0" smtClean="0">
                <a:solidFill>
                  <a:prstClr val="black"/>
                </a:solidFill>
              </a:rPr>
              <a:t>, welke op ieder gewenst moment en locatie </a:t>
            </a:r>
            <a:r>
              <a:rPr lang="nl-NL" sz="1100" dirty="0" err="1" smtClean="0">
                <a:solidFill>
                  <a:prstClr val="black"/>
                </a:solidFill>
              </a:rPr>
              <a:t>getarget</a:t>
            </a:r>
            <a:r>
              <a:rPr lang="nl-NL" sz="1100" dirty="0" smtClean="0">
                <a:solidFill>
                  <a:prstClr val="black"/>
                </a:solidFill>
              </a:rPr>
              <a:t> kan worden met de uiting van de campagne. </a:t>
            </a:r>
          </a:p>
        </p:txBody>
      </p:sp>
      <p:grpSp>
        <p:nvGrpSpPr>
          <p:cNvPr id="7" name="Groep 6"/>
          <p:cNvGrpSpPr/>
          <p:nvPr/>
        </p:nvGrpSpPr>
        <p:grpSpPr>
          <a:xfrm>
            <a:off x="4587145" y="2208139"/>
            <a:ext cx="1443130" cy="2588588"/>
            <a:chOff x="6218317" y="1784825"/>
            <a:chExt cx="2331652" cy="4788417"/>
          </a:xfrm>
        </p:grpSpPr>
        <p:grpSp>
          <p:nvGrpSpPr>
            <p:cNvPr id="8" name="Groep 7"/>
            <p:cNvGrpSpPr/>
            <p:nvPr/>
          </p:nvGrpSpPr>
          <p:grpSpPr>
            <a:xfrm>
              <a:off x="6218317" y="1784825"/>
              <a:ext cx="2331652" cy="4788417"/>
              <a:chOff x="6218317" y="1784825"/>
              <a:chExt cx="2331652" cy="4788417"/>
            </a:xfrm>
          </p:grpSpPr>
          <p:pic>
            <p:nvPicPr>
              <p:cNvPr id="10" name="Picture 2" descr="http://bin.ilsemedia.nl/m/fnzyqnaurn0z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18317" y="1784825"/>
                <a:ext cx="2331652" cy="47884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Rechthoek 10"/>
              <p:cNvSpPr/>
              <p:nvPr/>
            </p:nvSpPr>
            <p:spPr>
              <a:xfrm>
                <a:off x="6446114" y="3825032"/>
                <a:ext cx="1882800" cy="1512000"/>
              </a:xfrm>
              <a:prstGeom prst="rect">
                <a:avLst/>
              </a:prstGeom>
              <a:solidFill>
                <a:srgbClr val="FFE227"/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nl-NL" sz="140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9" name="Tekstvak 8"/>
            <p:cNvSpPr txBox="1"/>
            <p:nvPr/>
          </p:nvSpPr>
          <p:spPr>
            <a:xfrm>
              <a:off x="6741092" y="4369964"/>
              <a:ext cx="1260070" cy="4839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/>
              <a:r>
                <a:rPr lang="nl-NL" sz="1100" dirty="0" smtClean="0">
                  <a:solidFill>
                    <a:prstClr val="black"/>
                  </a:solidFill>
                </a:rPr>
                <a:t>Advertentie</a:t>
              </a:r>
              <a:endParaRPr lang="nl-NL" sz="1100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Stroomdiagram: Magnetische schijf 11"/>
          <p:cNvSpPr/>
          <p:nvPr/>
        </p:nvSpPr>
        <p:spPr>
          <a:xfrm>
            <a:off x="6616795" y="3479075"/>
            <a:ext cx="2299560" cy="718227"/>
          </a:xfrm>
          <a:prstGeom prst="flowChartMagneticDisk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 sz="300" b="1" dirty="0" smtClean="0">
              <a:solidFill>
                <a:prstClr val="white"/>
              </a:solidFill>
            </a:endParaRPr>
          </a:p>
          <a:p>
            <a:pPr algn="ctr" defTabSz="457200"/>
            <a:endParaRPr lang="nl-NL" sz="300" b="1" dirty="0" smtClean="0">
              <a:solidFill>
                <a:prstClr val="white"/>
              </a:solidFill>
            </a:endParaRPr>
          </a:p>
          <a:p>
            <a:pPr algn="ctr" defTabSz="457200"/>
            <a:r>
              <a:rPr lang="nl-NL" sz="1100" b="1" dirty="0" err="1" smtClean="0">
                <a:solidFill>
                  <a:prstClr val="white"/>
                </a:solidFill>
              </a:rPr>
              <a:t>Audience</a:t>
            </a:r>
            <a:r>
              <a:rPr lang="nl-NL" sz="1100" b="1" dirty="0" smtClean="0">
                <a:solidFill>
                  <a:prstClr val="white"/>
                </a:solidFill>
              </a:rPr>
              <a:t>:</a:t>
            </a:r>
          </a:p>
          <a:p>
            <a:pPr algn="ctr" defTabSz="457200"/>
            <a:r>
              <a:rPr lang="nl-NL" sz="1100" dirty="0" smtClean="0">
                <a:solidFill>
                  <a:prstClr val="white"/>
                </a:solidFill>
              </a:rPr>
              <a:t>Omgeving industriegebied</a:t>
            </a:r>
            <a:endParaRPr lang="nl-NL" sz="1100" dirty="0">
              <a:solidFill>
                <a:prstClr val="white"/>
              </a:solidFill>
            </a:endParaRPr>
          </a:p>
        </p:txBody>
      </p:sp>
      <p:sp>
        <p:nvSpPr>
          <p:cNvPr id="13" name="PIJL-OMLAAG 12"/>
          <p:cNvSpPr/>
          <p:nvPr/>
        </p:nvSpPr>
        <p:spPr>
          <a:xfrm>
            <a:off x="7653760" y="3180446"/>
            <a:ext cx="225632" cy="299877"/>
          </a:xfrm>
          <a:prstGeom prst="downArrow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sp>
        <p:nvSpPr>
          <p:cNvPr id="14" name="PIJL-OMLAAG 13"/>
          <p:cNvSpPr/>
          <p:nvPr/>
        </p:nvSpPr>
        <p:spPr>
          <a:xfrm rot="5400000">
            <a:off x="6281810" y="3662274"/>
            <a:ext cx="177816" cy="380506"/>
          </a:xfrm>
          <a:prstGeom prst="downArrow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sp>
        <p:nvSpPr>
          <p:cNvPr id="15" name="Tekstvak 14"/>
          <p:cNvSpPr txBox="1"/>
          <p:nvPr/>
        </p:nvSpPr>
        <p:spPr>
          <a:xfrm>
            <a:off x="6178387" y="857407"/>
            <a:ext cx="23480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457200"/>
            <a:r>
              <a:rPr lang="nl-NL" sz="1050" i="1" dirty="0" smtClean="0">
                <a:solidFill>
                  <a:prstClr val="black"/>
                </a:solidFill>
              </a:rPr>
              <a:t>Voorbeeld </a:t>
            </a:r>
            <a:r>
              <a:rPr lang="nl-NL" sz="1050" i="1" dirty="0" err="1" smtClean="0">
                <a:solidFill>
                  <a:prstClr val="black"/>
                </a:solidFill>
              </a:rPr>
              <a:t>targeting</a:t>
            </a:r>
            <a:r>
              <a:rPr lang="nl-NL" sz="1050" i="1" dirty="0" smtClean="0">
                <a:solidFill>
                  <a:prstClr val="black"/>
                </a:solidFill>
              </a:rPr>
              <a:t> De Loeten</a:t>
            </a:r>
          </a:p>
        </p:txBody>
      </p:sp>
      <p:sp>
        <p:nvSpPr>
          <p:cNvPr id="16" name="Tekstvak 15"/>
          <p:cNvSpPr txBox="1"/>
          <p:nvPr/>
        </p:nvSpPr>
        <p:spPr>
          <a:xfrm>
            <a:off x="4415130" y="1995686"/>
            <a:ext cx="16690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nl-NL" sz="1050" i="1" dirty="0" smtClean="0">
                <a:solidFill>
                  <a:prstClr val="black"/>
                </a:solidFill>
              </a:rPr>
              <a:t>Voorbeeld </a:t>
            </a:r>
            <a:r>
              <a:rPr lang="nl-NL" sz="1050" i="1" dirty="0" err="1" smtClean="0">
                <a:solidFill>
                  <a:prstClr val="black"/>
                </a:solidFill>
              </a:rPr>
              <a:t>Rectangle</a:t>
            </a:r>
            <a:endParaRPr lang="nl-NL" sz="1050" i="1" dirty="0" smtClean="0">
              <a:solidFill>
                <a:prstClr val="black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8900" y="1013975"/>
            <a:ext cx="2772356" cy="2173170"/>
          </a:xfrm>
          <a:prstGeom prst="rect">
            <a:avLst/>
          </a:prstGeom>
        </p:spPr>
      </p:pic>
      <p:sp>
        <p:nvSpPr>
          <p:cNvPr id="18" name="Stroomdiagram: Verbindingslijn 17"/>
          <p:cNvSpPr/>
          <p:nvPr/>
        </p:nvSpPr>
        <p:spPr>
          <a:xfrm>
            <a:off x="6903914" y="1473365"/>
            <a:ext cx="1502328" cy="1196433"/>
          </a:xfrm>
          <a:prstGeom prst="flowChartConnector">
            <a:avLst/>
          </a:prstGeom>
          <a:gradFill>
            <a:gsLst>
              <a:gs pos="100000">
                <a:schemeClr val="accent1">
                  <a:tint val="100000"/>
                  <a:shade val="100000"/>
                  <a:satMod val="130000"/>
                  <a:alpha val="22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599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3600" dirty="0"/>
              <a:t>Tracking – Monitoring voortgang campagne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33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hthoek 5"/>
          <p:cNvSpPr/>
          <p:nvPr/>
        </p:nvSpPr>
        <p:spPr>
          <a:xfrm>
            <a:off x="937487" y="1057722"/>
            <a:ext cx="841901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ts val="200"/>
              </a:spcBef>
              <a:spcAft>
                <a:spcPts val="200"/>
              </a:spcAft>
            </a:pPr>
            <a:r>
              <a:rPr lang="nl-NL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De totale campagne wordt continu gemonitord en gerapporteerd in een mogelijk  wekelijks dashboard. Op basis van de voortgang en de </a:t>
            </a:r>
            <a:r>
              <a:rPr lang="nl-NL" sz="16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KPI’s</a:t>
            </a:r>
            <a:r>
              <a:rPr lang="nl-NL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 per flight (zie pagina 8) wordt er continu bijgestuurd voor maximaal resultaat. </a:t>
            </a:r>
            <a:endParaRPr lang="nl-NL" sz="1600" dirty="0" smtClean="0">
              <a:solidFill>
                <a:prstClr val="black"/>
              </a:solidFill>
            </a:endParaRPr>
          </a:p>
        </p:txBody>
      </p:sp>
      <p:grpSp>
        <p:nvGrpSpPr>
          <p:cNvPr id="7" name="Groep 6"/>
          <p:cNvGrpSpPr/>
          <p:nvPr/>
        </p:nvGrpSpPr>
        <p:grpSpPr>
          <a:xfrm>
            <a:off x="489129" y="1948472"/>
            <a:ext cx="8247567" cy="2723789"/>
            <a:chOff x="744033" y="2122781"/>
            <a:chExt cx="7404744" cy="3123053"/>
          </a:xfrm>
        </p:grpSpPr>
        <p:pic>
          <p:nvPicPr>
            <p:cNvPr id="8" name="Afbeelding 7"/>
            <p:cNvPicPr>
              <a:picLocks noChangeAspect="1"/>
            </p:cNvPicPr>
            <p:nvPr/>
          </p:nvPicPr>
          <p:blipFill rotWithShape="1">
            <a:blip r:embed="rId2"/>
            <a:srcRect b="66973"/>
            <a:stretch/>
          </p:blipFill>
          <p:spPr>
            <a:xfrm>
              <a:off x="744033" y="2122781"/>
              <a:ext cx="7404744" cy="1401469"/>
            </a:xfrm>
            <a:prstGeom prst="rect">
              <a:avLst/>
            </a:prstGeom>
          </p:spPr>
        </p:pic>
        <p:pic>
          <p:nvPicPr>
            <p:cNvPr id="9" name="Afbeelding 8"/>
            <p:cNvPicPr>
              <a:picLocks noChangeAspect="1"/>
            </p:cNvPicPr>
            <p:nvPr/>
          </p:nvPicPr>
          <p:blipFill rotWithShape="1">
            <a:blip r:embed="rId2"/>
            <a:srcRect t="55923" b="2102"/>
            <a:stretch/>
          </p:blipFill>
          <p:spPr>
            <a:xfrm>
              <a:off x="744033" y="3464659"/>
              <a:ext cx="7404744" cy="17811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racking en inzicht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Tijdens de campagne zullen we de volgende resultaten inzichtelijk maken in tussentijdse rapportages:</a:t>
            </a:r>
          </a:p>
          <a:p>
            <a:pPr marL="0" indent="0">
              <a:buNone/>
            </a:pP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 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Impressie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Click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Clickratio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CPC </a:t>
            </a:r>
          </a:p>
          <a:p>
            <a:endParaRPr lang="nl-NL" sz="1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r>
              <a:rPr lang="nl-NL" sz="1200" b="1" dirty="0">
                <a:latin typeface="Helvetica" panose="020B0604020202020204" pitchFamily="34" charset="0"/>
                <a:cs typeface="Helvetica" panose="020B0604020202020204" pitchFamily="34" charset="0"/>
              </a:rPr>
              <a:t>Periodieke optimalisatie van de campagne</a:t>
            </a:r>
          </a:p>
          <a:p>
            <a:endParaRPr lang="nl-NL" sz="1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r>
              <a:rPr lang="nl-NL" sz="1200" b="1" dirty="0">
                <a:latin typeface="Helvetica" panose="020B0604020202020204" pitchFamily="34" charset="0"/>
                <a:cs typeface="Helvetica" panose="020B0604020202020204" pitchFamily="34" charset="0"/>
              </a:rPr>
              <a:t>Wekelijks rapportage van resultaten en optimalisatie stappen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Eerste screenshots van de campagne na livegang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Elke week (dag </a:t>
            </a:r>
            <a:r>
              <a:rPr lang="nl-NL" sz="1200" dirty="0" err="1">
                <a:latin typeface="Helvetica" panose="020B0604020202020204" pitchFamily="34" charset="0"/>
                <a:cs typeface="Helvetica" panose="020B0604020202020204" pitchFamily="34" charset="0"/>
              </a:rPr>
              <a:t>n.t.b</a:t>
            </a: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.) incl. toetsing </a:t>
            </a:r>
            <a:r>
              <a:rPr lang="nl-NL" sz="1200" dirty="0" err="1">
                <a:latin typeface="Helvetica" panose="020B0604020202020204" pitchFamily="34" charset="0"/>
                <a:cs typeface="Helvetica" panose="020B0604020202020204" pitchFamily="34" charset="0"/>
              </a:rPr>
              <a:t>KPI’s</a:t>
            </a: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>, voortgang en </a:t>
            </a:r>
            <a:r>
              <a:rPr lang="nl-NL" sz="1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optimalisaties</a:t>
            </a: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nl-NL" sz="12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nl-NL" sz="12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34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30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3064976" y="4820942"/>
            <a:ext cx="2895600" cy="273844"/>
          </a:xfrm>
        </p:spPr>
        <p:txBody>
          <a:bodyPr/>
          <a:lstStyle/>
          <a:p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6493976" y="4820942"/>
            <a:ext cx="2133600" cy="273844"/>
          </a:xfrm>
        </p:spPr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35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Tijdelijke aanduiding voor inhou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6266033"/>
              </p:ext>
            </p:extLst>
          </p:nvPr>
        </p:nvGraphicFramePr>
        <p:xfrm>
          <a:off x="209551" y="1451073"/>
          <a:ext cx="8602554" cy="2776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itel 2"/>
          <p:cNvSpPr txBox="1">
            <a:spLocks/>
          </p:cNvSpPr>
          <p:nvPr/>
        </p:nvSpPr>
        <p:spPr>
          <a:xfrm>
            <a:off x="-276365" y="276425"/>
            <a:ext cx="8929687" cy="7715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mtClean="0">
                <a:solidFill>
                  <a:prstClr val="black"/>
                </a:solidFill>
              </a:rPr>
              <a:t>Marketing mogelijkheden</a:t>
            </a:r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55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1295400" y="4776789"/>
            <a:ext cx="6591300" cy="273844"/>
          </a:xfrm>
        </p:spPr>
        <p:txBody>
          <a:bodyPr/>
          <a:lstStyle/>
          <a:p>
            <a:pPr algn="l"/>
            <a:r>
              <a:rPr lang="nl-NL" smtClean="0">
                <a:solidFill>
                  <a:prstClr val="black">
                    <a:tint val="75000"/>
                  </a:prstClr>
                </a:solidFill>
              </a:rPr>
              <a:t>Clickdistrict.com</a:t>
            </a:r>
            <a:endParaRPr lang="nl-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0D8C5-29FE-3D4A-9822-4CF2CCECB6F8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/>
              <a:t>36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Afbeelding 5" descr="lg_clickdistrict_payoff_locked_4c copy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579735"/>
            <a:ext cx="685800" cy="461372"/>
          </a:xfrm>
          <a:prstGeom prst="rect">
            <a:avLst/>
          </a:prstGeom>
        </p:spPr>
      </p:pic>
      <p:cxnSp>
        <p:nvCxnSpPr>
          <p:cNvPr id="8" name="Rechte verbindingslijn 7"/>
          <p:cNvCxnSpPr/>
          <p:nvPr/>
        </p:nvCxnSpPr>
        <p:spPr>
          <a:xfrm>
            <a:off x="8305800" y="4767263"/>
            <a:ext cx="3810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hthoek 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9" name="Afbeelding 8" descr="lg_clickdistrict_1c-wi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814" y="4185521"/>
            <a:ext cx="1220076" cy="698189"/>
          </a:xfrm>
          <a:prstGeom prst="rect">
            <a:avLst/>
          </a:prstGeom>
        </p:spPr>
      </p:pic>
      <p:cxnSp>
        <p:nvCxnSpPr>
          <p:cNvPr id="11" name="Rechte verbindingslijn 10"/>
          <p:cNvCxnSpPr/>
          <p:nvPr/>
        </p:nvCxnSpPr>
        <p:spPr>
          <a:xfrm>
            <a:off x="0" y="2458107"/>
            <a:ext cx="784286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 txBox="1">
            <a:spLocks/>
          </p:cNvSpPr>
          <p:nvPr/>
        </p:nvSpPr>
        <p:spPr>
          <a:xfrm>
            <a:off x="957446" y="1848696"/>
            <a:ext cx="7273766" cy="1045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40000"/>
              </a:lnSpc>
            </a:pPr>
            <a:r>
              <a:rPr lang="nl-NL" b="1" dirty="0" smtClean="0">
                <a:solidFill>
                  <a:prstClr val="white"/>
                </a:solidFill>
                <a:latin typeface="Open Sans"/>
                <a:cs typeface="Open Sans"/>
              </a:rPr>
              <a:t>Bedankt voor de aandacht.</a:t>
            </a:r>
          </a:p>
          <a:p>
            <a:pPr algn="l">
              <a:lnSpc>
                <a:spcPct val="140000"/>
              </a:lnSpc>
            </a:pPr>
            <a:r>
              <a:rPr lang="nl-NL" sz="3100" b="1" dirty="0" smtClean="0">
                <a:solidFill>
                  <a:prstClr val="white"/>
                </a:solidFill>
                <a:latin typeface="Open Sans"/>
                <a:cs typeface="Open Sans"/>
              </a:rPr>
              <a:t>Vragen?</a:t>
            </a:r>
            <a:endParaRPr lang="nl-NL" sz="3100" dirty="0">
              <a:solidFill>
                <a:prstClr val="white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4233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C:\Users\meike\Downloads\Presentatie BlueLine-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" y="0"/>
            <a:ext cx="914129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572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6923" y="640886"/>
            <a:ext cx="6857434" cy="1286465"/>
          </a:xfrm>
        </p:spPr>
        <p:txBody>
          <a:bodyPr/>
          <a:lstStyle/>
          <a:p>
            <a:r>
              <a:rPr lang="nl-NL" sz="4100" dirty="0">
                <a:solidFill>
                  <a:schemeClr val="accent3"/>
                </a:solidFill>
              </a:rPr>
              <a:t>Sanoma Mobile update</a:t>
            </a:r>
            <a:br>
              <a:rPr lang="nl-NL" sz="4100" dirty="0">
                <a:solidFill>
                  <a:schemeClr val="accent3"/>
                </a:solidFill>
              </a:rPr>
            </a:br>
            <a:r>
              <a:rPr lang="nl-NL" sz="1800" b="0" dirty="0"/>
              <a:t>Kick-off MSP </a:t>
            </a:r>
            <a:r>
              <a:rPr lang="nl-NL" sz="1800" b="0" dirty="0"/>
              <a:t>24    |    3 december 2015    |    Orban </a:t>
            </a:r>
            <a:r>
              <a:rPr lang="nl-NL" sz="1800" b="0" dirty="0" err="1"/>
              <a:t>Büller</a:t>
            </a:r>
            <a:endParaRPr lang="nl-NL" sz="1800" b="0" dirty="0"/>
          </a:p>
        </p:txBody>
      </p:sp>
    </p:spTree>
    <p:extLst>
      <p:ext uri="{BB962C8B-B14F-4D97-AF65-F5344CB8AC3E}">
        <p14:creationId xmlns:p14="http://schemas.microsoft.com/office/powerpoint/2010/main" val="20627569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 noChangeAspect="1" noEditPoints="1"/>
          </p:cNvSpPr>
          <p:nvPr/>
        </p:nvSpPr>
        <p:spPr bwMode="auto">
          <a:xfrm>
            <a:off x="7293212" y="4803555"/>
            <a:ext cx="767014" cy="125909"/>
          </a:xfrm>
          <a:custGeom>
            <a:avLst/>
            <a:gdLst>
              <a:gd name="T0" fmla="*/ 4989 w 5446"/>
              <a:gd name="T1" fmla="*/ 686 h 908"/>
              <a:gd name="T2" fmla="*/ 4808 w 5446"/>
              <a:gd name="T3" fmla="*/ 593 h 908"/>
              <a:gd name="T4" fmla="*/ 4773 w 5446"/>
              <a:gd name="T5" fmla="*/ 389 h 908"/>
              <a:gd name="T6" fmla="*/ 4890 w 5446"/>
              <a:gd name="T7" fmla="*/ 244 h 908"/>
              <a:gd name="T8" fmla="*/ 5087 w 5446"/>
              <a:gd name="T9" fmla="*/ 246 h 908"/>
              <a:gd name="T10" fmla="*/ 4275 w 5446"/>
              <a:gd name="T11" fmla="*/ 348 h 908"/>
              <a:gd name="T12" fmla="*/ 4169 w 5446"/>
              <a:gd name="T13" fmla="*/ 308 h 908"/>
              <a:gd name="T14" fmla="*/ 4039 w 5446"/>
              <a:gd name="T15" fmla="*/ 382 h 908"/>
              <a:gd name="T16" fmla="*/ 3947 w 5446"/>
              <a:gd name="T17" fmla="*/ 299 h 908"/>
              <a:gd name="T18" fmla="*/ 3885 w 5446"/>
              <a:gd name="T19" fmla="*/ 230 h 908"/>
              <a:gd name="T20" fmla="*/ 4026 w 5446"/>
              <a:gd name="T21" fmla="*/ 225 h 908"/>
              <a:gd name="T22" fmla="*/ 4157 w 5446"/>
              <a:gd name="T23" fmla="*/ 240 h 908"/>
              <a:gd name="T24" fmla="*/ 4327 w 5446"/>
              <a:gd name="T25" fmla="*/ 258 h 908"/>
              <a:gd name="T26" fmla="*/ 3153 w 5446"/>
              <a:gd name="T27" fmla="*/ 684 h 908"/>
              <a:gd name="T28" fmla="*/ 2979 w 5446"/>
              <a:gd name="T29" fmla="*/ 574 h 908"/>
              <a:gd name="T30" fmla="*/ 2963 w 5446"/>
              <a:gd name="T31" fmla="*/ 362 h 908"/>
              <a:gd name="T32" fmla="*/ 3119 w 5446"/>
              <a:gd name="T33" fmla="*/ 228 h 908"/>
              <a:gd name="T34" fmla="*/ 3325 w 5446"/>
              <a:gd name="T35" fmla="*/ 274 h 908"/>
              <a:gd name="T36" fmla="*/ 3408 w 5446"/>
              <a:gd name="T37" fmla="*/ 466 h 908"/>
              <a:gd name="T38" fmla="*/ 3307 w 5446"/>
              <a:gd name="T39" fmla="*/ 646 h 908"/>
              <a:gd name="T40" fmla="*/ 2400 w 5446"/>
              <a:gd name="T41" fmla="*/ 420 h 908"/>
              <a:gd name="T42" fmla="*/ 2307 w 5446"/>
              <a:gd name="T43" fmla="*/ 305 h 908"/>
              <a:gd name="T44" fmla="*/ 2173 w 5446"/>
              <a:gd name="T45" fmla="*/ 348 h 908"/>
              <a:gd name="T46" fmla="*/ 2144 w 5446"/>
              <a:gd name="T47" fmla="*/ 287 h 908"/>
              <a:gd name="T48" fmla="*/ 2344 w 5446"/>
              <a:gd name="T49" fmla="*/ 228 h 908"/>
              <a:gd name="T50" fmla="*/ 2478 w 5446"/>
              <a:gd name="T51" fmla="*/ 349 h 908"/>
              <a:gd name="T52" fmla="*/ 1440 w 5446"/>
              <a:gd name="T53" fmla="*/ 669 h 908"/>
              <a:gd name="T54" fmla="*/ 1240 w 5446"/>
              <a:gd name="T55" fmla="*/ 653 h 908"/>
              <a:gd name="T56" fmla="*/ 1136 w 5446"/>
              <a:gd name="T57" fmla="*/ 478 h 908"/>
              <a:gd name="T58" fmla="*/ 1199 w 5446"/>
              <a:gd name="T59" fmla="*/ 289 h 908"/>
              <a:gd name="T60" fmla="*/ 1381 w 5446"/>
              <a:gd name="T61" fmla="*/ 222 h 908"/>
              <a:gd name="T62" fmla="*/ 466 w 5446"/>
              <a:gd name="T63" fmla="*/ 686 h 908"/>
              <a:gd name="T64" fmla="*/ 258 w 5446"/>
              <a:gd name="T65" fmla="*/ 567 h 908"/>
              <a:gd name="T66" fmla="*/ 460 w 5446"/>
              <a:gd name="T67" fmla="*/ 606 h 908"/>
              <a:gd name="T68" fmla="*/ 583 w 5446"/>
              <a:gd name="T69" fmla="*/ 540 h 908"/>
              <a:gd name="T70" fmla="*/ 341 w 5446"/>
              <a:gd name="T71" fmla="*/ 472 h 908"/>
              <a:gd name="T72" fmla="*/ 239 w 5446"/>
              <a:gd name="T73" fmla="*/ 342 h 908"/>
              <a:gd name="T74" fmla="*/ 365 w 5446"/>
              <a:gd name="T75" fmla="*/ 232 h 908"/>
              <a:gd name="T76" fmla="*/ 641 w 5446"/>
              <a:gd name="T77" fmla="*/ 283 h 908"/>
              <a:gd name="T78" fmla="*/ 462 w 5446"/>
              <a:gd name="T79" fmla="*/ 302 h 908"/>
              <a:gd name="T80" fmla="*/ 327 w 5446"/>
              <a:gd name="T81" fmla="*/ 363 h 908"/>
              <a:gd name="T82" fmla="*/ 584 w 5446"/>
              <a:gd name="T83" fmla="*/ 433 h 908"/>
              <a:gd name="T84" fmla="*/ 674 w 5446"/>
              <a:gd name="T85" fmla="*/ 553 h 908"/>
              <a:gd name="T86" fmla="*/ 569 w 5446"/>
              <a:gd name="T87" fmla="*/ 669 h 908"/>
              <a:gd name="T88" fmla="*/ 5446 w 5446"/>
              <a:gd name="T89" fmla="*/ 453 h 908"/>
              <a:gd name="T90" fmla="*/ 1291 w 5446"/>
              <a:gd name="T91" fmla="*/ 318 h 908"/>
              <a:gd name="T92" fmla="*/ 1231 w 5446"/>
              <a:gd name="T93" fmla="*/ 504 h 908"/>
              <a:gd name="T94" fmla="*/ 1318 w 5446"/>
              <a:gd name="T95" fmla="*/ 603 h 908"/>
              <a:gd name="T96" fmla="*/ 1469 w 5446"/>
              <a:gd name="T97" fmla="*/ 562 h 908"/>
              <a:gd name="T98" fmla="*/ 1491 w 5446"/>
              <a:gd name="T99" fmla="*/ 384 h 908"/>
              <a:gd name="T100" fmla="*/ 1373 w 5446"/>
              <a:gd name="T101" fmla="*/ 297 h 908"/>
              <a:gd name="T102" fmla="*/ 3063 w 5446"/>
              <a:gd name="T103" fmla="*/ 359 h 908"/>
              <a:gd name="T104" fmla="*/ 3059 w 5446"/>
              <a:gd name="T105" fmla="*/ 541 h 908"/>
              <a:gd name="T106" fmla="*/ 3213 w 5446"/>
              <a:gd name="T107" fmla="*/ 601 h 908"/>
              <a:gd name="T108" fmla="*/ 3311 w 5446"/>
              <a:gd name="T109" fmla="*/ 508 h 908"/>
              <a:gd name="T110" fmla="*/ 3273 w 5446"/>
              <a:gd name="T111" fmla="*/ 338 h 908"/>
              <a:gd name="T112" fmla="*/ 4941 w 5446"/>
              <a:gd name="T113" fmla="*/ 307 h 908"/>
              <a:gd name="T114" fmla="*/ 4856 w 5446"/>
              <a:gd name="T115" fmla="*/ 483 h 908"/>
              <a:gd name="T116" fmla="*/ 4934 w 5446"/>
              <a:gd name="T117" fmla="*/ 597 h 908"/>
              <a:gd name="T118" fmla="*/ 5090 w 5446"/>
              <a:gd name="T119" fmla="*/ 573 h 908"/>
              <a:gd name="T120" fmla="*/ 5126 w 5446"/>
              <a:gd name="T121" fmla="*/ 399 h 908"/>
              <a:gd name="T122" fmla="*/ 5022 w 5446"/>
              <a:gd name="T123" fmla="*/ 299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46" h="908">
                <a:moveTo>
                  <a:pt x="5219" y="677"/>
                </a:moveTo>
                <a:lnTo>
                  <a:pt x="5130" y="677"/>
                </a:lnTo>
                <a:lnTo>
                  <a:pt x="5130" y="624"/>
                </a:lnTo>
                <a:lnTo>
                  <a:pt x="5127" y="627"/>
                </a:lnTo>
                <a:lnTo>
                  <a:pt x="5124" y="631"/>
                </a:lnTo>
                <a:lnTo>
                  <a:pt x="5117" y="637"/>
                </a:lnTo>
                <a:lnTo>
                  <a:pt x="5110" y="644"/>
                </a:lnTo>
                <a:lnTo>
                  <a:pt x="5103" y="649"/>
                </a:lnTo>
                <a:lnTo>
                  <a:pt x="5087" y="660"/>
                </a:lnTo>
                <a:lnTo>
                  <a:pt x="5079" y="665"/>
                </a:lnTo>
                <a:lnTo>
                  <a:pt x="5070" y="669"/>
                </a:lnTo>
                <a:lnTo>
                  <a:pt x="5061" y="673"/>
                </a:lnTo>
                <a:lnTo>
                  <a:pt x="5052" y="676"/>
                </a:lnTo>
                <a:lnTo>
                  <a:pt x="5042" y="679"/>
                </a:lnTo>
                <a:lnTo>
                  <a:pt x="5032" y="682"/>
                </a:lnTo>
                <a:lnTo>
                  <a:pt x="5022" y="684"/>
                </a:lnTo>
                <a:lnTo>
                  <a:pt x="5011" y="685"/>
                </a:lnTo>
                <a:lnTo>
                  <a:pt x="5000" y="686"/>
                </a:lnTo>
                <a:lnTo>
                  <a:pt x="4989" y="686"/>
                </a:lnTo>
                <a:lnTo>
                  <a:pt x="4977" y="686"/>
                </a:lnTo>
                <a:lnTo>
                  <a:pt x="4965" y="685"/>
                </a:lnTo>
                <a:lnTo>
                  <a:pt x="4954" y="684"/>
                </a:lnTo>
                <a:lnTo>
                  <a:pt x="4942" y="682"/>
                </a:lnTo>
                <a:lnTo>
                  <a:pt x="4931" y="679"/>
                </a:lnTo>
                <a:lnTo>
                  <a:pt x="4921" y="676"/>
                </a:lnTo>
                <a:lnTo>
                  <a:pt x="4910" y="672"/>
                </a:lnTo>
                <a:lnTo>
                  <a:pt x="4900" y="668"/>
                </a:lnTo>
                <a:lnTo>
                  <a:pt x="4890" y="663"/>
                </a:lnTo>
                <a:lnTo>
                  <a:pt x="4880" y="658"/>
                </a:lnTo>
                <a:lnTo>
                  <a:pt x="4871" y="653"/>
                </a:lnTo>
                <a:lnTo>
                  <a:pt x="4862" y="647"/>
                </a:lnTo>
                <a:lnTo>
                  <a:pt x="4853" y="640"/>
                </a:lnTo>
                <a:lnTo>
                  <a:pt x="4845" y="633"/>
                </a:lnTo>
                <a:lnTo>
                  <a:pt x="4837" y="626"/>
                </a:lnTo>
                <a:lnTo>
                  <a:pt x="4829" y="618"/>
                </a:lnTo>
                <a:lnTo>
                  <a:pt x="4822" y="610"/>
                </a:lnTo>
                <a:lnTo>
                  <a:pt x="4815" y="602"/>
                </a:lnTo>
                <a:lnTo>
                  <a:pt x="4808" y="593"/>
                </a:lnTo>
                <a:lnTo>
                  <a:pt x="4802" y="584"/>
                </a:lnTo>
                <a:lnTo>
                  <a:pt x="4796" y="575"/>
                </a:lnTo>
                <a:lnTo>
                  <a:pt x="4791" y="565"/>
                </a:lnTo>
                <a:lnTo>
                  <a:pt x="4786" y="555"/>
                </a:lnTo>
                <a:lnTo>
                  <a:pt x="4782" y="545"/>
                </a:lnTo>
                <a:lnTo>
                  <a:pt x="4778" y="534"/>
                </a:lnTo>
                <a:lnTo>
                  <a:pt x="4775" y="523"/>
                </a:lnTo>
                <a:lnTo>
                  <a:pt x="4772" y="512"/>
                </a:lnTo>
                <a:lnTo>
                  <a:pt x="4770" y="501"/>
                </a:lnTo>
                <a:lnTo>
                  <a:pt x="4768" y="489"/>
                </a:lnTo>
                <a:lnTo>
                  <a:pt x="4766" y="478"/>
                </a:lnTo>
                <a:lnTo>
                  <a:pt x="4765" y="466"/>
                </a:lnTo>
                <a:lnTo>
                  <a:pt x="4765" y="453"/>
                </a:lnTo>
                <a:lnTo>
                  <a:pt x="4765" y="441"/>
                </a:lnTo>
                <a:lnTo>
                  <a:pt x="4766" y="429"/>
                </a:lnTo>
                <a:lnTo>
                  <a:pt x="4768" y="417"/>
                </a:lnTo>
                <a:lnTo>
                  <a:pt x="4770" y="406"/>
                </a:lnTo>
                <a:lnTo>
                  <a:pt x="4772" y="395"/>
                </a:lnTo>
                <a:lnTo>
                  <a:pt x="4773" y="389"/>
                </a:lnTo>
                <a:lnTo>
                  <a:pt x="4775" y="384"/>
                </a:lnTo>
                <a:lnTo>
                  <a:pt x="4778" y="373"/>
                </a:lnTo>
                <a:lnTo>
                  <a:pt x="4782" y="362"/>
                </a:lnTo>
                <a:lnTo>
                  <a:pt x="4786" y="352"/>
                </a:lnTo>
                <a:lnTo>
                  <a:pt x="4791" y="342"/>
                </a:lnTo>
                <a:lnTo>
                  <a:pt x="4796" y="332"/>
                </a:lnTo>
                <a:lnTo>
                  <a:pt x="4802" y="323"/>
                </a:lnTo>
                <a:lnTo>
                  <a:pt x="4808" y="314"/>
                </a:lnTo>
                <a:lnTo>
                  <a:pt x="4815" y="305"/>
                </a:lnTo>
                <a:lnTo>
                  <a:pt x="4822" y="297"/>
                </a:lnTo>
                <a:lnTo>
                  <a:pt x="4829" y="289"/>
                </a:lnTo>
                <a:lnTo>
                  <a:pt x="4837" y="281"/>
                </a:lnTo>
                <a:lnTo>
                  <a:pt x="4845" y="274"/>
                </a:lnTo>
                <a:lnTo>
                  <a:pt x="4849" y="270"/>
                </a:lnTo>
                <a:lnTo>
                  <a:pt x="4853" y="267"/>
                </a:lnTo>
                <a:lnTo>
                  <a:pt x="4862" y="260"/>
                </a:lnTo>
                <a:lnTo>
                  <a:pt x="4871" y="254"/>
                </a:lnTo>
                <a:lnTo>
                  <a:pt x="4880" y="249"/>
                </a:lnTo>
                <a:lnTo>
                  <a:pt x="4890" y="244"/>
                </a:lnTo>
                <a:lnTo>
                  <a:pt x="4900" y="239"/>
                </a:lnTo>
                <a:lnTo>
                  <a:pt x="4910" y="235"/>
                </a:lnTo>
                <a:lnTo>
                  <a:pt x="4921" y="231"/>
                </a:lnTo>
                <a:lnTo>
                  <a:pt x="4931" y="228"/>
                </a:lnTo>
                <a:lnTo>
                  <a:pt x="4942" y="226"/>
                </a:lnTo>
                <a:lnTo>
                  <a:pt x="4954" y="224"/>
                </a:lnTo>
                <a:lnTo>
                  <a:pt x="4965" y="222"/>
                </a:lnTo>
                <a:lnTo>
                  <a:pt x="4977" y="221"/>
                </a:lnTo>
                <a:lnTo>
                  <a:pt x="4989" y="221"/>
                </a:lnTo>
                <a:lnTo>
                  <a:pt x="5000" y="221"/>
                </a:lnTo>
                <a:lnTo>
                  <a:pt x="5011" y="222"/>
                </a:lnTo>
                <a:lnTo>
                  <a:pt x="5022" y="223"/>
                </a:lnTo>
                <a:lnTo>
                  <a:pt x="5032" y="225"/>
                </a:lnTo>
                <a:lnTo>
                  <a:pt x="5042" y="228"/>
                </a:lnTo>
                <a:lnTo>
                  <a:pt x="5052" y="230"/>
                </a:lnTo>
                <a:lnTo>
                  <a:pt x="5061" y="234"/>
                </a:lnTo>
                <a:lnTo>
                  <a:pt x="5070" y="238"/>
                </a:lnTo>
                <a:lnTo>
                  <a:pt x="5079" y="242"/>
                </a:lnTo>
                <a:lnTo>
                  <a:pt x="5087" y="246"/>
                </a:lnTo>
                <a:lnTo>
                  <a:pt x="5095" y="251"/>
                </a:lnTo>
                <a:lnTo>
                  <a:pt x="5099" y="254"/>
                </a:lnTo>
                <a:lnTo>
                  <a:pt x="5102" y="257"/>
                </a:lnTo>
                <a:lnTo>
                  <a:pt x="5110" y="263"/>
                </a:lnTo>
                <a:lnTo>
                  <a:pt x="5117" y="269"/>
                </a:lnTo>
                <a:lnTo>
                  <a:pt x="5123" y="275"/>
                </a:lnTo>
                <a:lnTo>
                  <a:pt x="5130" y="282"/>
                </a:lnTo>
                <a:lnTo>
                  <a:pt x="5130" y="230"/>
                </a:lnTo>
                <a:lnTo>
                  <a:pt x="5219" y="230"/>
                </a:lnTo>
                <a:lnTo>
                  <a:pt x="5219" y="677"/>
                </a:lnTo>
                <a:close/>
                <a:moveTo>
                  <a:pt x="4372" y="408"/>
                </a:moveTo>
                <a:lnTo>
                  <a:pt x="4372" y="676"/>
                </a:lnTo>
                <a:lnTo>
                  <a:pt x="4283" y="676"/>
                </a:lnTo>
                <a:lnTo>
                  <a:pt x="4283" y="409"/>
                </a:lnTo>
                <a:lnTo>
                  <a:pt x="4282" y="391"/>
                </a:lnTo>
                <a:lnTo>
                  <a:pt x="4282" y="382"/>
                </a:lnTo>
                <a:lnTo>
                  <a:pt x="4281" y="374"/>
                </a:lnTo>
                <a:lnTo>
                  <a:pt x="4278" y="360"/>
                </a:lnTo>
                <a:lnTo>
                  <a:pt x="4275" y="348"/>
                </a:lnTo>
                <a:lnTo>
                  <a:pt x="4271" y="337"/>
                </a:lnTo>
                <a:lnTo>
                  <a:pt x="4266" y="328"/>
                </a:lnTo>
                <a:lnTo>
                  <a:pt x="4261" y="320"/>
                </a:lnTo>
                <a:lnTo>
                  <a:pt x="4255" y="314"/>
                </a:lnTo>
                <a:lnTo>
                  <a:pt x="4249" y="309"/>
                </a:lnTo>
                <a:lnTo>
                  <a:pt x="4243" y="305"/>
                </a:lnTo>
                <a:lnTo>
                  <a:pt x="4237" y="302"/>
                </a:lnTo>
                <a:lnTo>
                  <a:pt x="4231" y="300"/>
                </a:lnTo>
                <a:lnTo>
                  <a:pt x="4225" y="298"/>
                </a:lnTo>
                <a:lnTo>
                  <a:pt x="4220" y="297"/>
                </a:lnTo>
                <a:lnTo>
                  <a:pt x="4214" y="297"/>
                </a:lnTo>
                <a:lnTo>
                  <a:pt x="4210" y="297"/>
                </a:lnTo>
                <a:lnTo>
                  <a:pt x="4206" y="297"/>
                </a:lnTo>
                <a:lnTo>
                  <a:pt x="4201" y="297"/>
                </a:lnTo>
                <a:lnTo>
                  <a:pt x="4195" y="298"/>
                </a:lnTo>
                <a:lnTo>
                  <a:pt x="4189" y="299"/>
                </a:lnTo>
                <a:lnTo>
                  <a:pt x="4183" y="301"/>
                </a:lnTo>
                <a:lnTo>
                  <a:pt x="4176" y="304"/>
                </a:lnTo>
                <a:lnTo>
                  <a:pt x="4169" y="308"/>
                </a:lnTo>
                <a:lnTo>
                  <a:pt x="4163" y="313"/>
                </a:lnTo>
                <a:lnTo>
                  <a:pt x="4156" y="320"/>
                </a:lnTo>
                <a:lnTo>
                  <a:pt x="4150" y="327"/>
                </a:lnTo>
                <a:lnTo>
                  <a:pt x="4147" y="332"/>
                </a:lnTo>
                <a:lnTo>
                  <a:pt x="4144" y="337"/>
                </a:lnTo>
                <a:lnTo>
                  <a:pt x="4142" y="342"/>
                </a:lnTo>
                <a:lnTo>
                  <a:pt x="4139" y="348"/>
                </a:lnTo>
                <a:lnTo>
                  <a:pt x="4137" y="354"/>
                </a:lnTo>
                <a:lnTo>
                  <a:pt x="4135" y="361"/>
                </a:lnTo>
                <a:lnTo>
                  <a:pt x="4134" y="368"/>
                </a:lnTo>
                <a:lnTo>
                  <a:pt x="4132" y="375"/>
                </a:lnTo>
                <a:lnTo>
                  <a:pt x="4130" y="392"/>
                </a:lnTo>
                <a:lnTo>
                  <a:pt x="4130" y="402"/>
                </a:lnTo>
                <a:lnTo>
                  <a:pt x="4129" y="412"/>
                </a:lnTo>
                <a:lnTo>
                  <a:pt x="4129" y="676"/>
                </a:lnTo>
                <a:lnTo>
                  <a:pt x="4040" y="676"/>
                </a:lnTo>
                <a:lnTo>
                  <a:pt x="4040" y="409"/>
                </a:lnTo>
                <a:lnTo>
                  <a:pt x="4040" y="391"/>
                </a:lnTo>
                <a:lnTo>
                  <a:pt x="4039" y="382"/>
                </a:lnTo>
                <a:lnTo>
                  <a:pt x="4038" y="374"/>
                </a:lnTo>
                <a:lnTo>
                  <a:pt x="4036" y="360"/>
                </a:lnTo>
                <a:lnTo>
                  <a:pt x="4032" y="348"/>
                </a:lnTo>
                <a:lnTo>
                  <a:pt x="4028" y="337"/>
                </a:lnTo>
                <a:lnTo>
                  <a:pt x="4023" y="328"/>
                </a:lnTo>
                <a:lnTo>
                  <a:pt x="4018" y="320"/>
                </a:lnTo>
                <a:lnTo>
                  <a:pt x="4012" y="314"/>
                </a:lnTo>
                <a:lnTo>
                  <a:pt x="4007" y="309"/>
                </a:lnTo>
                <a:lnTo>
                  <a:pt x="4001" y="305"/>
                </a:lnTo>
                <a:lnTo>
                  <a:pt x="3994" y="302"/>
                </a:lnTo>
                <a:lnTo>
                  <a:pt x="3988" y="300"/>
                </a:lnTo>
                <a:lnTo>
                  <a:pt x="3983" y="298"/>
                </a:lnTo>
                <a:lnTo>
                  <a:pt x="3977" y="297"/>
                </a:lnTo>
                <a:lnTo>
                  <a:pt x="3972" y="297"/>
                </a:lnTo>
                <a:lnTo>
                  <a:pt x="3967" y="297"/>
                </a:lnTo>
                <a:lnTo>
                  <a:pt x="3963" y="297"/>
                </a:lnTo>
                <a:lnTo>
                  <a:pt x="3959" y="297"/>
                </a:lnTo>
                <a:lnTo>
                  <a:pt x="3953" y="298"/>
                </a:lnTo>
                <a:lnTo>
                  <a:pt x="3947" y="299"/>
                </a:lnTo>
                <a:lnTo>
                  <a:pt x="3941" y="301"/>
                </a:lnTo>
                <a:lnTo>
                  <a:pt x="3934" y="304"/>
                </a:lnTo>
                <a:lnTo>
                  <a:pt x="3928" y="308"/>
                </a:lnTo>
                <a:lnTo>
                  <a:pt x="3921" y="313"/>
                </a:lnTo>
                <a:lnTo>
                  <a:pt x="3915" y="320"/>
                </a:lnTo>
                <a:lnTo>
                  <a:pt x="3909" y="327"/>
                </a:lnTo>
                <a:lnTo>
                  <a:pt x="3906" y="332"/>
                </a:lnTo>
                <a:lnTo>
                  <a:pt x="3903" y="337"/>
                </a:lnTo>
                <a:lnTo>
                  <a:pt x="3898" y="348"/>
                </a:lnTo>
                <a:lnTo>
                  <a:pt x="3894" y="361"/>
                </a:lnTo>
                <a:lnTo>
                  <a:pt x="3893" y="368"/>
                </a:lnTo>
                <a:lnTo>
                  <a:pt x="3891" y="375"/>
                </a:lnTo>
                <a:lnTo>
                  <a:pt x="3889" y="392"/>
                </a:lnTo>
                <a:lnTo>
                  <a:pt x="3889" y="402"/>
                </a:lnTo>
                <a:lnTo>
                  <a:pt x="3889" y="412"/>
                </a:lnTo>
                <a:lnTo>
                  <a:pt x="3889" y="676"/>
                </a:lnTo>
                <a:lnTo>
                  <a:pt x="3800" y="676"/>
                </a:lnTo>
                <a:lnTo>
                  <a:pt x="3800" y="230"/>
                </a:lnTo>
                <a:lnTo>
                  <a:pt x="3885" y="230"/>
                </a:lnTo>
                <a:lnTo>
                  <a:pt x="3885" y="281"/>
                </a:lnTo>
                <a:lnTo>
                  <a:pt x="3890" y="272"/>
                </a:lnTo>
                <a:lnTo>
                  <a:pt x="3895" y="264"/>
                </a:lnTo>
                <a:lnTo>
                  <a:pt x="3901" y="258"/>
                </a:lnTo>
                <a:lnTo>
                  <a:pt x="3907" y="251"/>
                </a:lnTo>
                <a:lnTo>
                  <a:pt x="3914" y="246"/>
                </a:lnTo>
                <a:lnTo>
                  <a:pt x="3921" y="241"/>
                </a:lnTo>
                <a:lnTo>
                  <a:pt x="3928" y="237"/>
                </a:lnTo>
                <a:lnTo>
                  <a:pt x="3935" y="233"/>
                </a:lnTo>
                <a:lnTo>
                  <a:pt x="3942" y="230"/>
                </a:lnTo>
                <a:lnTo>
                  <a:pt x="3950" y="227"/>
                </a:lnTo>
                <a:lnTo>
                  <a:pt x="3964" y="224"/>
                </a:lnTo>
                <a:lnTo>
                  <a:pt x="3971" y="222"/>
                </a:lnTo>
                <a:lnTo>
                  <a:pt x="3978" y="221"/>
                </a:lnTo>
                <a:lnTo>
                  <a:pt x="3990" y="221"/>
                </a:lnTo>
                <a:lnTo>
                  <a:pt x="4000" y="221"/>
                </a:lnTo>
                <a:lnTo>
                  <a:pt x="4008" y="222"/>
                </a:lnTo>
                <a:lnTo>
                  <a:pt x="4017" y="223"/>
                </a:lnTo>
                <a:lnTo>
                  <a:pt x="4026" y="225"/>
                </a:lnTo>
                <a:lnTo>
                  <a:pt x="4034" y="228"/>
                </a:lnTo>
                <a:lnTo>
                  <a:pt x="4042" y="231"/>
                </a:lnTo>
                <a:lnTo>
                  <a:pt x="4050" y="234"/>
                </a:lnTo>
                <a:lnTo>
                  <a:pt x="4057" y="238"/>
                </a:lnTo>
                <a:lnTo>
                  <a:pt x="4064" y="243"/>
                </a:lnTo>
                <a:lnTo>
                  <a:pt x="4071" y="248"/>
                </a:lnTo>
                <a:lnTo>
                  <a:pt x="4078" y="254"/>
                </a:lnTo>
                <a:lnTo>
                  <a:pt x="4084" y="261"/>
                </a:lnTo>
                <a:lnTo>
                  <a:pt x="4090" y="268"/>
                </a:lnTo>
                <a:lnTo>
                  <a:pt x="4096" y="275"/>
                </a:lnTo>
                <a:lnTo>
                  <a:pt x="4101" y="283"/>
                </a:lnTo>
                <a:lnTo>
                  <a:pt x="4105" y="292"/>
                </a:lnTo>
                <a:lnTo>
                  <a:pt x="4111" y="282"/>
                </a:lnTo>
                <a:lnTo>
                  <a:pt x="4118" y="273"/>
                </a:lnTo>
                <a:lnTo>
                  <a:pt x="4125" y="265"/>
                </a:lnTo>
                <a:lnTo>
                  <a:pt x="4133" y="257"/>
                </a:lnTo>
                <a:lnTo>
                  <a:pt x="4140" y="251"/>
                </a:lnTo>
                <a:lnTo>
                  <a:pt x="4148" y="245"/>
                </a:lnTo>
                <a:lnTo>
                  <a:pt x="4157" y="240"/>
                </a:lnTo>
                <a:lnTo>
                  <a:pt x="4165" y="235"/>
                </a:lnTo>
                <a:lnTo>
                  <a:pt x="4174" y="232"/>
                </a:lnTo>
                <a:lnTo>
                  <a:pt x="4182" y="229"/>
                </a:lnTo>
                <a:lnTo>
                  <a:pt x="4191" y="226"/>
                </a:lnTo>
                <a:lnTo>
                  <a:pt x="4199" y="224"/>
                </a:lnTo>
                <a:lnTo>
                  <a:pt x="4207" y="223"/>
                </a:lnTo>
                <a:lnTo>
                  <a:pt x="4214" y="222"/>
                </a:lnTo>
                <a:lnTo>
                  <a:pt x="4228" y="221"/>
                </a:lnTo>
                <a:lnTo>
                  <a:pt x="4241" y="221"/>
                </a:lnTo>
                <a:lnTo>
                  <a:pt x="4254" y="223"/>
                </a:lnTo>
                <a:lnTo>
                  <a:pt x="4267" y="225"/>
                </a:lnTo>
                <a:lnTo>
                  <a:pt x="4280" y="229"/>
                </a:lnTo>
                <a:lnTo>
                  <a:pt x="4292" y="234"/>
                </a:lnTo>
                <a:lnTo>
                  <a:pt x="4298" y="237"/>
                </a:lnTo>
                <a:lnTo>
                  <a:pt x="4304" y="241"/>
                </a:lnTo>
                <a:lnTo>
                  <a:pt x="4310" y="244"/>
                </a:lnTo>
                <a:lnTo>
                  <a:pt x="4316" y="249"/>
                </a:lnTo>
                <a:lnTo>
                  <a:pt x="4321" y="253"/>
                </a:lnTo>
                <a:lnTo>
                  <a:pt x="4327" y="258"/>
                </a:lnTo>
                <a:lnTo>
                  <a:pt x="4332" y="264"/>
                </a:lnTo>
                <a:lnTo>
                  <a:pt x="4337" y="270"/>
                </a:lnTo>
                <a:lnTo>
                  <a:pt x="4341" y="276"/>
                </a:lnTo>
                <a:lnTo>
                  <a:pt x="4346" y="283"/>
                </a:lnTo>
                <a:lnTo>
                  <a:pt x="4350" y="290"/>
                </a:lnTo>
                <a:lnTo>
                  <a:pt x="4354" y="298"/>
                </a:lnTo>
                <a:lnTo>
                  <a:pt x="4357" y="307"/>
                </a:lnTo>
                <a:lnTo>
                  <a:pt x="4360" y="316"/>
                </a:lnTo>
                <a:lnTo>
                  <a:pt x="4363" y="325"/>
                </a:lnTo>
                <a:lnTo>
                  <a:pt x="4366" y="335"/>
                </a:lnTo>
                <a:lnTo>
                  <a:pt x="4368" y="346"/>
                </a:lnTo>
                <a:lnTo>
                  <a:pt x="4370" y="357"/>
                </a:lnTo>
                <a:lnTo>
                  <a:pt x="4371" y="369"/>
                </a:lnTo>
                <a:lnTo>
                  <a:pt x="4372" y="381"/>
                </a:lnTo>
                <a:lnTo>
                  <a:pt x="4372" y="394"/>
                </a:lnTo>
                <a:lnTo>
                  <a:pt x="4372" y="408"/>
                </a:lnTo>
                <a:close/>
                <a:moveTo>
                  <a:pt x="3177" y="685"/>
                </a:moveTo>
                <a:lnTo>
                  <a:pt x="3165" y="685"/>
                </a:lnTo>
                <a:lnTo>
                  <a:pt x="3153" y="684"/>
                </a:lnTo>
                <a:lnTo>
                  <a:pt x="3142" y="683"/>
                </a:lnTo>
                <a:lnTo>
                  <a:pt x="3130" y="681"/>
                </a:lnTo>
                <a:lnTo>
                  <a:pt x="3119" y="678"/>
                </a:lnTo>
                <a:lnTo>
                  <a:pt x="3108" y="675"/>
                </a:lnTo>
                <a:lnTo>
                  <a:pt x="3097" y="671"/>
                </a:lnTo>
                <a:lnTo>
                  <a:pt x="3087" y="667"/>
                </a:lnTo>
                <a:lnTo>
                  <a:pt x="3076" y="663"/>
                </a:lnTo>
                <a:lnTo>
                  <a:pt x="3066" y="658"/>
                </a:lnTo>
                <a:lnTo>
                  <a:pt x="3057" y="652"/>
                </a:lnTo>
                <a:lnTo>
                  <a:pt x="3047" y="646"/>
                </a:lnTo>
                <a:lnTo>
                  <a:pt x="3038" y="639"/>
                </a:lnTo>
                <a:lnTo>
                  <a:pt x="3029" y="633"/>
                </a:lnTo>
                <a:lnTo>
                  <a:pt x="3021" y="625"/>
                </a:lnTo>
                <a:lnTo>
                  <a:pt x="3013" y="618"/>
                </a:lnTo>
                <a:lnTo>
                  <a:pt x="3005" y="610"/>
                </a:lnTo>
                <a:lnTo>
                  <a:pt x="2998" y="601"/>
                </a:lnTo>
                <a:lnTo>
                  <a:pt x="2991" y="592"/>
                </a:lnTo>
                <a:lnTo>
                  <a:pt x="2985" y="583"/>
                </a:lnTo>
                <a:lnTo>
                  <a:pt x="2979" y="574"/>
                </a:lnTo>
                <a:lnTo>
                  <a:pt x="2973" y="564"/>
                </a:lnTo>
                <a:lnTo>
                  <a:pt x="2968" y="554"/>
                </a:lnTo>
                <a:lnTo>
                  <a:pt x="2963" y="544"/>
                </a:lnTo>
                <a:lnTo>
                  <a:pt x="2959" y="533"/>
                </a:lnTo>
                <a:lnTo>
                  <a:pt x="2956" y="523"/>
                </a:lnTo>
                <a:lnTo>
                  <a:pt x="2952" y="512"/>
                </a:lnTo>
                <a:lnTo>
                  <a:pt x="2950" y="500"/>
                </a:lnTo>
                <a:lnTo>
                  <a:pt x="2948" y="489"/>
                </a:lnTo>
                <a:lnTo>
                  <a:pt x="2946" y="477"/>
                </a:lnTo>
                <a:lnTo>
                  <a:pt x="2945" y="466"/>
                </a:lnTo>
                <a:lnTo>
                  <a:pt x="2945" y="453"/>
                </a:lnTo>
                <a:lnTo>
                  <a:pt x="2945" y="441"/>
                </a:lnTo>
                <a:lnTo>
                  <a:pt x="2946" y="429"/>
                </a:lnTo>
                <a:lnTo>
                  <a:pt x="2948" y="417"/>
                </a:lnTo>
                <a:lnTo>
                  <a:pt x="2950" y="406"/>
                </a:lnTo>
                <a:lnTo>
                  <a:pt x="2952" y="395"/>
                </a:lnTo>
                <a:lnTo>
                  <a:pt x="2956" y="384"/>
                </a:lnTo>
                <a:lnTo>
                  <a:pt x="2959" y="373"/>
                </a:lnTo>
                <a:lnTo>
                  <a:pt x="2963" y="362"/>
                </a:lnTo>
                <a:lnTo>
                  <a:pt x="2968" y="352"/>
                </a:lnTo>
                <a:lnTo>
                  <a:pt x="2973" y="342"/>
                </a:lnTo>
                <a:lnTo>
                  <a:pt x="2979" y="332"/>
                </a:lnTo>
                <a:lnTo>
                  <a:pt x="2985" y="323"/>
                </a:lnTo>
                <a:lnTo>
                  <a:pt x="2991" y="314"/>
                </a:lnTo>
                <a:lnTo>
                  <a:pt x="2998" y="305"/>
                </a:lnTo>
                <a:lnTo>
                  <a:pt x="3005" y="297"/>
                </a:lnTo>
                <a:lnTo>
                  <a:pt x="3013" y="289"/>
                </a:lnTo>
                <a:lnTo>
                  <a:pt x="3021" y="281"/>
                </a:lnTo>
                <a:lnTo>
                  <a:pt x="3029" y="274"/>
                </a:lnTo>
                <a:lnTo>
                  <a:pt x="3038" y="267"/>
                </a:lnTo>
                <a:lnTo>
                  <a:pt x="3047" y="260"/>
                </a:lnTo>
                <a:lnTo>
                  <a:pt x="3057" y="254"/>
                </a:lnTo>
                <a:lnTo>
                  <a:pt x="3066" y="249"/>
                </a:lnTo>
                <a:lnTo>
                  <a:pt x="3076" y="244"/>
                </a:lnTo>
                <a:lnTo>
                  <a:pt x="3087" y="239"/>
                </a:lnTo>
                <a:lnTo>
                  <a:pt x="3097" y="235"/>
                </a:lnTo>
                <a:lnTo>
                  <a:pt x="3108" y="231"/>
                </a:lnTo>
                <a:lnTo>
                  <a:pt x="3119" y="228"/>
                </a:lnTo>
                <a:lnTo>
                  <a:pt x="3130" y="226"/>
                </a:lnTo>
                <a:lnTo>
                  <a:pt x="3142" y="224"/>
                </a:lnTo>
                <a:lnTo>
                  <a:pt x="3153" y="222"/>
                </a:lnTo>
                <a:lnTo>
                  <a:pt x="3165" y="221"/>
                </a:lnTo>
                <a:lnTo>
                  <a:pt x="3177" y="221"/>
                </a:lnTo>
                <a:lnTo>
                  <a:pt x="3189" y="221"/>
                </a:lnTo>
                <a:lnTo>
                  <a:pt x="3201" y="222"/>
                </a:lnTo>
                <a:lnTo>
                  <a:pt x="3212" y="224"/>
                </a:lnTo>
                <a:lnTo>
                  <a:pt x="3224" y="226"/>
                </a:lnTo>
                <a:lnTo>
                  <a:pt x="3235" y="228"/>
                </a:lnTo>
                <a:lnTo>
                  <a:pt x="3246" y="231"/>
                </a:lnTo>
                <a:lnTo>
                  <a:pt x="3257" y="235"/>
                </a:lnTo>
                <a:lnTo>
                  <a:pt x="3267" y="239"/>
                </a:lnTo>
                <a:lnTo>
                  <a:pt x="3278" y="244"/>
                </a:lnTo>
                <a:lnTo>
                  <a:pt x="3288" y="249"/>
                </a:lnTo>
                <a:lnTo>
                  <a:pt x="3297" y="254"/>
                </a:lnTo>
                <a:lnTo>
                  <a:pt x="3307" y="260"/>
                </a:lnTo>
                <a:lnTo>
                  <a:pt x="3316" y="267"/>
                </a:lnTo>
                <a:lnTo>
                  <a:pt x="3325" y="274"/>
                </a:lnTo>
                <a:lnTo>
                  <a:pt x="3333" y="281"/>
                </a:lnTo>
                <a:lnTo>
                  <a:pt x="3341" y="289"/>
                </a:lnTo>
                <a:lnTo>
                  <a:pt x="3349" y="297"/>
                </a:lnTo>
                <a:lnTo>
                  <a:pt x="3356" y="305"/>
                </a:lnTo>
                <a:lnTo>
                  <a:pt x="3363" y="314"/>
                </a:lnTo>
                <a:lnTo>
                  <a:pt x="3369" y="323"/>
                </a:lnTo>
                <a:lnTo>
                  <a:pt x="3375" y="332"/>
                </a:lnTo>
                <a:lnTo>
                  <a:pt x="3381" y="342"/>
                </a:lnTo>
                <a:lnTo>
                  <a:pt x="3386" y="352"/>
                </a:lnTo>
                <a:lnTo>
                  <a:pt x="3391" y="362"/>
                </a:lnTo>
                <a:lnTo>
                  <a:pt x="3395" y="373"/>
                </a:lnTo>
                <a:lnTo>
                  <a:pt x="3398" y="384"/>
                </a:lnTo>
                <a:lnTo>
                  <a:pt x="3401" y="395"/>
                </a:lnTo>
                <a:lnTo>
                  <a:pt x="3404" y="406"/>
                </a:lnTo>
                <a:lnTo>
                  <a:pt x="3406" y="417"/>
                </a:lnTo>
                <a:lnTo>
                  <a:pt x="3408" y="429"/>
                </a:lnTo>
                <a:lnTo>
                  <a:pt x="3408" y="441"/>
                </a:lnTo>
                <a:lnTo>
                  <a:pt x="3409" y="453"/>
                </a:lnTo>
                <a:lnTo>
                  <a:pt x="3408" y="466"/>
                </a:lnTo>
                <a:lnTo>
                  <a:pt x="3408" y="477"/>
                </a:lnTo>
                <a:lnTo>
                  <a:pt x="3406" y="489"/>
                </a:lnTo>
                <a:lnTo>
                  <a:pt x="3404" y="500"/>
                </a:lnTo>
                <a:lnTo>
                  <a:pt x="3401" y="512"/>
                </a:lnTo>
                <a:lnTo>
                  <a:pt x="3398" y="523"/>
                </a:lnTo>
                <a:lnTo>
                  <a:pt x="3395" y="533"/>
                </a:lnTo>
                <a:lnTo>
                  <a:pt x="3391" y="544"/>
                </a:lnTo>
                <a:lnTo>
                  <a:pt x="3386" y="554"/>
                </a:lnTo>
                <a:lnTo>
                  <a:pt x="3381" y="564"/>
                </a:lnTo>
                <a:lnTo>
                  <a:pt x="3375" y="574"/>
                </a:lnTo>
                <a:lnTo>
                  <a:pt x="3369" y="583"/>
                </a:lnTo>
                <a:lnTo>
                  <a:pt x="3363" y="592"/>
                </a:lnTo>
                <a:lnTo>
                  <a:pt x="3356" y="601"/>
                </a:lnTo>
                <a:lnTo>
                  <a:pt x="3349" y="610"/>
                </a:lnTo>
                <a:lnTo>
                  <a:pt x="3341" y="618"/>
                </a:lnTo>
                <a:lnTo>
                  <a:pt x="3333" y="625"/>
                </a:lnTo>
                <a:lnTo>
                  <a:pt x="3325" y="633"/>
                </a:lnTo>
                <a:lnTo>
                  <a:pt x="3316" y="639"/>
                </a:lnTo>
                <a:lnTo>
                  <a:pt x="3307" y="646"/>
                </a:lnTo>
                <a:lnTo>
                  <a:pt x="3297" y="652"/>
                </a:lnTo>
                <a:lnTo>
                  <a:pt x="3288" y="658"/>
                </a:lnTo>
                <a:lnTo>
                  <a:pt x="3278" y="663"/>
                </a:lnTo>
                <a:lnTo>
                  <a:pt x="3267" y="667"/>
                </a:lnTo>
                <a:lnTo>
                  <a:pt x="3257" y="671"/>
                </a:lnTo>
                <a:lnTo>
                  <a:pt x="3246" y="675"/>
                </a:lnTo>
                <a:lnTo>
                  <a:pt x="3235" y="678"/>
                </a:lnTo>
                <a:lnTo>
                  <a:pt x="3224" y="681"/>
                </a:lnTo>
                <a:lnTo>
                  <a:pt x="3212" y="683"/>
                </a:lnTo>
                <a:lnTo>
                  <a:pt x="3201" y="684"/>
                </a:lnTo>
                <a:lnTo>
                  <a:pt x="3189" y="685"/>
                </a:lnTo>
                <a:lnTo>
                  <a:pt x="3177" y="685"/>
                </a:lnTo>
                <a:close/>
                <a:moveTo>
                  <a:pt x="2491" y="677"/>
                </a:moveTo>
                <a:lnTo>
                  <a:pt x="2402" y="677"/>
                </a:lnTo>
                <a:lnTo>
                  <a:pt x="2402" y="453"/>
                </a:lnTo>
                <a:lnTo>
                  <a:pt x="2402" y="444"/>
                </a:lnTo>
                <a:lnTo>
                  <a:pt x="2402" y="436"/>
                </a:lnTo>
                <a:lnTo>
                  <a:pt x="2401" y="428"/>
                </a:lnTo>
                <a:lnTo>
                  <a:pt x="2400" y="420"/>
                </a:lnTo>
                <a:lnTo>
                  <a:pt x="2398" y="412"/>
                </a:lnTo>
                <a:lnTo>
                  <a:pt x="2397" y="404"/>
                </a:lnTo>
                <a:lnTo>
                  <a:pt x="2395" y="397"/>
                </a:lnTo>
                <a:lnTo>
                  <a:pt x="2392" y="390"/>
                </a:lnTo>
                <a:lnTo>
                  <a:pt x="2390" y="383"/>
                </a:lnTo>
                <a:lnTo>
                  <a:pt x="2387" y="377"/>
                </a:lnTo>
                <a:lnTo>
                  <a:pt x="2381" y="364"/>
                </a:lnTo>
                <a:lnTo>
                  <a:pt x="2374" y="353"/>
                </a:lnTo>
                <a:lnTo>
                  <a:pt x="2370" y="347"/>
                </a:lnTo>
                <a:lnTo>
                  <a:pt x="2365" y="342"/>
                </a:lnTo>
                <a:lnTo>
                  <a:pt x="2361" y="337"/>
                </a:lnTo>
                <a:lnTo>
                  <a:pt x="2357" y="333"/>
                </a:lnTo>
                <a:lnTo>
                  <a:pt x="2347" y="325"/>
                </a:lnTo>
                <a:lnTo>
                  <a:pt x="2336" y="318"/>
                </a:lnTo>
                <a:lnTo>
                  <a:pt x="2331" y="314"/>
                </a:lnTo>
                <a:lnTo>
                  <a:pt x="2325" y="312"/>
                </a:lnTo>
                <a:lnTo>
                  <a:pt x="2319" y="309"/>
                </a:lnTo>
                <a:lnTo>
                  <a:pt x="2313" y="307"/>
                </a:lnTo>
                <a:lnTo>
                  <a:pt x="2307" y="305"/>
                </a:lnTo>
                <a:lnTo>
                  <a:pt x="2301" y="304"/>
                </a:lnTo>
                <a:lnTo>
                  <a:pt x="2295" y="303"/>
                </a:lnTo>
                <a:lnTo>
                  <a:pt x="2288" y="302"/>
                </a:lnTo>
                <a:lnTo>
                  <a:pt x="2275" y="301"/>
                </a:lnTo>
                <a:lnTo>
                  <a:pt x="2261" y="302"/>
                </a:lnTo>
                <a:lnTo>
                  <a:pt x="2254" y="303"/>
                </a:lnTo>
                <a:lnTo>
                  <a:pt x="2247" y="304"/>
                </a:lnTo>
                <a:lnTo>
                  <a:pt x="2234" y="307"/>
                </a:lnTo>
                <a:lnTo>
                  <a:pt x="2228" y="309"/>
                </a:lnTo>
                <a:lnTo>
                  <a:pt x="2222" y="312"/>
                </a:lnTo>
                <a:lnTo>
                  <a:pt x="2216" y="314"/>
                </a:lnTo>
                <a:lnTo>
                  <a:pt x="2210" y="318"/>
                </a:lnTo>
                <a:lnTo>
                  <a:pt x="2204" y="321"/>
                </a:lnTo>
                <a:lnTo>
                  <a:pt x="2198" y="325"/>
                </a:lnTo>
                <a:lnTo>
                  <a:pt x="2193" y="329"/>
                </a:lnTo>
                <a:lnTo>
                  <a:pt x="2188" y="333"/>
                </a:lnTo>
                <a:lnTo>
                  <a:pt x="2183" y="338"/>
                </a:lnTo>
                <a:lnTo>
                  <a:pt x="2178" y="343"/>
                </a:lnTo>
                <a:lnTo>
                  <a:pt x="2173" y="348"/>
                </a:lnTo>
                <a:lnTo>
                  <a:pt x="2169" y="354"/>
                </a:lnTo>
                <a:lnTo>
                  <a:pt x="2164" y="360"/>
                </a:lnTo>
                <a:lnTo>
                  <a:pt x="2160" y="366"/>
                </a:lnTo>
                <a:lnTo>
                  <a:pt x="2153" y="380"/>
                </a:lnTo>
                <a:lnTo>
                  <a:pt x="2150" y="387"/>
                </a:lnTo>
                <a:lnTo>
                  <a:pt x="2147" y="394"/>
                </a:lnTo>
                <a:lnTo>
                  <a:pt x="2142" y="410"/>
                </a:lnTo>
                <a:lnTo>
                  <a:pt x="2140" y="419"/>
                </a:lnTo>
                <a:lnTo>
                  <a:pt x="2139" y="427"/>
                </a:lnTo>
                <a:lnTo>
                  <a:pt x="2137" y="436"/>
                </a:lnTo>
                <a:lnTo>
                  <a:pt x="2137" y="446"/>
                </a:lnTo>
                <a:lnTo>
                  <a:pt x="2136" y="466"/>
                </a:lnTo>
                <a:lnTo>
                  <a:pt x="2136" y="677"/>
                </a:lnTo>
                <a:lnTo>
                  <a:pt x="2046" y="677"/>
                </a:lnTo>
                <a:lnTo>
                  <a:pt x="2046" y="230"/>
                </a:lnTo>
                <a:lnTo>
                  <a:pt x="2133" y="230"/>
                </a:lnTo>
                <a:lnTo>
                  <a:pt x="2133" y="306"/>
                </a:lnTo>
                <a:lnTo>
                  <a:pt x="2138" y="296"/>
                </a:lnTo>
                <a:lnTo>
                  <a:pt x="2144" y="287"/>
                </a:lnTo>
                <a:lnTo>
                  <a:pt x="2151" y="278"/>
                </a:lnTo>
                <a:lnTo>
                  <a:pt x="2159" y="270"/>
                </a:lnTo>
                <a:lnTo>
                  <a:pt x="2163" y="266"/>
                </a:lnTo>
                <a:lnTo>
                  <a:pt x="2167" y="262"/>
                </a:lnTo>
                <a:lnTo>
                  <a:pt x="2177" y="255"/>
                </a:lnTo>
                <a:lnTo>
                  <a:pt x="2186" y="249"/>
                </a:lnTo>
                <a:lnTo>
                  <a:pt x="2196" y="243"/>
                </a:lnTo>
                <a:lnTo>
                  <a:pt x="2207" y="238"/>
                </a:lnTo>
                <a:lnTo>
                  <a:pt x="2218" y="234"/>
                </a:lnTo>
                <a:lnTo>
                  <a:pt x="2229" y="230"/>
                </a:lnTo>
                <a:lnTo>
                  <a:pt x="2241" y="227"/>
                </a:lnTo>
                <a:lnTo>
                  <a:pt x="2253" y="224"/>
                </a:lnTo>
                <a:lnTo>
                  <a:pt x="2264" y="222"/>
                </a:lnTo>
                <a:lnTo>
                  <a:pt x="2276" y="221"/>
                </a:lnTo>
                <a:lnTo>
                  <a:pt x="2288" y="221"/>
                </a:lnTo>
                <a:lnTo>
                  <a:pt x="2307" y="222"/>
                </a:lnTo>
                <a:lnTo>
                  <a:pt x="2326" y="224"/>
                </a:lnTo>
                <a:lnTo>
                  <a:pt x="2335" y="225"/>
                </a:lnTo>
                <a:lnTo>
                  <a:pt x="2344" y="228"/>
                </a:lnTo>
                <a:lnTo>
                  <a:pt x="2353" y="230"/>
                </a:lnTo>
                <a:lnTo>
                  <a:pt x="2362" y="233"/>
                </a:lnTo>
                <a:lnTo>
                  <a:pt x="2371" y="236"/>
                </a:lnTo>
                <a:lnTo>
                  <a:pt x="2380" y="240"/>
                </a:lnTo>
                <a:lnTo>
                  <a:pt x="2388" y="244"/>
                </a:lnTo>
                <a:lnTo>
                  <a:pt x="2397" y="249"/>
                </a:lnTo>
                <a:lnTo>
                  <a:pt x="2405" y="254"/>
                </a:lnTo>
                <a:lnTo>
                  <a:pt x="2413" y="259"/>
                </a:lnTo>
                <a:lnTo>
                  <a:pt x="2420" y="265"/>
                </a:lnTo>
                <a:lnTo>
                  <a:pt x="2427" y="271"/>
                </a:lnTo>
                <a:lnTo>
                  <a:pt x="2434" y="278"/>
                </a:lnTo>
                <a:lnTo>
                  <a:pt x="2441" y="285"/>
                </a:lnTo>
                <a:lnTo>
                  <a:pt x="2448" y="293"/>
                </a:lnTo>
                <a:lnTo>
                  <a:pt x="2454" y="301"/>
                </a:lnTo>
                <a:lnTo>
                  <a:pt x="2459" y="310"/>
                </a:lnTo>
                <a:lnTo>
                  <a:pt x="2464" y="319"/>
                </a:lnTo>
                <a:lnTo>
                  <a:pt x="2469" y="328"/>
                </a:lnTo>
                <a:lnTo>
                  <a:pt x="2474" y="339"/>
                </a:lnTo>
                <a:lnTo>
                  <a:pt x="2478" y="349"/>
                </a:lnTo>
                <a:lnTo>
                  <a:pt x="2481" y="360"/>
                </a:lnTo>
                <a:lnTo>
                  <a:pt x="2484" y="372"/>
                </a:lnTo>
                <a:lnTo>
                  <a:pt x="2487" y="384"/>
                </a:lnTo>
                <a:lnTo>
                  <a:pt x="2489" y="397"/>
                </a:lnTo>
                <a:lnTo>
                  <a:pt x="2490" y="410"/>
                </a:lnTo>
                <a:lnTo>
                  <a:pt x="2491" y="424"/>
                </a:lnTo>
                <a:lnTo>
                  <a:pt x="2491" y="438"/>
                </a:lnTo>
                <a:lnTo>
                  <a:pt x="2491" y="677"/>
                </a:lnTo>
                <a:close/>
                <a:moveTo>
                  <a:pt x="1589" y="677"/>
                </a:moveTo>
                <a:lnTo>
                  <a:pt x="1499" y="677"/>
                </a:lnTo>
                <a:lnTo>
                  <a:pt x="1499" y="624"/>
                </a:lnTo>
                <a:lnTo>
                  <a:pt x="1496" y="627"/>
                </a:lnTo>
                <a:lnTo>
                  <a:pt x="1493" y="631"/>
                </a:lnTo>
                <a:lnTo>
                  <a:pt x="1487" y="637"/>
                </a:lnTo>
                <a:lnTo>
                  <a:pt x="1480" y="644"/>
                </a:lnTo>
                <a:lnTo>
                  <a:pt x="1473" y="649"/>
                </a:lnTo>
                <a:lnTo>
                  <a:pt x="1457" y="660"/>
                </a:lnTo>
                <a:lnTo>
                  <a:pt x="1449" y="665"/>
                </a:lnTo>
                <a:lnTo>
                  <a:pt x="1440" y="669"/>
                </a:lnTo>
                <a:lnTo>
                  <a:pt x="1431" y="673"/>
                </a:lnTo>
                <a:lnTo>
                  <a:pt x="1422" y="676"/>
                </a:lnTo>
                <a:lnTo>
                  <a:pt x="1412" y="679"/>
                </a:lnTo>
                <a:lnTo>
                  <a:pt x="1402" y="682"/>
                </a:lnTo>
                <a:lnTo>
                  <a:pt x="1392" y="684"/>
                </a:lnTo>
                <a:lnTo>
                  <a:pt x="1381" y="685"/>
                </a:lnTo>
                <a:lnTo>
                  <a:pt x="1370" y="686"/>
                </a:lnTo>
                <a:lnTo>
                  <a:pt x="1359" y="686"/>
                </a:lnTo>
                <a:lnTo>
                  <a:pt x="1347" y="686"/>
                </a:lnTo>
                <a:lnTo>
                  <a:pt x="1335" y="685"/>
                </a:lnTo>
                <a:lnTo>
                  <a:pt x="1323" y="684"/>
                </a:lnTo>
                <a:lnTo>
                  <a:pt x="1312" y="682"/>
                </a:lnTo>
                <a:lnTo>
                  <a:pt x="1301" y="679"/>
                </a:lnTo>
                <a:lnTo>
                  <a:pt x="1290" y="676"/>
                </a:lnTo>
                <a:lnTo>
                  <a:pt x="1280" y="672"/>
                </a:lnTo>
                <a:lnTo>
                  <a:pt x="1269" y="668"/>
                </a:lnTo>
                <a:lnTo>
                  <a:pt x="1259" y="663"/>
                </a:lnTo>
                <a:lnTo>
                  <a:pt x="1250" y="658"/>
                </a:lnTo>
                <a:lnTo>
                  <a:pt x="1240" y="653"/>
                </a:lnTo>
                <a:lnTo>
                  <a:pt x="1231" y="647"/>
                </a:lnTo>
                <a:lnTo>
                  <a:pt x="1223" y="640"/>
                </a:lnTo>
                <a:lnTo>
                  <a:pt x="1214" y="633"/>
                </a:lnTo>
                <a:lnTo>
                  <a:pt x="1206" y="626"/>
                </a:lnTo>
                <a:lnTo>
                  <a:pt x="1199" y="618"/>
                </a:lnTo>
                <a:lnTo>
                  <a:pt x="1191" y="610"/>
                </a:lnTo>
                <a:lnTo>
                  <a:pt x="1184" y="602"/>
                </a:lnTo>
                <a:lnTo>
                  <a:pt x="1178" y="593"/>
                </a:lnTo>
                <a:lnTo>
                  <a:pt x="1172" y="584"/>
                </a:lnTo>
                <a:lnTo>
                  <a:pt x="1166" y="575"/>
                </a:lnTo>
                <a:lnTo>
                  <a:pt x="1161" y="565"/>
                </a:lnTo>
                <a:lnTo>
                  <a:pt x="1156" y="555"/>
                </a:lnTo>
                <a:lnTo>
                  <a:pt x="1152" y="545"/>
                </a:lnTo>
                <a:lnTo>
                  <a:pt x="1148" y="534"/>
                </a:lnTo>
                <a:lnTo>
                  <a:pt x="1144" y="523"/>
                </a:lnTo>
                <a:lnTo>
                  <a:pt x="1142" y="512"/>
                </a:lnTo>
                <a:lnTo>
                  <a:pt x="1139" y="501"/>
                </a:lnTo>
                <a:lnTo>
                  <a:pt x="1137" y="489"/>
                </a:lnTo>
                <a:lnTo>
                  <a:pt x="1136" y="478"/>
                </a:lnTo>
                <a:lnTo>
                  <a:pt x="1135" y="466"/>
                </a:lnTo>
                <a:lnTo>
                  <a:pt x="1135" y="453"/>
                </a:lnTo>
                <a:lnTo>
                  <a:pt x="1135" y="441"/>
                </a:lnTo>
                <a:lnTo>
                  <a:pt x="1136" y="429"/>
                </a:lnTo>
                <a:lnTo>
                  <a:pt x="1137" y="417"/>
                </a:lnTo>
                <a:lnTo>
                  <a:pt x="1139" y="406"/>
                </a:lnTo>
                <a:lnTo>
                  <a:pt x="1142" y="395"/>
                </a:lnTo>
                <a:lnTo>
                  <a:pt x="1143" y="389"/>
                </a:lnTo>
                <a:lnTo>
                  <a:pt x="1144" y="384"/>
                </a:lnTo>
                <a:lnTo>
                  <a:pt x="1148" y="373"/>
                </a:lnTo>
                <a:lnTo>
                  <a:pt x="1152" y="362"/>
                </a:lnTo>
                <a:lnTo>
                  <a:pt x="1156" y="352"/>
                </a:lnTo>
                <a:lnTo>
                  <a:pt x="1161" y="342"/>
                </a:lnTo>
                <a:lnTo>
                  <a:pt x="1166" y="332"/>
                </a:lnTo>
                <a:lnTo>
                  <a:pt x="1172" y="323"/>
                </a:lnTo>
                <a:lnTo>
                  <a:pt x="1178" y="314"/>
                </a:lnTo>
                <a:lnTo>
                  <a:pt x="1184" y="305"/>
                </a:lnTo>
                <a:lnTo>
                  <a:pt x="1191" y="297"/>
                </a:lnTo>
                <a:lnTo>
                  <a:pt x="1199" y="289"/>
                </a:lnTo>
                <a:lnTo>
                  <a:pt x="1206" y="281"/>
                </a:lnTo>
                <a:lnTo>
                  <a:pt x="1214" y="274"/>
                </a:lnTo>
                <a:lnTo>
                  <a:pt x="1218" y="270"/>
                </a:lnTo>
                <a:lnTo>
                  <a:pt x="1223" y="267"/>
                </a:lnTo>
                <a:lnTo>
                  <a:pt x="1231" y="260"/>
                </a:lnTo>
                <a:lnTo>
                  <a:pt x="1240" y="254"/>
                </a:lnTo>
                <a:lnTo>
                  <a:pt x="1250" y="249"/>
                </a:lnTo>
                <a:lnTo>
                  <a:pt x="1259" y="244"/>
                </a:lnTo>
                <a:lnTo>
                  <a:pt x="1269" y="239"/>
                </a:lnTo>
                <a:lnTo>
                  <a:pt x="1280" y="235"/>
                </a:lnTo>
                <a:lnTo>
                  <a:pt x="1290" y="231"/>
                </a:lnTo>
                <a:lnTo>
                  <a:pt x="1301" y="228"/>
                </a:lnTo>
                <a:lnTo>
                  <a:pt x="1312" y="226"/>
                </a:lnTo>
                <a:lnTo>
                  <a:pt x="1323" y="224"/>
                </a:lnTo>
                <a:lnTo>
                  <a:pt x="1335" y="222"/>
                </a:lnTo>
                <a:lnTo>
                  <a:pt x="1347" y="221"/>
                </a:lnTo>
                <a:lnTo>
                  <a:pt x="1359" y="221"/>
                </a:lnTo>
                <a:lnTo>
                  <a:pt x="1370" y="221"/>
                </a:lnTo>
                <a:lnTo>
                  <a:pt x="1381" y="222"/>
                </a:lnTo>
                <a:lnTo>
                  <a:pt x="1392" y="223"/>
                </a:lnTo>
                <a:lnTo>
                  <a:pt x="1402" y="225"/>
                </a:lnTo>
                <a:lnTo>
                  <a:pt x="1412" y="228"/>
                </a:lnTo>
                <a:lnTo>
                  <a:pt x="1421" y="230"/>
                </a:lnTo>
                <a:lnTo>
                  <a:pt x="1431" y="234"/>
                </a:lnTo>
                <a:lnTo>
                  <a:pt x="1440" y="238"/>
                </a:lnTo>
                <a:lnTo>
                  <a:pt x="1448" y="242"/>
                </a:lnTo>
                <a:lnTo>
                  <a:pt x="1457" y="246"/>
                </a:lnTo>
                <a:lnTo>
                  <a:pt x="1465" y="251"/>
                </a:lnTo>
                <a:lnTo>
                  <a:pt x="1468" y="254"/>
                </a:lnTo>
                <a:lnTo>
                  <a:pt x="1472" y="257"/>
                </a:lnTo>
                <a:lnTo>
                  <a:pt x="1479" y="263"/>
                </a:lnTo>
                <a:lnTo>
                  <a:pt x="1486" y="269"/>
                </a:lnTo>
                <a:lnTo>
                  <a:pt x="1493" y="275"/>
                </a:lnTo>
                <a:lnTo>
                  <a:pt x="1499" y="282"/>
                </a:lnTo>
                <a:lnTo>
                  <a:pt x="1499" y="230"/>
                </a:lnTo>
                <a:lnTo>
                  <a:pt x="1589" y="230"/>
                </a:lnTo>
                <a:lnTo>
                  <a:pt x="1589" y="677"/>
                </a:lnTo>
                <a:close/>
                <a:moveTo>
                  <a:pt x="466" y="686"/>
                </a:moveTo>
                <a:lnTo>
                  <a:pt x="452" y="686"/>
                </a:lnTo>
                <a:lnTo>
                  <a:pt x="438" y="685"/>
                </a:lnTo>
                <a:lnTo>
                  <a:pt x="424" y="684"/>
                </a:lnTo>
                <a:lnTo>
                  <a:pt x="410" y="682"/>
                </a:lnTo>
                <a:lnTo>
                  <a:pt x="395" y="679"/>
                </a:lnTo>
                <a:lnTo>
                  <a:pt x="380" y="676"/>
                </a:lnTo>
                <a:lnTo>
                  <a:pt x="365" y="672"/>
                </a:lnTo>
                <a:lnTo>
                  <a:pt x="350" y="667"/>
                </a:lnTo>
                <a:lnTo>
                  <a:pt x="335" y="662"/>
                </a:lnTo>
                <a:lnTo>
                  <a:pt x="319" y="655"/>
                </a:lnTo>
                <a:lnTo>
                  <a:pt x="304" y="648"/>
                </a:lnTo>
                <a:lnTo>
                  <a:pt x="290" y="640"/>
                </a:lnTo>
                <a:lnTo>
                  <a:pt x="275" y="632"/>
                </a:lnTo>
                <a:lnTo>
                  <a:pt x="261" y="622"/>
                </a:lnTo>
                <a:lnTo>
                  <a:pt x="247" y="611"/>
                </a:lnTo>
                <a:lnTo>
                  <a:pt x="240" y="606"/>
                </a:lnTo>
                <a:lnTo>
                  <a:pt x="233" y="600"/>
                </a:lnTo>
                <a:lnTo>
                  <a:pt x="241" y="590"/>
                </a:lnTo>
                <a:lnTo>
                  <a:pt x="258" y="567"/>
                </a:lnTo>
                <a:lnTo>
                  <a:pt x="283" y="534"/>
                </a:lnTo>
                <a:lnTo>
                  <a:pt x="286" y="537"/>
                </a:lnTo>
                <a:lnTo>
                  <a:pt x="296" y="545"/>
                </a:lnTo>
                <a:lnTo>
                  <a:pt x="303" y="551"/>
                </a:lnTo>
                <a:lnTo>
                  <a:pt x="311" y="557"/>
                </a:lnTo>
                <a:lnTo>
                  <a:pt x="321" y="563"/>
                </a:lnTo>
                <a:lnTo>
                  <a:pt x="332" y="570"/>
                </a:lnTo>
                <a:lnTo>
                  <a:pt x="345" y="577"/>
                </a:lnTo>
                <a:lnTo>
                  <a:pt x="358" y="583"/>
                </a:lnTo>
                <a:lnTo>
                  <a:pt x="365" y="586"/>
                </a:lnTo>
                <a:lnTo>
                  <a:pt x="373" y="589"/>
                </a:lnTo>
                <a:lnTo>
                  <a:pt x="388" y="595"/>
                </a:lnTo>
                <a:lnTo>
                  <a:pt x="396" y="597"/>
                </a:lnTo>
                <a:lnTo>
                  <a:pt x="405" y="599"/>
                </a:lnTo>
                <a:lnTo>
                  <a:pt x="414" y="601"/>
                </a:lnTo>
                <a:lnTo>
                  <a:pt x="423" y="603"/>
                </a:lnTo>
                <a:lnTo>
                  <a:pt x="432" y="604"/>
                </a:lnTo>
                <a:lnTo>
                  <a:pt x="441" y="605"/>
                </a:lnTo>
                <a:lnTo>
                  <a:pt x="460" y="606"/>
                </a:lnTo>
                <a:lnTo>
                  <a:pt x="478" y="606"/>
                </a:lnTo>
                <a:lnTo>
                  <a:pt x="494" y="605"/>
                </a:lnTo>
                <a:lnTo>
                  <a:pt x="508" y="603"/>
                </a:lnTo>
                <a:lnTo>
                  <a:pt x="521" y="600"/>
                </a:lnTo>
                <a:lnTo>
                  <a:pt x="533" y="597"/>
                </a:lnTo>
                <a:lnTo>
                  <a:pt x="543" y="594"/>
                </a:lnTo>
                <a:lnTo>
                  <a:pt x="551" y="590"/>
                </a:lnTo>
                <a:lnTo>
                  <a:pt x="559" y="585"/>
                </a:lnTo>
                <a:lnTo>
                  <a:pt x="565" y="581"/>
                </a:lnTo>
                <a:lnTo>
                  <a:pt x="568" y="579"/>
                </a:lnTo>
                <a:lnTo>
                  <a:pt x="571" y="576"/>
                </a:lnTo>
                <a:lnTo>
                  <a:pt x="575" y="571"/>
                </a:lnTo>
                <a:lnTo>
                  <a:pt x="578" y="567"/>
                </a:lnTo>
                <a:lnTo>
                  <a:pt x="580" y="562"/>
                </a:lnTo>
                <a:lnTo>
                  <a:pt x="582" y="557"/>
                </a:lnTo>
                <a:lnTo>
                  <a:pt x="583" y="552"/>
                </a:lnTo>
                <a:lnTo>
                  <a:pt x="583" y="548"/>
                </a:lnTo>
                <a:lnTo>
                  <a:pt x="583" y="544"/>
                </a:lnTo>
                <a:lnTo>
                  <a:pt x="583" y="540"/>
                </a:lnTo>
                <a:lnTo>
                  <a:pt x="582" y="537"/>
                </a:lnTo>
                <a:lnTo>
                  <a:pt x="580" y="534"/>
                </a:lnTo>
                <a:lnTo>
                  <a:pt x="577" y="527"/>
                </a:lnTo>
                <a:lnTo>
                  <a:pt x="575" y="525"/>
                </a:lnTo>
                <a:lnTo>
                  <a:pt x="572" y="522"/>
                </a:lnTo>
                <a:lnTo>
                  <a:pt x="569" y="520"/>
                </a:lnTo>
                <a:lnTo>
                  <a:pt x="566" y="517"/>
                </a:lnTo>
                <a:lnTo>
                  <a:pt x="559" y="513"/>
                </a:lnTo>
                <a:lnTo>
                  <a:pt x="551" y="510"/>
                </a:lnTo>
                <a:lnTo>
                  <a:pt x="542" y="507"/>
                </a:lnTo>
                <a:lnTo>
                  <a:pt x="532" y="504"/>
                </a:lnTo>
                <a:lnTo>
                  <a:pt x="521" y="502"/>
                </a:lnTo>
                <a:lnTo>
                  <a:pt x="498" y="498"/>
                </a:lnTo>
                <a:lnTo>
                  <a:pt x="447" y="491"/>
                </a:lnTo>
                <a:lnTo>
                  <a:pt x="412" y="486"/>
                </a:lnTo>
                <a:lnTo>
                  <a:pt x="394" y="484"/>
                </a:lnTo>
                <a:lnTo>
                  <a:pt x="376" y="480"/>
                </a:lnTo>
                <a:lnTo>
                  <a:pt x="358" y="476"/>
                </a:lnTo>
                <a:lnTo>
                  <a:pt x="341" y="472"/>
                </a:lnTo>
                <a:lnTo>
                  <a:pt x="324" y="466"/>
                </a:lnTo>
                <a:lnTo>
                  <a:pt x="308" y="460"/>
                </a:lnTo>
                <a:lnTo>
                  <a:pt x="301" y="456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9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49" y="294"/>
                </a:lnTo>
                <a:lnTo>
                  <a:pt x="644" y="302"/>
                </a:lnTo>
                <a:lnTo>
                  <a:pt x="627" y="326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0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1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1"/>
                </a:lnTo>
                <a:lnTo>
                  <a:pt x="327" y="355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3"/>
                </a:lnTo>
                <a:lnTo>
                  <a:pt x="443" y="407"/>
                </a:lnTo>
                <a:lnTo>
                  <a:pt x="473" y="411"/>
                </a:lnTo>
                <a:lnTo>
                  <a:pt x="513" y="416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3"/>
                </a:lnTo>
                <a:lnTo>
                  <a:pt x="645" y="468"/>
                </a:lnTo>
                <a:lnTo>
                  <a:pt x="649" y="473"/>
                </a:lnTo>
                <a:lnTo>
                  <a:pt x="654" y="479"/>
                </a:lnTo>
                <a:lnTo>
                  <a:pt x="658" y="484"/>
                </a:lnTo>
                <a:lnTo>
                  <a:pt x="662" y="491"/>
                </a:lnTo>
                <a:lnTo>
                  <a:pt x="665" y="497"/>
                </a:lnTo>
                <a:lnTo>
                  <a:pt x="668" y="504"/>
                </a:lnTo>
                <a:lnTo>
                  <a:pt x="670" y="512"/>
                </a:lnTo>
                <a:lnTo>
                  <a:pt x="672" y="519"/>
                </a:lnTo>
                <a:lnTo>
                  <a:pt x="673" y="528"/>
                </a:lnTo>
                <a:lnTo>
                  <a:pt x="674" y="536"/>
                </a:lnTo>
                <a:lnTo>
                  <a:pt x="674" y="545"/>
                </a:lnTo>
                <a:lnTo>
                  <a:pt x="674" y="553"/>
                </a:lnTo>
                <a:lnTo>
                  <a:pt x="673" y="560"/>
                </a:lnTo>
                <a:lnTo>
                  <a:pt x="672" y="567"/>
                </a:lnTo>
                <a:lnTo>
                  <a:pt x="670" y="574"/>
                </a:lnTo>
                <a:lnTo>
                  <a:pt x="668" y="581"/>
                </a:lnTo>
                <a:lnTo>
                  <a:pt x="666" y="588"/>
                </a:lnTo>
                <a:lnTo>
                  <a:pt x="663" y="594"/>
                </a:lnTo>
                <a:lnTo>
                  <a:pt x="659" y="601"/>
                </a:lnTo>
                <a:lnTo>
                  <a:pt x="655" y="607"/>
                </a:lnTo>
                <a:lnTo>
                  <a:pt x="651" y="613"/>
                </a:lnTo>
                <a:lnTo>
                  <a:pt x="646" y="619"/>
                </a:lnTo>
                <a:lnTo>
                  <a:pt x="641" y="625"/>
                </a:lnTo>
                <a:lnTo>
                  <a:pt x="635" y="630"/>
                </a:lnTo>
                <a:lnTo>
                  <a:pt x="629" y="635"/>
                </a:lnTo>
                <a:lnTo>
                  <a:pt x="623" y="640"/>
                </a:lnTo>
                <a:lnTo>
                  <a:pt x="616" y="645"/>
                </a:lnTo>
                <a:lnTo>
                  <a:pt x="609" y="650"/>
                </a:lnTo>
                <a:lnTo>
                  <a:pt x="602" y="654"/>
                </a:lnTo>
                <a:lnTo>
                  <a:pt x="586" y="662"/>
                </a:lnTo>
                <a:lnTo>
                  <a:pt x="569" y="669"/>
                </a:lnTo>
                <a:lnTo>
                  <a:pt x="560" y="673"/>
                </a:lnTo>
                <a:lnTo>
                  <a:pt x="550" y="675"/>
                </a:lnTo>
                <a:lnTo>
                  <a:pt x="531" y="680"/>
                </a:lnTo>
                <a:lnTo>
                  <a:pt x="510" y="683"/>
                </a:lnTo>
                <a:lnTo>
                  <a:pt x="499" y="685"/>
                </a:lnTo>
                <a:lnTo>
                  <a:pt x="488" y="686"/>
                </a:lnTo>
                <a:lnTo>
                  <a:pt x="466" y="686"/>
                </a:lnTo>
                <a:close/>
                <a:moveTo>
                  <a:pt x="0" y="0"/>
                </a:moveTo>
                <a:lnTo>
                  <a:pt x="0" y="453"/>
                </a:lnTo>
                <a:lnTo>
                  <a:pt x="0" y="908"/>
                </a:lnTo>
                <a:lnTo>
                  <a:pt x="680" y="908"/>
                </a:lnTo>
                <a:lnTo>
                  <a:pt x="1361" y="908"/>
                </a:lnTo>
                <a:lnTo>
                  <a:pt x="2041" y="908"/>
                </a:lnTo>
                <a:lnTo>
                  <a:pt x="2723" y="908"/>
                </a:lnTo>
                <a:lnTo>
                  <a:pt x="3403" y="908"/>
                </a:lnTo>
                <a:lnTo>
                  <a:pt x="4084" y="908"/>
                </a:lnTo>
                <a:lnTo>
                  <a:pt x="4765" y="908"/>
                </a:lnTo>
                <a:lnTo>
                  <a:pt x="5446" y="908"/>
                </a:lnTo>
                <a:lnTo>
                  <a:pt x="5446" y="453"/>
                </a:lnTo>
                <a:lnTo>
                  <a:pt x="5446" y="0"/>
                </a:lnTo>
                <a:lnTo>
                  <a:pt x="4765" y="0"/>
                </a:lnTo>
                <a:lnTo>
                  <a:pt x="4084" y="0"/>
                </a:lnTo>
                <a:lnTo>
                  <a:pt x="3403" y="0"/>
                </a:lnTo>
                <a:lnTo>
                  <a:pt x="2723" y="0"/>
                </a:lnTo>
                <a:lnTo>
                  <a:pt x="2041" y="0"/>
                </a:lnTo>
                <a:lnTo>
                  <a:pt x="1361" y="0"/>
                </a:lnTo>
                <a:lnTo>
                  <a:pt x="680" y="0"/>
                </a:lnTo>
                <a:lnTo>
                  <a:pt x="0" y="0"/>
                </a:lnTo>
                <a:close/>
                <a:moveTo>
                  <a:pt x="1367" y="297"/>
                </a:moveTo>
                <a:lnTo>
                  <a:pt x="1358" y="297"/>
                </a:lnTo>
                <a:lnTo>
                  <a:pt x="1349" y="298"/>
                </a:lnTo>
                <a:lnTo>
                  <a:pt x="1341" y="299"/>
                </a:lnTo>
                <a:lnTo>
                  <a:pt x="1333" y="300"/>
                </a:lnTo>
                <a:lnTo>
                  <a:pt x="1325" y="302"/>
                </a:lnTo>
                <a:lnTo>
                  <a:pt x="1318" y="305"/>
                </a:lnTo>
                <a:lnTo>
                  <a:pt x="1311" y="307"/>
                </a:lnTo>
                <a:lnTo>
                  <a:pt x="1304" y="311"/>
                </a:lnTo>
                <a:lnTo>
                  <a:pt x="1291" y="318"/>
                </a:lnTo>
                <a:lnTo>
                  <a:pt x="1279" y="327"/>
                </a:lnTo>
                <a:lnTo>
                  <a:pt x="1274" y="331"/>
                </a:lnTo>
                <a:lnTo>
                  <a:pt x="1269" y="336"/>
                </a:lnTo>
                <a:lnTo>
                  <a:pt x="1259" y="347"/>
                </a:lnTo>
                <a:lnTo>
                  <a:pt x="1255" y="353"/>
                </a:lnTo>
                <a:lnTo>
                  <a:pt x="1251" y="359"/>
                </a:lnTo>
                <a:lnTo>
                  <a:pt x="1244" y="371"/>
                </a:lnTo>
                <a:lnTo>
                  <a:pt x="1241" y="377"/>
                </a:lnTo>
                <a:lnTo>
                  <a:pt x="1238" y="384"/>
                </a:lnTo>
                <a:lnTo>
                  <a:pt x="1233" y="397"/>
                </a:lnTo>
                <a:lnTo>
                  <a:pt x="1229" y="411"/>
                </a:lnTo>
                <a:lnTo>
                  <a:pt x="1226" y="425"/>
                </a:lnTo>
                <a:lnTo>
                  <a:pt x="1225" y="439"/>
                </a:lnTo>
                <a:lnTo>
                  <a:pt x="1224" y="454"/>
                </a:lnTo>
                <a:lnTo>
                  <a:pt x="1225" y="469"/>
                </a:lnTo>
                <a:lnTo>
                  <a:pt x="1225" y="476"/>
                </a:lnTo>
                <a:lnTo>
                  <a:pt x="1226" y="483"/>
                </a:lnTo>
                <a:lnTo>
                  <a:pt x="1229" y="497"/>
                </a:lnTo>
                <a:lnTo>
                  <a:pt x="1231" y="504"/>
                </a:lnTo>
                <a:lnTo>
                  <a:pt x="1233" y="510"/>
                </a:lnTo>
                <a:lnTo>
                  <a:pt x="1235" y="517"/>
                </a:lnTo>
                <a:lnTo>
                  <a:pt x="1238" y="524"/>
                </a:lnTo>
                <a:lnTo>
                  <a:pt x="1241" y="530"/>
                </a:lnTo>
                <a:lnTo>
                  <a:pt x="1244" y="537"/>
                </a:lnTo>
                <a:lnTo>
                  <a:pt x="1247" y="543"/>
                </a:lnTo>
                <a:lnTo>
                  <a:pt x="1251" y="549"/>
                </a:lnTo>
                <a:lnTo>
                  <a:pt x="1255" y="555"/>
                </a:lnTo>
                <a:lnTo>
                  <a:pt x="1259" y="561"/>
                </a:lnTo>
                <a:lnTo>
                  <a:pt x="1264" y="566"/>
                </a:lnTo>
                <a:lnTo>
                  <a:pt x="1269" y="571"/>
                </a:lnTo>
                <a:lnTo>
                  <a:pt x="1274" y="576"/>
                </a:lnTo>
                <a:lnTo>
                  <a:pt x="1279" y="581"/>
                </a:lnTo>
                <a:lnTo>
                  <a:pt x="1285" y="585"/>
                </a:lnTo>
                <a:lnTo>
                  <a:pt x="1291" y="589"/>
                </a:lnTo>
                <a:lnTo>
                  <a:pt x="1297" y="593"/>
                </a:lnTo>
                <a:lnTo>
                  <a:pt x="1304" y="597"/>
                </a:lnTo>
                <a:lnTo>
                  <a:pt x="1311" y="600"/>
                </a:lnTo>
                <a:lnTo>
                  <a:pt x="1318" y="603"/>
                </a:lnTo>
                <a:lnTo>
                  <a:pt x="1325" y="605"/>
                </a:lnTo>
                <a:lnTo>
                  <a:pt x="1333" y="607"/>
                </a:lnTo>
                <a:lnTo>
                  <a:pt x="1341" y="608"/>
                </a:lnTo>
                <a:lnTo>
                  <a:pt x="1349" y="610"/>
                </a:lnTo>
                <a:lnTo>
                  <a:pt x="1358" y="610"/>
                </a:lnTo>
                <a:lnTo>
                  <a:pt x="1367" y="611"/>
                </a:lnTo>
                <a:lnTo>
                  <a:pt x="1379" y="610"/>
                </a:lnTo>
                <a:lnTo>
                  <a:pt x="1392" y="608"/>
                </a:lnTo>
                <a:lnTo>
                  <a:pt x="1405" y="605"/>
                </a:lnTo>
                <a:lnTo>
                  <a:pt x="1417" y="601"/>
                </a:lnTo>
                <a:lnTo>
                  <a:pt x="1423" y="599"/>
                </a:lnTo>
                <a:lnTo>
                  <a:pt x="1428" y="596"/>
                </a:lnTo>
                <a:lnTo>
                  <a:pt x="1440" y="589"/>
                </a:lnTo>
                <a:lnTo>
                  <a:pt x="1445" y="586"/>
                </a:lnTo>
                <a:lnTo>
                  <a:pt x="1450" y="582"/>
                </a:lnTo>
                <a:lnTo>
                  <a:pt x="1455" y="577"/>
                </a:lnTo>
                <a:lnTo>
                  <a:pt x="1460" y="573"/>
                </a:lnTo>
                <a:lnTo>
                  <a:pt x="1465" y="568"/>
                </a:lnTo>
                <a:lnTo>
                  <a:pt x="1469" y="562"/>
                </a:lnTo>
                <a:lnTo>
                  <a:pt x="1473" y="557"/>
                </a:lnTo>
                <a:lnTo>
                  <a:pt x="1477" y="551"/>
                </a:lnTo>
                <a:lnTo>
                  <a:pt x="1485" y="538"/>
                </a:lnTo>
                <a:lnTo>
                  <a:pt x="1488" y="531"/>
                </a:lnTo>
                <a:lnTo>
                  <a:pt x="1491" y="524"/>
                </a:lnTo>
                <a:lnTo>
                  <a:pt x="1495" y="509"/>
                </a:lnTo>
                <a:lnTo>
                  <a:pt x="1497" y="500"/>
                </a:lnTo>
                <a:lnTo>
                  <a:pt x="1499" y="492"/>
                </a:lnTo>
                <a:lnTo>
                  <a:pt x="1500" y="483"/>
                </a:lnTo>
                <a:lnTo>
                  <a:pt x="1501" y="474"/>
                </a:lnTo>
                <a:lnTo>
                  <a:pt x="1502" y="464"/>
                </a:lnTo>
                <a:lnTo>
                  <a:pt x="1502" y="454"/>
                </a:lnTo>
                <a:lnTo>
                  <a:pt x="1502" y="444"/>
                </a:lnTo>
                <a:lnTo>
                  <a:pt x="1501" y="434"/>
                </a:lnTo>
                <a:lnTo>
                  <a:pt x="1500" y="425"/>
                </a:lnTo>
                <a:lnTo>
                  <a:pt x="1499" y="416"/>
                </a:lnTo>
                <a:lnTo>
                  <a:pt x="1495" y="399"/>
                </a:lnTo>
                <a:lnTo>
                  <a:pt x="1493" y="391"/>
                </a:lnTo>
                <a:lnTo>
                  <a:pt x="1491" y="384"/>
                </a:lnTo>
                <a:lnTo>
                  <a:pt x="1488" y="376"/>
                </a:lnTo>
                <a:lnTo>
                  <a:pt x="1485" y="369"/>
                </a:lnTo>
                <a:lnTo>
                  <a:pt x="1481" y="363"/>
                </a:lnTo>
                <a:lnTo>
                  <a:pt x="1477" y="356"/>
                </a:lnTo>
                <a:lnTo>
                  <a:pt x="1473" y="351"/>
                </a:lnTo>
                <a:lnTo>
                  <a:pt x="1469" y="345"/>
                </a:lnTo>
                <a:lnTo>
                  <a:pt x="1460" y="335"/>
                </a:lnTo>
                <a:lnTo>
                  <a:pt x="1450" y="326"/>
                </a:lnTo>
                <a:lnTo>
                  <a:pt x="1440" y="318"/>
                </a:lnTo>
                <a:lnTo>
                  <a:pt x="1434" y="314"/>
                </a:lnTo>
                <a:lnTo>
                  <a:pt x="1428" y="311"/>
                </a:lnTo>
                <a:lnTo>
                  <a:pt x="1423" y="308"/>
                </a:lnTo>
                <a:lnTo>
                  <a:pt x="1417" y="306"/>
                </a:lnTo>
                <a:lnTo>
                  <a:pt x="1411" y="304"/>
                </a:lnTo>
                <a:lnTo>
                  <a:pt x="1405" y="302"/>
                </a:lnTo>
                <a:lnTo>
                  <a:pt x="1398" y="300"/>
                </a:lnTo>
                <a:lnTo>
                  <a:pt x="1392" y="299"/>
                </a:lnTo>
                <a:lnTo>
                  <a:pt x="1379" y="297"/>
                </a:lnTo>
                <a:lnTo>
                  <a:pt x="1373" y="297"/>
                </a:lnTo>
                <a:lnTo>
                  <a:pt x="1367" y="297"/>
                </a:lnTo>
                <a:close/>
                <a:moveTo>
                  <a:pt x="3177" y="301"/>
                </a:moveTo>
                <a:lnTo>
                  <a:pt x="3162" y="302"/>
                </a:lnTo>
                <a:lnTo>
                  <a:pt x="3148" y="304"/>
                </a:lnTo>
                <a:lnTo>
                  <a:pt x="3141" y="305"/>
                </a:lnTo>
                <a:lnTo>
                  <a:pt x="3135" y="307"/>
                </a:lnTo>
                <a:lnTo>
                  <a:pt x="3128" y="310"/>
                </a:lnTo>
                <a:lnTo>
                  <a:pt x="3121" y="312"/>
                </a:lnTo>
                <a:lnTo>
                  <a:pt x="3115" y="315"/>
                </a:lnTo>
                <a:lnTo>
                  <a:pt x="3109" y="318"/>
                </a:lnTo>
                <a:lnTo>
                  <a:pt x="3103" y="321"/>
                </a:lnTo>
                <a:lnTo>
                  <a:pt x="3097" y="325"/>
                </a:lnTo>
                <a:lnTo>
                  <a:pt x="3092" y="329"/>
                </a:lnTo>
                <a:lnTo>
                  <a:pt x="3086" y="334"/>
                </a:lnTo>
                <a:lnTo>
                  <a:pt x="3081" y="338"/>
                </a:lnTo>
                <a:lnTo>
                  <a:pt x="3076" y="343"/>
                </a:lnTo>
                <a:lnTo>
                  <a:pt x="3071" y="348"/>
                </a:lnTo>
                <a:lnTo>
                  <a:pt x="3067" y="353"/>
                </a:lnTo>
                <a:lnTo>
                  <a:pt x="3063" y="359"/>
                </a:lnTo>
                <a:lnTo>
                  <a:pt x="3059" y="365"/>
                </a:lnTo>
                <a:lnTo>
                  <a:pt x="3052" y="377"/>
                </a:lnTo>
                <a:lnTo>
                  <a:pt x="3048" y="384"/>
                </a:lnTo>
                <a:lnTo>
                  <a:pt x="3046" y="391"/>
                </a:lnTo>
                <a:lnTo>
                  <a:pt x="3043" y="398"/>
                </a:lnTo>
                <a:lnTo>
                  <a:pt x="3041" y="405"/>
                </a:lnTo>
                <a:lnTo>
                  <a:pt x="3039" y="413"/>
                </a:lnTo>
                <a:lnTo>
                  <a:pt x="3037" y="420"/>
                </a:lnTo>
                <a:lnTo>
                  <a:pt x="3035" y="436"/>
                </a:lnTo>
                <a:lnTo>
                  <a:pt x="3034" y="453"/>
                </a:lnTo>
                <a:lnTo>
                  <a:pt x="3034" y="462"/>
                </a:lnTo>
                <a:lnTo>
                  <a:pt x="3035" y="470"/>
                </a:lnTo>
                <a:lnTo>
                  <a:pt x="3036" y="478"/>
                </a:lnTo>
                <a:lnTo>
                  <a:pt x="3037" y="486"/>
                </a:lnTo>
                <a:lnTo>
                  <a:pt x="3041" y="501"/>
                </a:lnTo>
                <a:lnTo>
                  <a:pt x="3046" y="515"/>
                </a:lnTo>
                <a:lnTo>
                  <a:pt x="3052" y="529"/>
                </a:lnTo>
                <a:lnTo>
                  <a:pt x="3055" y="535"/>
                </a:lnTo>
                <a:lnTo>
                  <a:pt x="3059" y="541"/>
                </a:lnTo>
                <a:lnTo>
                  <a:pt x="3063" y="547"/>
                </a:lnTo>
                <a:lnTo>
                  <a:pt x="3067" y="553"/>
                </a:lnTo>
                <a:lnTo>
                  <a:pt x="3071" y="558"/>
                </a:lnTo>
                <a:lnTo>
                  <a:pt x="3076" y="563"/>
                </a:lnTo>
                <a:lnTo>
                  <a:pt x="3081" y="568"/>
                </a:lnTo>
                <a:lnTo>
                  <a:pt x="3086" y="573"/>
                </a:lnTo>
                <a:lnTo>
                  <a:pt x="3092" y="577"/>
                </a:lnTo>
                <a:lnTo>
                  <a:pt x="3097" y="581"/>
                </a:lnTo>
                <a:lnTo>
                  <a:pt x="3109" y="588"/>
                </a:lnTo>
                <a:lnTo>
                  <a:pt x="3115" y="591"/>
                </a:lnTo>
                <a:lnTo>
                  <a:pt x="3121" y="594"/>
                </a:lnTo>
                <a:lnTo>
                  <a:pt x="3135" y="599"/>
                </a:lnTo>
                <a:lnTo>
                  <a:pt x="3148" y="602"/>
                </a:lnTo>
                <a:lnTo>
                  <a:pt x="3155" y="604"/>
                </a:lnTo>
                <a:lnTo>
                  <a:pt x="3162" y="604"/>
                </a:lnTo>
                <a:lnTo>
                  <a:pt x="3177" y="605"/>
                </a:lnTo>
                <a:lnTo>
                  <a:pt x="3192" y="604"/>
                </a:lnTo>
                <a:lnTo>
                  <a:pt x="3206" y="602"/>
                </a:lnTo>
                <a:lnTo>
                  <a:pt x="3213" y="601"/>
                </a:lnTo>
                <a:lnTo>
                  <a:pt x="3219" y="599"/>
                </a:lnTo>
                <a:lnTo>
                  <a:pt x="3226" y="597"/>
                </a:lnTo>
                <a:lnTo>
                  <a:pt x="3232" y="594"/>
                </a:lnTo>
                <a:lnTo>
                  <a:pt x="3239" y="591"/>
                </a:lnTo>
                <a:lnTo>
                  <a:pt x="3245" y="588"/>
                </a:lnTo>
                <a:lnTo>
                  <a:pt x="3251" y="585"/>
                </a:lnTo>
                <a:lnTo>
                  <a:pt x="3257" y="581"/>
                </a:lnTo>
                <a:lnTo>
                  <a:pt x="3262" y="577"/>
                </a:lnTo>
                <a:lnTo>
                  <a:pt x="3268" y="573"/>
                </a:lnTo>
                <a:lnTo>
                  <a:pt x="3273" y="568"/>
                </a:lnTo>
                <a:lnTo>
                  <a:pt x="3278" y="563"/>
                </a:lnTo>
                <a:lnTo>
                  <a:pt x="3282" y="558"/>
                </a:lnTo>
                <a:lnTo>
                  <a:pt x="3287" y="553"/>
                </a:lnTo>
                <a:lnTo>
                  <a:pt x="3291" y="547"/>
                </a:lnTo>
                <a:lnTo>
                  <a:pt x="3295" y="541"/>
                </a:lnTo>
                <a:lnTo>
                  <a:pt x="3302" y="529"/>
                </a:lnTo>
                <a:lnTo>
                  <a:pt x="3305" y="522"/>
                </a:lnTo>
                <a:lnTo>
                  <a:pt x="3308" y="515"/>
                </a:lnTo>
                <a:lnTo>
                  <a:pt x="3311" y="508"/>
                </a:lnTo>
                <a:lnTo>
                  <a:pt x="3313" y="501"/>
                </a:lnTo>
                <a:lnTo>
                  <a:pt x="3315" y="494"/>
                </a:lnTo>
                <a:lnTo>
                  <a:pt x="3317" y="486"/>
                </a:lnTo>
                <a:lnTo>
                  <a:pt x="3319" y="470"/>
                </a:lnTo>
                <a:lnTo>
                  <a:pt x="3320" y="453"/>
                </a:lnTo>
                <a:lnTo>
                  <a:pt x="3319" y="444"/>
                </a:lnTo>
                <a:lnTo>
                  <a:pt x="3319" y="436"/>
                </a:lnTo>
                <a:lnTo>
                  <a:pt x="3318" y="428"/>
                </a:lnTo>
                <a:lnTo>
                  <a:pt x="3317" y="420"/>
                </a:lnTo>
                <a:lnTo>
                  <a:pt x="3313" y="405"/>
                </a:lnTo>
                <a:lnTo>
                  <a:pt x="3308" y="391"/>
                </a:lnTo>
                <a:lnTo>
                  <a:pt x="3302" y="377"/>
                </a:lnTo>
                <a:lnTo>
                  <a:pt x="3299" y="371"/>
                </a:lnTo>
                <a:lnTo>
                  <a:pt x="3295" y="365"/>
                </a:lnTo>
                <a:lnTo>
                  <a:pt x="3291" y="359"/>
                </a:lnTo>
                <a:lnTo>
                  <a:pt x="3287" y="353"/>
                </a:lnTo>
                <a:lnTo>
                  <a:pt x="3282" y="348"/>
                </a:lnTo>
                <a:lnTo>
                  <a:pt x="3278" y="343"/>
                </a:lnTo>
                <a:lnTo>
                  <a:pt x="3273" y="338"/>
                </a:lnTo>
                <a:lnTo>
                  <a:pt x="3268" y="334"/>
                </a:lnTo>
                <a:lnTo>
                  <a:pt x="3262" y="329"/>
                </a:lnTo>
                <a:lnTo>
                  <a:pt x="3257" y="325"/>
                </a:lnTo>
                <a:lnTo>
                  <a:pt x="3245" y="318"/>
                </a:lnTo>
                <a:lnTo>
                  <a:pt x="3239" y="315"/>
                </a:lnTo>
                <a:lnTo>
                  <a:pt x="3232" y="312"/>
                </a:lnTo>
                <a:lnTo>
                  <a:pt x="3219" y="307"/>
                </a:lnTo>
                <a:lnTo>
                  <a:pt x="3206" y="304"/>
                </a:lnTo>
                <a:lnTo>
                  <a:pt x="3199" y="303"/>
                </a:lnTo>
                <a:lnTo>
                  <a:pt x="3192" y="302"/>
                </a:lnTo>
                <a:lnTo>
                  <a:pt x="3177" y="301"/>
                </a:lnTo>
                <a:close/>
                <a:moveTo>
                  <a:pt x="4997" y="297"/>
                </a:moveTo>
                <a:lnTo>
                  <a:pt x="4988" y="297"/>
                </a:lnTo>
                <a:lnTo>
                  <a:pt x="4979" y="298"/>
                </a:lnTo>
                <a:lnTo>
                  <a:pt x="4971" y="299"/>
                </a:lnTo>
                <a:lnTo>
                  <a:pt x="4963" y="300"/>
                </a:lnTo>
                <a:lnTo>
                  <a:pt x="4955" y="302"/>
                </a:lnTo>
                <a:lnTo>
                  <a:pt x="4948" y="305"/>
                </a:lnTo>
                <a:lnTo>
                  <a:pt x="4941" y="307"/>
                </a:lnTo>
                <a:lnTo>
                  <a:pt x="4934" y="311"/>
                </a:lnTo>
                <a:lnTo>
                  <a:pt x="4921" y="318"/>
                </a:lnTo>
                <a:lnTo>
                  <a:pt x="4910" y="327"/>
                </a:lnTo>
                <a:lnTo>
                  <a:pt x="4904" y="331"/>
                </a:lnTo>
                <a:lnTo>
                  <a:pt x="4899" y="336"/>
                </a:lnTo>
                <a:lnTo>
                  <a:pt x="4890" y="347"/>
                </a:lnTo>
                <a:lnTo>
                  <a:pt x="4885" y="353"/>
                </a:lnTo>
                <a:lnTo>
                  <a:pt x="4881" y="359"/>
                </a:lnTo>
                <a:lnTo>
                  <a:pt x="4874" y="371"/>
                </a:lnTo>
                <a:lnTo>
                  <a:pt x="4871" y="377"/>
                </a:lnTo>
                <a:lnTo>
                  <a:pt x="4868" y="384"/>
                </a:lnTo>
                <a:lnTo>
                  <a:pt x="4863" y="397"/>
                </a:lnTo>
                <a:lnTo>
                  <a:pt x="4859" y="411"/>
                </a:lnTo>
                <a:lnTo>
                  <a:pt x="4856" y="425"/>
                </a:lnTo>
                <a:lnTo>
                  <a:pt x="4855" y="439"/>
                </a:lnTo>
                <a:lnTo>
                  <a:pt x="4854" y="454"/>
                </a:lnTo>
                <a:lnTo>
                  <a:pt x="4855" y="469"/>
                </a:lnTo>
                <a:lnTo>
                  <a:pt x="4856" y="476"/>
                </a:lnTo>
                <a:lnTo>
                  <a:pt x="4856" y="483"/>
                </a:lnTo>
                <a:lnTo>
                  <a:pt x="4859" y="497"/>
                </a:lnTo>
                <a:lnTo>
                  <a:pt x="4861" y="504"/>
                </a:lnTo>
                <a:lnTo>
                  <a:pt x="4863" y="510"/>
                </a:lnTo>
                <a:lnTo>
                  <a:pt x="4865" y="517"/>
                </a:lnTo>
                <a:lnTo>
                  <a:pt x="4868" y="524"/>
                </a:lnTo>
                <a:lnTo>
                  <a:pt x="4871" y="530"/>
                </a:lnTo>
                <a:lnTo>
                  <a:pt x="4874" y="537"/>
                </a:lnTo>
                <a:lnTo>
                  <a:pt x="4878" y="543"/>
                </a:lnTo>
                <a:lnTo>
                  <a:pt x="4881" y="549"/>
                </a:lnTo>
                <a:lnTo>
                  <a:pt x="4885" y="555"/>
                </a:lnTo>
                <a:lnTo>
                  <a:pt x="4890" y="561"/>
                </a:lnTo>
                <a:lnTo>
                  <a:pt x="4894" y="566"/>
                </a:lnTo>
                <a:lnTo>
                  <a:pt x="4899" y="571"/>
                </a:lnTo>
                <a:lnTo>
                  <a:pt x="4904" y="576"/>
                </a:lnTo>
                <a:lnTo>
                  <a:pt x="4910" y="581"/>
                </a:lnTo>
                <a:lnTo>
                  <a:pt x="4915" y="585"/>
                </a:lnTo>
                <a:lnTo>
                  <a:pt x="4921" y="589"/>
                </a:lnTo>
                <a:lnTo>
                  <a:pt x="4927" y="593"/>
                </a:lnTo>
                <a:lnTo>
                  <a:pt x="4934" y="597"/>
                </a:lnTo>
                <a:lnTo>
                  <a:pt x="4941" y="600"/>
                </a:lnTo>
                <a:lnTo>
                  <a:pt x="4948" y="603"/>
                </a:lnTo>
                <a:lnTo>
                  <a:pt x="4955" y="605"/>
                </a:lnTo>
                <a:lnTo>
                  <a:pt x="4963" y="607"/>
                </a:lnTo>
                <a:lnTo>
                  <a:pt x="4971" y="608"/>
                </a:lnTo>
                <a:lnTo>
                  <a:pt x="4979" y="610"/>
                </a:lnTo>
                <a:lnTo>
                  <a:pt x="4988" y="610"/>
                </a:lnTo>
                <a:lnTo>
                  <a:pt x="4997" y="611"/>
                </a:lnTo>
                <a:lnTo>
                  <a:pt x="5010" y="610"/>
                </a:lnTo>
                <a:lnTo>
                  <a:pt x="5022" y="608"/>
                </a:lnTo>
                <a:lnTo>
                  <a:pt x="5035" y="605"/>
                </a:lnTo>
                <a:lnTo>
                  <a:pt x="5047" y="601"/>
                </a:lnTo>
                <a:lnTo>
                  <a:pt x="5053" y="599"/>
                </a:lnTo>
                <a:lnTo>
                  <a:pt x="5059" y="596"/>
                </a:lnTo>
                <a:lnTo>
                  <a:pt x="5070" y="589"/>
                </a:lnTo>
                <a:lnTo>
                  <a:pt x="5075" y="586"/>
                </a:lnTo>
                <a:lnTo>
                  <a:pt x="5081" y="582"/>
                </a:lnTo>
                <a:lnTo>
                  <a:pt x="5086" y="577"/>
                </a:lnTo>
                <a:lnTo>
                  <a:pt x="5090" y="573"/>
                </a:lnTo>
                <a:lnTo>
                  <a:pt x="5095" y="568"/>
                </a:lnTo>
                <a:lnTo>
                  <a:pt x="5100" y="562"/>
                </a:lnTo>
                <a:lnTo>
                  <a:pt x="5104" y="557"/>
                </a:lnTo>
                <a:lnTo>
                  <a:pt x="5108" y="551"/>
                </a:lnTo>
                <a:lnTo>
                  <a:pt x="5115" y="538"/>
                </a:lnTo>
                <a:lnTo>
                  <a:pt x="5118" y="531"/>
                </a:lnTo>
                <a:lnTo>
                  <a:pt x="5121" y="524"/>
                </a:lnTo>
                <a:lnTo>
                  <a:pt x="5126" y="509"/>
                </a:lnTo>
                <a:lnTo>
                  <a:pt x="5128" y="500"/>
                </a:lnTo>
                <a:lnTo>
                  <a:pt x="5129" y="492"/>
                </a:lnTo>
                <a:lnTo>
                  <a:pt x="5131" y="483"/>
                </a:lnTo>
                <a:lnTo>
                  <a:pt x="5132" y="474"/>
                </a:lnTo>
                <a:lnTo>
                  <a:pt x="5132" y="464"/>
                </a:lnTo>
                <a:lnTo>
                  <a:pt x="5132" y="454"/>
                </a:lnTo>
                <a:lnTo>
                  <a:pt x="5132" y="444"/>
                </a:lnTo>
                <a:lnTo>
                  <a:pt x="5132" y="434"/>
                </a:lnTo>
                <a:lnTo>
                  <a:pt x="5131" y="425"/>
                </a:lnTo>
                <a:lnTo>
                  <a:pt x="5129" y="416"/>
                </a:lnTo>
                <a:lnTo>
                  <a:pt x="5126" y="399"/>
                </a:lnTo>
                <a:lnTo>
                  <a:pt x="5124" y="391"/>
                </a:lnTo>
                <a:lnTo>
                  <a:pt x="5121" y="384"/>
                </a:lnTo>
                <a:lnTo>
                  <a:pt x="5118" y="376"/>
                </a:lnTo>
                <a:lnTo>
                  <a:pt x="5115" y="369"/>
                </a:lnTo>
                <a:lnTo>
                  <a:pt x="5111" y="363"/>
                </a:lnTo>
                <a:lnTo>
                  <a:pt x="5108" y="356"/>
                </a:lnTo>
                <a:lnTo>
                  <a:pt x="5104" y="351"/>
                </a:lnTo>
                <a:lnTo>
                  <a:pt x="5100" y="345"/>
                </a:lnTo>
                <a:lnTo>
                  <a:pt x="5090" y="335"/>
                </a:lnTo>
                <a:lnTo>
                  <a:pt x="5081" y="326"/>
                </a:lnTo>
                <a:lnTo>
                  <a:pt x="5070" y="318"/>
                </a:lnTo>
                <a:lnTo>
                  <a:pt x="5064" y="314"/>
                </a:lnTo>
                <a:lnTo>
                  <a:pt x="5059" y="311"/>
                </a:lnTo>
                <a:lnTo>
                  <a:pt x="5053" y="308"/>
                </a:lnTo>
                <a:lnTo>
                  <a:pt x="5047" y="306"/>
                </a:lnTo>
                <a:lnTo>
                  <a:pt x="5041" y="304"/>
                </a:lnTo>
                <a:lnTo>
                  <a:pt x="5035" y="302"/>
                </a:lnTo>
                <a:lnTo>
                  <a:pt x="5029" y="300"/>
                </a:lnTo>
                <a:lnTo>
                  <a:pt x="5022" y="299"/>
                </a:lnTo>
                <a:lnTo>
                  <a:pt x="5010" y="297"/>
                </a:lnTo>
                <a:lnTo>
                  <a:pt x="5003" y="297"/>
                </a:lnTo>
                <a:lnTo>
                  <a:pt x="4997" y="297"/>
                </a:lnTo>
                <a:close/>
              </a:path>
            </a:pathLst>
          </a:custGeom>
          <a:solidFill>
            <a:srgbClr val="1C66F9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defTabSz="686374"/>
            <a:endParaRPr lang="fi-FI" sz="1400">
              <a:solidFill>
                <a:srgbClr val="1C66F9"/>
              </a:solidFill>
            </a:endParaRPr>
          </a:p>
        </p:txBody>
      </p:sp>
      <p:sp>
        <p:nvSpPr>
          <p:cNvPr id="5" name="Titel 2"/>
          <p:cNvSpPr txBox="1">
            <a:spLocks/>
          </p:cNvSpPr>
          <p:nvPr/>
        </p:nvSpPr>
        <p:spPr>
          <a:xfrm>
            <a:off x="326922" y="2346813"/>
            <a:ext cx="8490160" cy="72149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27028" tIns="27028" rIns="27028" bIns="27028" rtlCol="0" anchor="b" anchorCtr="0">
            <a:noAutofit/>
          </a:bodyPr>
          <a:lstStyle>
            <a:lvl1pPr algn="ctr" defTabSz="68717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7700" b="1" kern="1200" spc="-3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 smtClean="0">
                <a:solidFill>
                  <a:prstClr val="white"/>
                </a:solidFill>
              </a:rPr>
              <a:t/>
            </a:r>
            <a:br>
              <a:rPr lang="nl-NL" dirty="0" smtClean="0">
                <a:solidFill>
                  <a:prstClr val="white"/>
                </a:solidFill>
              </a:rPr>
            </a:br>
            <a:r>
              <a:rPr lang="nl-NL" sz="4000" dirty="0">
                <a:solidFill>
                  <a:srgbClr val="F77D82"/>
                </a:solidFill>
              </a:rPr>
              <a:t>WAT GEBEURT ER IN </a:t>
            </a:r>
          </a:p>
          <a:p>
            <a:r>
              <a:rPr lang="nl-NL" sz="4000" dirty="0">
                <a:solidFill>
                  <a:srgbClr val="F77D82"/>
                </a:solidFill>
              </a:rPr>
              <a:t>DE WERELD VAN MOBIEL</a:t>
            </a:r>
          </a:p>
        </p:txBody>
      </p:sp>
    </p:spTree>
    <p:extLst>
      <p:ext uri="{BB962C8B-B14F-4D97-AF65-F5344CB8AC3E}">
        <p14:creationId xmlns:p14="http://schemas.microsoft.com/office/powerpoint/2010/main" val="29436839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meike\Desktop\Presentatie BlueLine2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2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Gemeenschappelijke doelstellingen</a:t>
            </a:r>
          </a:p>
        </p:txBody>
      </p:sp>
      <p:sp>
        <p:nvSpPr>
          <p:cNvPr id="2" name="Rechthoek 1"/>
          <p:cNvSpPr/>
          <p:nvPr/>
        </p:nvSpPr>
        <p:spPr>
          <a:xfrm>
            <a:off x="467544" y="1214108"/>
            <a:ext cx="8280920" cy="3490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Samen naar een beter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businessmodel</a:t>
            </a:r>
            <a:endParaRPr lang="nl-NL" sz="2000" b="1" dirty="0" smtClean="0">
              <a:solidFill>
                <a:schemeClr val="bg1"/>
              </a:solidFill>
              <a:latin typeface="Helveticaa"/>
            </a:endParaRP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Van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reseller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naar </a:t>
            </a:r>
            <a:r>
              <a:rPr lang="nl-NL" sz="2000" b="1" dirty="0" err="1" smtClean="0">
                <a:solidFill>
                  <a:schemeClr val="bg1"/>
                </a:solidFill>
                <a:latin typeface="Helveticaa"/>
              </a:rPr>
              <a:t>managed</a:t>
            </a: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 service provider (MSP)</a:t>
            </a:r>
          </a:p>
          <a:p>
            <a:pPr marL="342900" indent="-342900">
              <a:lnSpc>
                <a:spcPts val="3000"/>
              </a:lnSpc>
              <a:buBlip>
                <a:blip r:embed="rId3"/>
              </a:buBlip>
            </a:pPr>
            <a:r>
              <a:rPr lang="nl-NL" sz="2000" b="1" dirty="0" smtClean="0">
                <a:solidFill>
                  <a:schemeClr val="bg1"/>
                </a:solidFill>
                <a:latin typeface="Helveticaa"/>
              </a:rPr>
              <a:t>Hoe? Met een nieuw </a:t>
            </a:r>
            <a:r>
              <a:rPr lang="nl-NL" sz="2000" b="1" dirty="0" err="1">
                <a:solidFill>
                  <a:schemeClr val="bg1"/>
                </a:solidFill>
                <a:latin typeface="Helveticaa"/>
              </a:rPr>
              <a:t>recurring</a:t>
            </a:r>
            <a:r>
              <a:rPr lang="nl-NL" sz="2000" b="1" dirty="0">
                <a:solidFill>
                  <a:schemeClr val="bg1"/>
                </a:solidFill>
                <a:latin typeface="Helveticaa"/>
              </a:rPr>
              <a:t> model: </a:t>
            </a:r>
          </a:p>
          <a:p>
            <a:pPr>
              <a:lnSpc>
                <a:spcPts val="2500"/>
              </a:lnSpc>
            </a:pPr>
            <a:r>
              <a:rPr lang="nl-NL" sz="2400" b="1" dirty="0">
                <a:solidFill>
                  <a:schemeClr val="bg1"/>
                </a:solidFill>
                <a:latin typeface="Helveticaa"/>
              </a:rPr>
              <a:t>	</a:t>
            </a:r>
            <a:r>
              <a:rPr lang="nl-NL" dirty="0">
                <a:solidFill>
                  <a:schemeClr val="bg1"/>
                </a:solidFill>
                <a:latin typeface="Helveticaa"/>
              </a:rPr>
              <a:t>- </a:t>
            </a:r>
            <a:r>
              <a:rPr lang="nl-NL" dirty="0" smtClean="0">
                <a:solidFill>
                  <a:schemeClr val="bg1"/>
                </a:solidFill>
                <a:latin typeface="Helveticaa"/>
              </a:rPr>
              <a:t>Percentage </a:t>
            </a:r>
            <a:r>
              <a:rPr lang="nl-NL" dirty="0">
                <a:solidFill>
                  <a:schemeClr val="bg1"/>
                </a:solidFill>
                <a:latin typeface="Helveticaa"/>
              </a:rPr>
              <a:t>‘</a:t>
            </a:r>
            <a:r>
              <a:rPr lang="nl-NL" dirty="0" err="1">
                <a:solidFill>
                  <a:schemeClr val="bg1"/>
                </a:solidFill>
                <a:latin typeface="Helveticaa"/>
              </a:rPr>
              <a:t>recurring</a:t>
            </a:r>
            <a:r>
              <a:rPr lang="nl-NL" dirty="0">
                <a:solidFill>
                  <a:schemeClr val="bg1"/>
                </a:solidFill>
                <a:latin typeface="Helveticaa"/>
              </a:rPr>
              <a:t> </a:t>
            </a:r>
            <a:r>
              <a:rPr lang="nl-NL" dirty="0" err="1">
                <a:solidFill>
                  <a:schemeClr val="bg1"/>
                </a:solidFill>
                <a:latin typeface="Helveticaa"/>
              </a:rPr>
              <a:t>revenue</a:t>
            </a:r>
            <a:r>
              <a:rPr lang="nl-NL" dirty="0">
                <a:solidFill>
                  <a:schemeClr val="bg1"/>
                </a:solidFill>
                <a:latin typeface="Helveticaa"/>
              </a:rPr>
              <a:t>’ </a:t>
            </a:r>
            <a:r>
              <a:rPr lang="nl-NL" dirty="0" smtClean="0">
                <a:solidFill>
                  <a:schemeClr val="bg1"/>
                </a:solidFill>
                <a:latin typeface="Helveticaa"/>
              </a:rPr>
              <a:t>vergroten</a:t>
            </a:r>
            <a:endParaRPr lang="nl-NL" dirty="0">
              <a:solidFill>
                <a:schemeClr val="bg1"/>
              </a:solidFill>
              <a:latin typeface="Helveticaa"/>
            </a:endParaRPr>
          </a:p>
          <a:p>
            <a:pPr>
              <a:lnSpc>
                <a:spcPts val="2500"/>
              </a:lnSpc>
            </a:pPr>
            <a:r>
              <a:rPr lang="nl-NL" dirty="0">
                <a:solidFill>
                  <a:schemeClr val="bg1"/>
                </a:solidFill>
                <a:latin typeface="Helveticaa"/>
              </a:rPr>
              <a:t>	- Omzetgroei realiseren </a:t>
            </a:r>
          </a:p>
          <a:p>
            <a:pPr>
              <a:lnSpc>
                <a:spcPts val="2500"/>
              </a:lnSpc>
            </a:pPr>
            <a:r>
              <a:rPr lang="nl-NL" dirty="0">
                <a:solidFill>
                  <a:schemeClr val="bg1"/>
                </a:solidFill>
                <a:latin typeface="Helveticaa"/>
              </a:rPr>
              <a:t>	- Uitbouwen van factuurrelatie met klanten</a:t>
            </a:r>
          </a:p>
          <a:p>
            <a:pPr>
              <a:lnSpc>
                <a:spcPts val="2500"/>
              </a:lnSpc>
            </a:pPr>
            <a:r>
              <a:rPr lang="nl-NL" dirty="0">
                <a:solidFill>
                  <a:schemeClr val="bg1"/>
                </a:solidFill>
                <a:latin typeface="Helveticaa"/>
              </a:rPr>
              <a:t>	- Afhankelijkheid bonussen operators verkleinen</a:t>
            </a:r>
          </a:p>
          <a:p>
            <a:pPr>
              <a:lnSpc>
                <a:spcPts val="2500"/>
              </a:lnSpc>
            </a:pPr>
            <a:r>
              <a:rPr lang="nl-NL" dirty="0">
                <a:solidFill>
                  <a:schemeClr val="bg1"/>
                </a:solidFill>
                <a:latin typeface="Helveticaa"/>
              </a:rPr>
              <a:t>	- Winstgevendheid verder </a:t>
            </a:r>
            <a:r>
              <a:rPr lang="nl-NL" dirty="0" smtClean="0">
                <a:solidFill>
                  <a:schemeClr val="bg1"/>
                </a:solidFill>
                <a:latin typeface="Helveticaa"/>
              </a:rPr>
              <a:t>vergroten</a:t>
            </a:r>
          </a:p>
          <a:p>
            <a:pPr>
              <a:lnSpc>
                <a:spcPts val="2500"/>
              </a:lnSpc>
            </a:pPr>
            <a:r>
              <a:rPr lang="nl-NL" dirty="0">
                <a:solidFill>
                  <a:schemeClr val="bg1"/>
                </a:solidFill>
                <a:latin typeface="Helveticaa"/>
              </a:rPr>
              <a:t>	</a:t>
            </a:r>
            <a:r>
              <a:rPr lang="nl-NL" dirty="0" smtClean="0">
                <a:solidFill>
                  <a:schemeClr val="bg1"/>
                </a:solidFill>
                <a:latin typeface="Helveticaa"/>
              </a:rPr>
              <a:t>- Service-component vergroten</a:t>
            </a:r>
          </a:p>
          <a:p>
            <a:pPr>
              <a:lnSpc>
                <a:spcPts val="2500"/>
              </a:lnSpc>
            </a:pPr>
            <a:endParaRPr lang="nl-NL" sz="2400" dirty="0">
              <a:solidFill>
                <a:schemeClr val="bg1"/>
              </a:solidFill>
              <a:latin typeface="Helveticaa"/>
            </a:endParaRPr>
          </a:p>
        </p:txBody>
      </p:sp>
    </p:spTree>
    <p:extLst>
      <p:ext uri="{BB962C8B-B14F-4D97-AF65-F5344CB8AC3E}">
        <p14:creationId xmlns:p14="http://schemas.microsoft.com/office/powerpoint/2010/main" val="413220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inhoud 2"/>
          <p:cNvSpPr>
            <a:spLocks noGrp="1"/>
          </p:cNvSpPr>
          <p:nvPr>
            <p:ph idx="1"/>
          </p:nvPr>
        </p:nvSpPr>
        <p:spPr>
          <a:xfrm>
            <a:off x="2936658" y="1070541"/>
            <a:ext cx="4194438" cy="356755"/>
          </a:xfrm>
        </p:spPr>
        <p:txBody>
          <a:bodyPr/>
          <a:lstStyle/>
          <a:p>
            <a:pPr marL="0" indent="0">
              <a:buNone/>
            </a:pPr>
            <a:r>
              <a:rPr lang="en-GB" sz="1200" dirty="0"/>
              <a:t>Media time consumption share US 2009 - 2014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989" y="257561"/>
            <a:ext cx="8490160" cy="793644"/>
          </a:xfrm>
        </p:spPr>
        <p:txBody>
          <a:bodyPr/>
          <a:lstStyle/>
          <a:p>
            <a:r>
              <a:rPr lang="nl-NL" sz="2100" dirty="0"/>
              <a:t>Wereldwijde media verschuiving richting Mobiel</a:t>
            </a:r>
            <a:endParaRPr lang="nl-NL" sz="2100" dirty="0"/>
          </a:p>
        </p:txBody>
      </p:sp>
      <p:sp>
        <p:nvSpPr>
          <p:cNvPr id="8" name="Tijdelijke aanduiding voor inhoud 2"/>
          <p:cNvSpPr txBox="1">
            <a:spLocks/>
          </p:cNvSpPr>
          <p:nvPr/>
        </p:nvSpPr>
        <p:spPr>
          <a:xfrm>
            <a:off x="389525" y="4679809"/>
            <a:ext cx="8379303" cy="203427"/>
          </a:xfrm>
          <a:prstGeom prst="rect">
            <a:avLst/>
          </a:prstGeom>
        </p:spPr>
        <p:txBody>
          <a:bodyPr vert="horz" lIns="29729" tIns="29729" rIns="29729" bIns="29729" rtlCol="0">
            <a:noAutofit/>
          </a:bodyPr>
          <a:lstStyle>
            <a:lvl1pPr marL="357188" indent="-3571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defRPr sz="1200" b="1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4375" indent="-3571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b="1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1563" indent="-3571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defRPr sz="1200" b="1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671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b="1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5463" indent="-3571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defRPr sz="1200" b="1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0" dirty="0">
                <a:solidFill>
                  <a:srgbClr val="999999"/>
                </a:solidFill>
              </a:rPr>
              <a:t>Source: </a:t>
            </a:r>
            <a:r>
              <a:rPr lang="en-GB" b="0" dirty="0" err="1">
                <a:solidFill>
                  <a:srgbClr val="999999"/>
                </a:solidFill>
              </a:rPr>
              <a:t>emarketer</a:t>
            </a:r>
            <a:r>
              <a:rPr lang="en-GB" b="0" dirty="0">
                <a:solidFill>
                  <a:srgbClr val="999999"/>
                </a:solidFill>
              </a:rPr>
              <a:t>/ Business Intelligence </a:t>
            </a:r>
            <a:r>
              <a:rPr lang="nl-NL" b="0" dirty="0">
                <a:solidFill>
                  <a:srgbClr val="999999"/>
                </a:solidFill>
              </a:rPr>
              <a:t>–</a:t>
            </a:r>
            <a:r>
              <a:rPr lang="en-GB" b="0" dirty="0">
                <a:solidFill>
                  <a:srgbClr val="999999"/>
                </a:solidFill>
              </a:rPr>
              <a:t> August 2014 in US</a:t>
            </a:r>
          </a:p>
        </p:txBody>
      </p:sp>
      <p:sp>
        <p:nvSpPr>
          <p:cNvPr id="22" name="Titel 1"/>
          <p:cNvSpPr txBox="1">
            <a:spLocks/>
          </p:cNvSpPr>
          <p:nvPr/>
        </p:nvSpPr>
        <p:spPr>
          <a:xfrm>
            <a:off x="326922" y="-33463"/>
            <a:ext cx="8490160" cy="793644"/>
          </a:xfrm>
          <a:prstGeom prst="rect">
            <a:avLst/>
          </a:prstGeom>
        </p:spPr>
        <p:txBody>
          <a:bodyPr vert="horz" lIns="27025" tIns="27025" rIns="27025" bIns="27025" rtlCol="0" anchor="t" anchorCtr="0">
            <a:noAutofit/>
          </a:bodyPr>
          <a:lstStyle>
            <a:lvl1pPr algn="l" defTabSz="68708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300" b="1" kern="1200" spc="-3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>
              <a:solidFill>
                <a:srgbClr val="4D4D4D"/>
              </a:solidFill>
            </a:endParaRPr>
          </a:p>
        </p:txBody>
      </p:sp>
      <p:graphicFrame>
        <p:nvGraphicFramePr>
          <p:cNvPr id="4" name="Grafiek 3"/>
          <p:cNvGraphicFramePr/>
          <p:nvPr>
            <p:extLst>
              <p:ext uri="{D42A27DB-BD31-4B8C-83A1-F6EECF244321}">
                <p14:modId xmlns:p14="http://schemas.microsoft.com/office/powerpoint/2010/main" val="3925053307"/>
              </p:ext>
            </p:extLst>
          </p:nvPr>
        </p:nvGraphicFramePr>
        <p:xfrm>
          <a:off x="359833" y="896243"/>
          <a:ext cx="8784167" cy="3026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Afbeelding 8" descr="laptop_dblauw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6534" y="3734378"/>
            <a:ext cx="596857" cy="533308"/>
          </a:xfrm>
          <a:prstGeom prst="rect">
            <a:avLst/>
          </a:prstGeom>
        </p:spPr>
      </p:pic>
      <p:pic>
        <p:nvPicPr>
          <p:cNvPr id="11" name="Afbeelding 10" descr="tv_dblauw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585" y="3767788"/>
            <a:ext cx="522007" cy="466488"/>
          </a:xfrm>
          <a:prstGeom prst="rect">
            <a:avLst/>
          </a:prstGeom>
        </p:spPr>
      </p:pic>
      <p:pic>
        <p:nvPicPr>
          <p:cNvPr id="12" name="Afbeelding 11" descr="tijdschrift_dblauw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472" y="3691196"/>
            <a:ext cx="776872" cy="694201"/>
          </a:xfrm>
          <a:prstGeom prst="rect">
            <a:avLst/>
          </a:prstGeom>
        </p:spPr>
      </p:pic>
      <p:pic>
        <p:nvPicPr>
          <p:cNvPr id="13" name="Afbeelding 12" descr="mobile_dblauw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6918" y="3834609"/>
            <a:ext cx="456555" cy="408039"/>
          </a:xfrm>
          <a:prstGeom prst="rect">
            <a:avLst/>
          </a:prstGeom>
        </p:spPr>
      </p:pic>
      <p:sp>
        <p:nvSpPr>
          <p:cNvPr id="14" name="Rechthoek 13"/>
          <p:cNvSpPr/>
          <p:nvPr/>
        </p:nvSpPr>
        <p:spPr>
          <a:xfrm>
            <a:off x="6283462" y="3875027"/>
            <a:ext cx="325821" cy="325841"/>
          </a:xfrm>
          <a:prstGeom prst="rect">
            <a:avLst/>
          </a:prstGeom>
          <a:solidFill>
            <a:srgbClr val="1C6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344" tIns="45672" rIns="91344" bIns="4567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6463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 descr="radio_dblauw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0991" y="3695732"/>
            <a:ext cx="733604" cy="655518"/>
          </a:xfrm>
          <a:prstGeom prst="rect">
            <a:avLst/>
          </a:prstGeom>
        </p:spPr>
      </p:pic>
      <p:sp>
        <p:nvSpPr>
          <p:cNvPr id="16" name="Tekstvak 15"/>
          <p:cNvSpPr txBox="1"/>
          <p:nvPr/>
        </p:nvSpPr>
        <p:spPr>
          <a:xfrm>
            <a:off x="789961" y="4217570"/>
            <a:ext cx="1094563" cy="241906"/>
          </a:xfrm>
          <a:prstGeom prst="rect">
            <a:avLst/>
          </a:prstGeom>
          <a:noFill/>
        </p:spPr>
        <p:txBody>
          <a:bodyPr wrap="square" lIns="35963" tIns="35963" rIns="35963" bIns="35963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6463"/>
            <a:r>
              <a:rPr lang="nl-NL" b="1" spc="-40" dirty="0">
                <a:solidFill>
                  <a:srgbClr val="1C66F9"/>
                </a:solidFill>
              </a:rPr>
              <a:t>TV</a:t>
            </a:r>
          </a:p>
        </p:txBody>
      </p:sp>
      <p:sp>
        <p:nvSpPr>
          <p:cNvPr id="17" name="Tekstvak 16"/>
          <p:cNvSpPr txBox="1"/>
          <p:nvPr/>
        </p:nvSpPr>
        <p:spPr>
          <a:xfrm>
            <a:off x="2048968" y="4218235"/>
            <a:ext cx="1094563" cy="241906"/>
          </a:xfrm>
          <a:prstGeom prst="rect">
            <a:avLst/>
          </a:prstGeom>
          <a:noFill/>
        </p:spPr>
        <p:txBody>
          <a:bodyPr wrap="square" lIns="35963" tIns="35963" rIns="35963" bIns="35963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6463"/>
            <a:r>
              <a:rPr lang="nl-NL" b="1" spc="-40" dirty="0">
                <a:solidFill>
                  <a:srgbClr val="1C66F9"/>
                </a:solidFill>
              </a:rPr>
              <a:t>Online</a:t>
            </a:r>
          </a:p>
        </p:txBody>
      </p:sp>
      <p:sp>
        <p:nvSpPr>
          <p:cNvPr id="18" name="Tekstvak 17"/>
          <p:cNvSpPr txBox="1"/>
          <p:nvPr/>
        </p:nvSpPr>
        <p:spPr>
          <a:xfrm>
            <a:off x="3337938" y="4226608"/>
            <a:ext cx="1094563" cy="241906"/>
          </a:xfrm>
          <a:prstGeom prst="rect">
            <a:avLst/>
          </a:prstGeom>
          <a:noFill/>
        </p:spPr>
        <p:txBody>
          <a:bodyPr wrap="square" lIns="35963" tIns="35963" rIns="35963" bIns="35963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6463"/>
            <a:r>
              <a:rPr lang="nl-NL" b="1" spc="-40" dirty="0">
                <a:solidFill>
                  <a:srgbClr val="1C66F9"/>
                </a:solidFill>
              </a:rPr>
              <a:t>Radio</a:t>
            </a:r>
          </a:p>
        </p:txBody>
      </p:sp>
      <p:sp>
        <p:nvSpPr>
          <p:cNvPr id="19" name="Tekstvak 18"/>
          <p:cNvSpPr txBox="1"/>
          <p:nvPr/>
        </p:nvSpPr>
        <p:spPr>
          <a:xfrm>
            <a:off x="4601861" y="4234940"/>
            <a:ext cx="1094563" cy="241906"/>
          </a:xfrm>
          <a:prstGeom prst="rect">
            <a:avLst/>
          </a:prstGeom>
          <a:noFill/>
        </p:spPr>
        <p:txBody>
          <a:bodyPr wrap="square" lIns="35963" tIns="35963" rIns="35963" bIns="35963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6463"/>
            <a:r>
              <a:rPr lang="nl-NL" b="1" spc="-40" dirty="0">
                <a:solidFill>
                  <a:srgbClr val="1C66F9"/>
                </a:solidFill>
              </a:rPr>
              <a:t>Print</a:t>
            </a:r>
          </a:p>
        </p:txBody>
      </p:sp>
      <p:sp>
        <p:nvSpPr>
          <p:cNvPr id="20" name="Tekstvak 19"/>
          <p:cNvSpPr txBox="1"/>
          <p:nvPr/>
        </p:nvSpPr>
        <p:spPr>
          <a:xfrm>
            <a:off x="5909798" y="4243310"/>
            <a:ext cx="1094563" cy="241906"/>
          </a:xfrm>
          <a:prstGeom prst="rect">
            <a:avLst/>
          </a:prstGeom>
          <a:noFill/>
        </p:spPr>
        <p:txBody>
          <a:bodyPr wrap="square" lIns="35963" tIns="35963" rIns="35963" bIns="35963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6463"/>
            <a:r>
              <a:rPr lang="nl-NL" b="1" spc="-40" dirty="0" err="1">
                <a:solidFill>
                  <a:srgbClr val="1C66F9"/>
                </a:solidFill>
              </a:rPr>
              <a:t>Other</a:t>
            </a:r>
            <a:endParaRPr lang="nl-NL" b="1" spc="-40" dirty="0">
              <a:solidFill>
                <a:srgbClr val="1C66F9"/>
              </a:solidFill>
            </a:endParaRPr>
          </a:p>
        </p:txBody>
      </p:sp>
      <p:sp>
        <p:nvSpPr>
          <p:cNvPr id="21" name="Tekstvak 20"/>
          <p:cNvSpPr txBox="1"/>
          <p:nvPr/>
        </p:nvSpPr>
        <p:spPr>
          <a:xfrm>
            <a:off x="7164231" y="4251645"/>
            <a:ext cx="1094563" cy="241906"/>
          </a:xfrm>
          <a:prstGeom prst="rect">
            <a:avLst/>
          </a:prstGeom>
          <a:noFill/>
        </p:spPr>
        <p:txBody>
          <a:bodyPr wrap="square" lIns="35963" tIns="35963" rIns="35963" bIns="35963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686463"/>
            <a:r>
              <a:rPr lang="nl-NL" b="1" spc="-40" dirty="0">
                <a:solidFill>
                  <a:srgbClr val="1C66F9"/>
                </a:solidFill>
              </a:rPr>
              <a:t>Mobile</a:t>
            </a: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7293207" y="4803552"/>
            <a:ext cx="1495851" cy="125909"/>
            <a:chOff x="425958" y="6336331"/>
            <a:chExt cx="2526569" cy="216000"/>
          </a:xfrm>
          <a:solidFill>
            <a:schemeClr val="accent1"/>
          </a:solidFill>
        </p:grpSpPr>
        <p:sp>
          <p:nvSpPr>
            <p:cNvPr id="25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C66F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01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26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grpFill/>
          </p:grpSpPr>
          <p:sp>
            <p:nvSpPr>
              <p:cNvPr id="27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8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9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0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1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2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3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4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5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7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005321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00" dirty="0"/>
              <a:t>Sanoma: 70% van </a:t>
            </a:r>
            <a:r>
              <a:rPr lang="en-US" sz="2100" dirty="0" err="1"/>
              <a:t>onze</a:t>
            </a:r>
            <a:r>
              <a:rPr lang="en-US" sz="2100" dirty="0"/>
              <a:t> traffic </a:t>
            </a:r>
            <a:r>
              <a:rPr lang="en-US" sz="2100" dirty="0" err="1"/>
              <a:t>komt</a:t>
            </a:r>
            <a:r>
              <a:rPr lang="en-US" sz="2100" dirty="0"/>
              <a:t> van </a:t>
            </a:r>
            <a:r>
              <a:rPr lang="en-US" sz="2100" dirty="0" err="1"/>
              <a:t>een</a:t>
            </a:r>
            <a:r>
              <a:rPr lang="en-US" sz="2100" dirty="0"/>
              <a:t> </a:t>
            </a:r>
            <a:r>
              <a:rPr lang="en-US" sz="2100" dirty="0" err="1"/>
              <a:t>mobiel</a:t>
            </a:r>
            <a:r>
              <a:rPr lang="en-US" sz="2100" dirty="0"/>
              <a:t> device</a:t>
            </a:r>
            <a:endParaRPr lang="en-GB" sz="2100" dirty="0"/>
          </a:p>
        </p:txBody>
      </p:sp>
      <p:sp>
        <p:nvSpPr>
          <p:cNvPr id="3" name="Rechthoek 2"/>
          <p:cNvSpPr/>
          <p:nvPr/>
        </p:nvSpPr>
        <p:spPr>
          <a:xfrm>
            <a:off x="8064368" y="3083807"/>
            <a:ext cx="611738" cy="589427"/>
          </a:xfrm>
          <a:prstGeom prst="rect">
            <a:avLst/>
          </a:prstGeom>
          <a:solidFill>
            <a:srgbClr val="A3D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517" tIns="37757" rIns="75517" bIns="377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463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27" name="Rechthoek 26"/>
          <p:cNvSpPr/>
          <p:nvPr/>
        </p:nvSpPr>
        <p:spPr>
          <a:xfrm>
            <a:off x="8064366" y="2024045"/>
            <a:ext cx="611739" cy="589427"/>
          </a:xfrm>
          <a:prstGeom prst="rect">
            <a:avLst/>
          </a:prstGeom>
          <a:solidFill>
            <a:srgbClr val="19C2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517" tIns="37757" rIns="75517" bIns="377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463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29" name="Rechthoek 28"/>
          <p:cNvSpPr/>
          <p:nvPr/>
        </p:nvSpPr>
        <p:spPr>
          <a:xfrm>
            <a:off x="8064366" y="921948"/>
            <a:ext cx="611739" cy="589427"/>
          </a:xfrm>
          <a:prstGeom prst="rect">
            <a:avLst/>
          </a:prstGeom>
          <a:solidFill>
            <a:srgbClr val="235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517" tIns="37757" rIns="75517" bIns="377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463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31" name="Tekstvak 30"/>
          <p:cNvSpPr txBox="1"/>
          <p:nvPr/>
        </p:nvSpPr>
        <p:spPr>
          <a:xfrm>
            <a:off x="8121235" y="3673236"/>
            <a:ext cx="520991" cy="213983"/>
          </a:xfrm>
          <a:prstGeom prst="rect">
            <a:avLst/>
          </a:prstGeom>
          <a:noFill/>
        </p:spPr>
        <p:txBody>
          <a:bodyPr wrap="none" lIns="29729" tIns="29729" rIns="29729" bIns="29729" rtlCol="0">
            <a:spAutoFit/>
          </a:bodyPr>
          <a:lstStyle/>
          <a:p>
            <a:pPr algn="ctr" defTabSz="686463"/>
            <a:r>
              <a:rPr lang="nl-NL" sz="1000" b="1" spc="-33" dirty="0">
                <a:solidFill>
                  <a:srgbClr val="4D4D4D"/>
                </a:solidFill>
              </a:rPr>
              <a:t>desktop</a:t>
            </a:r>
          </a:p>
        </p:txBody>
      </p:sp>
      <p:sp>
        <p:nvSpPr>
          <p:cNvPr id="32" name="Tekstvak 31"/>
          <p:cNvSpPr txBox="1"/>
          <p:nvPr/>
        </p:nvSpPr>
        <p:spPr>
          <a:xfrm>
            <a:off x="7986487" y="2613471"/>
            <a:ext cx="776514" cy="337102"/>
          </a:xfrm>
          <a:prstGeom prst="rect">
            <a:avLst/>
          </a:prstGeom>
          <a:noFill/>
        </p:spPr>
        <p:txBody>
          <a:bodyPr wrap="square" lIns="29729" tIns="29729" rIns="29729" bIns="29729" rtlCol="0">
            <a:spAutoFit/>
          </a:bodyPr>
          <a:lstStyle/>
          <a:p>
            <a:pPr algn="ctr" defTabSz="686463"/>
            <a:r>
              <a:rPr lang="nl-NL" sz="1000" b="1" spc="-33" dirty="0">
                <a:solidFill>
                  <a:srgbClr val="4D4D4D"/>
                </a:solidFill>
              </a:rPr>
              <a:t>tablet</a:t>
            </a:r>
          </a:p>
          <a:p>
            <a:pPr algn="ctr" defTabSz="686463"/>
            <a:r>
              <a:rPr lang="en-GB" sz="800" spc="-33" dirty="0">
                <a:solidFill>
                  <a:srgbClr val="4D4D4D"/>
                </a:solidFill>
              </a:rPr>
              <a:t>(web &amp; app)</a:t>
            </a:r>
          </a:p>
        </p:txBody>
      </p:sp>
      <p:sp>
        <p:nvSpPr>
          <p:cNvPr id="33" name="Tekstvak 32"/>
          <p:cNvSpPr txBox="1"/>
          <p:nvPr/>
        </p:nvSpPr>
        <p:spPr>
          <a:xfrm>
            <a:off x="8000869" y="1511376"/>
            <a:ext cx="825468" cy="337102"/>
          </a:xfrm>
          <a:prstGeom prst="rect">
            <a:avLst/>
          </a:prstGeom>
          <a:noFill/>
        </p:spPr>
        <p:txBody>
          <a:bodyPr wrap="square" lIns="29729" tIns="29729" rIns="29729" bIns="29729" rtlCol="0">
            <a:spAutoFit/>
          </a:bodyPr>
          <a:lstStyle/>
          <a:p>
            <a:pPr algn="ctr" defTabSz="686463"/>
            <a:r>
              <a:rPr lang="nl-NL" sz="1000" b="1" spc="-33" dirty="0">
                <a:solidFill>
                  <a:srgbClr val="4D4D4D"/>
                </a:solidFill>
              </a:rPr>
              <a:t>smartphone</a:t>
            </a:r>
          </a:p>
          <a:p>
            <a:pPr algn="ctr" defTabSz="686463"/>
            <a:r>
              <a:rPr lang="en-GB" sz="800" spc="-33" dirty="0">
                <a:solidFill>
                  <a:srgbClr val="4D4D4D"/>
                </a:solidFill>
              </a:rPr>
              <a:t>(web &amp; app)</a:t>
            </a:r>
          </a:p>
        </p:txBody>
      </p:sp>
      <p:sp>
        <p:nvSpPr>
          <p:cNvPr id="35" name="Tekstvak 34"/>
          <p:cNvSpPr txBox="1"/>
          <p:nvPr>
            <p:custDataLst>
              <p:tags r:id="rId1"/>
            </p:custDataLst>
          </p:nvPr>
        </p:nvSpPr>
        <p:spPr>
          <a:xfrm>
            <a:off x="380777" y="4652970"/>
            <a:ext cx="8679981" cy="228037"/>
          </a:xfrm>
          <a:prstGeom prst="rect">
            <a:avLst/>
          </a:prstGeom>
          <a:noFill/>
        </p:spPr>
        <p:txBody>
          <a:bodyPr wrap="square" lIns="29722" tIns="44288" rIns="88579" bIns="44288" rtlCol="0">
            <a:spAutoFit/>
          </a:bodyPr>
          <a:lstStyle/>
          <a:p>
            <a:pPr defTabSz="686463"/>
            <a:r>
              <a:rPr lang="en-GB" sz="900" dirty="0">
                <a:solidFill>
                  <a:srgbClr val="999999"/>
                </a:solidFill>
              </a:rPr>
              <a:t>Source: AORTA (with adjusted Android figures) - Desktop sites visited on a tablet are measured as tablet traffic</a:t>
            </a:r>
          </a:p>
        </p:txBody>
      </p:sp>
      <p:pic>
        <p:nvPicPr>
          <p:cNvPr id="18" name="Afbeelding 17" descr="mobile_dblauw.png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4201" y="1027835"/>
            <a:ext cx="456555" cy="408039"/>
          </a:xfrm>
          <a:prstGeom prst="rect">
            <a:avLst/>
          </a:prstGeom>
        </p:spPr>
      </p:pic>
      <p:pic>
        <p:nvPicPr>
          <p:cNvPr id="20" name="Afbeelding 19" descr="laptop_dblauw.png"/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18" y="3123079"/>
            <a:ext cx="596857" cy="533308"/>
          </a:xfrm>
          <a:prstGeom prst="rect">
            <a:avLst/>
          </a:prstGeom>
          <a:solidFill>
            <a:srgbClr val="47B5F9"/>
          </a:solidFill>
        </p:spPr>
      </p:pic>
      <p:pic>
        <p:nvPicPr>
          <p:cNvPr id="8" name="Afbeelding 7" descr="tabletblauw.png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1156" y="1982160"/>
            <a:ext cx="628317" cy="628317"/>
          </a:xfrm>
          <a:prstGeom prst="rect">
            <a:avLst/>
          </a:prstGeom>
          <a:solidFill>
            <a:srgbClr val="3587BB"/>
          </a:solidFill>
        </p:spPr>
      </p:pic>
      <p:graphicFrame>
        <p:nvGraphicFramePr>
          <p:cNvPr id="16" name="Grafiek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9377619"/>
              </p:ext>
            </p:extLst>
          </p:nvPr>
        </p:nvGraphicFramePr>
        <p:xfrm>
          <a:off x="169329" y="751020"/>
          <a:ext cx="7905755" cy="3651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Group 23"/>
          <p:cNvGrpSpPr>
            <a:grpSpLocks noChangeAspect="1"/>
          </p:cNvGrpSpPr>
          <p:nvPr/>
        </p:nvGrpSpPr>
        <p:grpSpPr>
          <a:xfrm>
            <a:off x="7293207" y="4803552"/>
            <a:ext cx="1495851" cy="125909"/>
            <a:chOff x="425958" y="6336331"/>
            <a:chExt cx="2526569" cy="216000"/>
          </a:xfrm>
          <a:solidFill>
            <a:schemeClr val="accent1"/>
          </a:solidFill>
        </p:grpSpPr>
        <p:sp>
          <p:nvSpPr>
            <p:cNvPr id="22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C66F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01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23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grpFill/>
          </p:grpSpPr>
          <p:sp>
            <p:nvSpPr>
              <p:cNvPr id="24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5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6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8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0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6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8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9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0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1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4669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6922" y="321634"/>
            <a:ext cx="8490160" cy="793644"/>
          </a:xfrm>
        </p:spPr>
        <p:txBody>
          <a:bodyPr/>
          <a:lstStyle/>
          <a:p>
            <a:r>
              <a:rPr lang="nl-NL" sz="2100" dirty="0"/>
              <a:t>NU.nl: de afgelopen 4 jaar is het aantal pagina vertoningen per gebruiker bijna verdrievoudigd naar meer dan 200 per maand</a:t>
            </a:r>
            <a:endParaRPr lang="nl-NL" sz="2100" dirty="0"/>
          </a:p>
        </p:txBody>
      </p:sp>
      <p:pic>
        <p:nvPicPr>
          <p:cNvPr id="23" name="Afbeelding 22" descr="nunl logo white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130" y="4286446"/>
            <a:ext cx="444483" cy="375090"/>
          </a:xfrm>
          <a:prstGeom prst="rect">
            <a:avLst/>
          </a:prstGeom>
        </p:spPr>
      </p:pic>
      <p:pic>
        <p:nvPicPr>
          <p:cNvPr id="3" name="2007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21892" y="1133764"/>
            <a:ext cx="3507510" cy="3507510"/>
          </a:xfrm>
          <a:prstGeom prst="rect">
            <a:avLst/>
          </a:prstGeom>
        </p:spPr>
      </p:pic>
      <p:pic>
        <p:nvPicPr>
          <p:cNvPr id="4" name="2014.wmv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4597538" y="1116446"/>
            <a:ext cx="3507509" cy="3507509"/>
          </a:xfrm>
          <a:prstGeom prst="rect">
            <a:avLst/>
          </a:prstGeom>
        </p:spPr>
      </p:pic>
      <p:sp>
        <p:nvSpPr>
          <p:cNvPr id="6" name="Rechthoek 5"/>
          <p:cNvSpPr/>
          <p:nvPr/>
        </p:nvSpPr>
        <p:spPr>
          <a:xfrm>
            <a:off x="6065215" y="3132667"/>
            <a:ext cx="623455" cy="323272"/>
          </a:xfrm>
          <a:prstGeom prst="rect">
            <a:avLst/>
          </a:prstGeom>
          <a:solidFill>
            <a:srgbClr val="1C6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6157576" y="3148062"/>
            <a:ext cx="464493" cy="289560"/>
          </a:xfrm>
          <a:prstGeom prst="rect">
            <a:avLst/>
          </a:prstGeom>
          <a:noFill/>
        </p:spPr>
        <p:txBody>
          <a:bodyPr wrap="none" lIns="35986" tIns="35986" rIns="35986" bIns="35986" rtlCol="0">
            <a:spAutoFit/>
          </a:bodyPr>
          <a:lstStyle/>
          <a:p>
            <a:pPr defTabSz="686640"/>
            <a:r>
              <a:rPr lang="nl-NL" sz="1400" b="1" spc="-40" dirty="0">
                <a:solidFill>
                  <a:srgbClr val="FFFFFF"/>
                </a:solidFill>
              </a:rPr>
              <a:t>2015</a:t>
            </a:r>
          </a:p>
        </p:txBody>
      </p:sp>
      <p:sp>
        <p:nvSpPr>
          <p:cNvPr id="9" name="Rechthoek 8"/>
          <p:cNvSpPr/>
          <p:nvPr/>
        </p:nvSpPr>
        <p:spPr>
          <a:xfrm>
            <a:off x="2276767" y="3146522"/>
            <a:ext cx="623455" cy="323272"/>
          </a:xfrm>
          <a:prstGeom prst="rect">
            <a:avLst/>
          </a:prstGeom>
          <a:solidFill>
            <a:srgbClr val="1C6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10" name="Tekstvak 9"/>
          <p:cNvSpPr txBox="1"/>
          <p:nvPr/>
        </p:nvSpPr>
        <p:spPr>
          <a:xfrm>
            <a:off x="2369128" y="3161918"/>
            <a:ext cx="464493" cy="289560"/>
          </a:xfrm>
          <a:prstGeom prst="rect">
            <a:avLst/>
          </a:prstGeom>
          <a:noFill/>
        </p:spPr>
        <p:txBody>
          <a:bodyPr wrap="none" lIns="35986" tIns="35986" rIns="35986" bIns="35986" rtlCol="0">
            <a:spAutoFit/>
          </a:bodyPr>
          <a:lstStyle/>
          <a:p>
            <a:pPr defTabSz="686640"/>
            <a:r>
              <a:rPr lang="nl-NL" sz="1400" b="1" spc="-40" dirty="0">
                <a:solidFill>
                  <a:srgbClr val="FFFFFF"/>
                </a:solidFill>
              </a:rPr>
              <a:t>2007</a:t>
            </a:r>
          </a:p>
        </p:txBody>
      </p:sp>
      <p:grpSp>
        <p:nvGrpSpPr>
          <p:cNvPr id="12" name="Group 23"/>
          <p:cNvGrpSpPr>
            <a:grpSpLocks noChangeAspect="1"/>
          </p:cNvGrpSpPr>
          <p:nvPr/>
        </p:nvGrpSpPr>
        <p:grpSpPr>
          <a:xfrm>
            <a:off x="7293207" y="4803552"/>
            <a:ext cx="1495851" cy="125909"/>
            <a:chOff x="425958" y="6336331"/>
            <a:chExt cx="2526569" cy="216000"/>
          </a:xfrm>
          <a:solidFill>
            <a:schemeClr val="accent1"/>
          </a:solidFill>
        </p:grpSpPr>
        <p:sp>
          <p:nvSpPr>
            <p:cNvPr id="13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C66F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44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14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grpFill/>
          </p:grpSpPr>
          <p:sp>
            <p:nvSpPr>
              <p:cNvPr id="15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6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7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8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9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0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1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2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4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6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991166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2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200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388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3"/>
          <p:cNvGrpSpPr>
            <a:grpSpLocks noChangeAspect="1"/>
          </p:cNvGrpSpPr>
          <p:nvPr/>
        </p:nvGrpSpPr>
        <p:grpSpPr>
          <a:xfrm>
            <a:off x="7293207" y="4803552"/>
            <a:ext cx="1495851" cy="125909"/>
            <a:chOff x="425958" y="6336331"/>
            <a:chExt cx="2526569" cy="216000"/>
          </a:xfrm>
          <a:solidFill>
            <a:schemeClr val="accent1"/>
          </a:solidFill>
        </p:grpSpPr>
        <p:sp>
          <p:nvSpPr>
            <p:cNvPr id="6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C66F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01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7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grpFill/>
          </p:grpSpPr>
          <p:sp>
            <p:nvSpPr>
              <p:cNvPr id="8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9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0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1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2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3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4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5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6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7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8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  <p:pic>
        <p:nvPicPr>
          <p:cNvPr id="1026" name="Picture 2" descr="http://sev.h-cdn.co/assets/15/34/1440193700-wifi-signal-low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930" y="1902498"/>
            <a:ext cx="2557933" cy="2518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0" y="1578268"/>
            <a:ext cx="9144000" cy="793644"/>
          </a:xfrm>
        </p:spPr>
        <p:txBody>
          <a:bodyPr/>
          <a:lstStyle/>
          <a:p>
            <a:pPr algn="ctr"/>
            <a:r>
              <a:rPr lang="en-US" sz="2400" dirty="0"/>
              <a:t>DE 3 ERGSTE DINGEN DIE KUNNEN GEBEUREN</a:t>
            </a:r>
            <a:endParaRPr lang="en-GB" dirty="0"/>
          </a:p>
        </p:txBody>
      </p:sp>
      <p:sp>
        <p:nvSpPr>
          <p:cNvPr id="3" name="AutoShape 4" descr="https://cdn0.iconfinder.com/data/icons/electronic-2/256/battery_low-512.png"/>
          <p:cNvSpPr>
            <a:spLocks noChangeAspect="1" noChangeArrowheads="1"/>
          </p:cNvSpPr>
          <p:nvPr/>
        </p:nvSpPr>
        <p:spPr bwMode="auto">
          <a:xfrm>
            <a:off x="117584" y="-107501"/>
            <a:ext cx="230370" cy="226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672" tIns="34337" rIns="68672" bIns="34337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nl-NL" sz="1400">
              <a:solidFill>
                <a:srgbClr val="4D4D4D"/>
              </a:solidFill>
            </a:endParaRPr>
          </a:p>
        </p:txBody>
      </p:sp>
      <p:sp>
        <p:nvSpPr>
          <p:cNvPr id="20" name="AutoShape 6" descr="https://cdn0.iconfinder.com/data/icons/electronic-2/256/battery_low-512.png"/>
          <p:cNvSpPr>
            <a:spLocks noChangeAspect="1" noChangeArrowheads="1"/>
          </p:cNvSpPr>
          <p:nvPr/>
        </p:nvSpPr>
        <p:spPr bwMode="auto">
          <a:xfrm>
            <a:off x="232769" y="5906"/>
            <a:ext cx="230370" cy="226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672" tIns="34337" rIns="68672" bIns="34337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nl-NL" sz="1400">
              <a:solidFill>
                <a:srgbClr val="4D4D4D"/>
              </a:solidFill>
            </a:endParaRPr>
          </a:p>
        </p:txBody>
      </p:sp>
      <p:sp>
        <p:nvSpPr>
          <p:cNvPr id="21" name="AutoShape 8" descr="https://cdn0.iconfinder.com/data/icons/electronic-2/256/battery_low-512.png"/>
          <p:cNvSpPr>
            <a:spLocks noChangeAspect="1" noChangeArrowheads="1"/>
          </p:cNvSpPr>
          <p:nvPr/>
        </p:nvSpPr>
        <p:spPr bwMode="auto">
          <a:xfrm>
            <a:off x="347954" y="119314"/>
            <a:ext cx="230370" cy="226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672" tIns="34337" rIns="68672" bIns="34337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nl-NL" sz="1400">
              <a:solidFill>
                <a:srgbClr val="4D4D4D"/>
              </a:solidFill>
            </a:endParaRPr>
          </a:p>
        </p:txBody>
      </p:sp>
      <p:sp>
        <p:nvSpPr>
          <p:cNvPr id="22" name="AutoShape 10" descr="https://cdn0.iconfinder.com/data/icons/electronic-2/256/battery_low-512.png"/>
          <p:cNvSpPr>
            <a:spLocks noChangeAspect="1" noChangeArrowheads="1"/>
          </p:cNvSpPr>
          <p:nvPr/>
        </p:nvSpPr>
        <p:spPr bwMode="auto">
          <a:xfrm>
            <a:off x="463139" y="232721"/>
            <a:ext cx="230370" cy="226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672" tIns="34337" rIns="68672" bIns="34337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nl-NL" sz="1400">
              <a:solidFill>
                <a:srgbClr val="4D4D4D"/>
              </a:solidFill>
            </a:endParaRPr>
          </a:p>
        </p:txBody>
      </p:sp>
      <p:sp>
        <p:nvSpPr>
          <p:cNvPr id="23" name="AutoShape 12" descr="https://cdn2.iconfinder.com/data/icons/apple-inspire-white/100/Apple-05-512.png"/>
          <p:cNvSpPr>
            <a:spLocks noChangeAspect="1" noChangeArrowheads="1"/>
          </p:cNvSpPr>
          <p:nvPr/>
        </p:nvSpPr>
        <p:spPr bwMode="auto">
          <a:xfrm>
            <a:off x="578324" y="346129"/>
            <a:ext cx="230370" cy="226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672" tIns="34337" rIns="68672" bIns="34337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nl-NL" sz="1400">
              <a:solidFill>
                <a:srgbClr val="4D4D4D"/>
              </a:solidFill>
            </a:endParaRPr>
          </a:p>
        </p:txBody>
      </p:sp>
      <p:sp>
        <p:nvSpPr>
          <p:cNvPr id="24" name="AutoShape 14" descr="https://cdn2.iconfinder.com/data/icons/apple-inspire-white/100/Apple-05-512.png"/>
          <p:cNvSpPr>
            <a:spLocks noChangeAspect="1" noChangeArrowheads="1"/>
          </p:cNvSpPr>
          <p:nvPr/>
        </p:nvSpPr>
        <p:spPr bwMode="auto">
          <a:xfrm>
            <a:off x="693509" y="459536"/>
            <a:ext cx="230370" cy="226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672" tIns="34337" rIns="68672" bIns="34337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nl-NL" sz="1400">
              <a:solidFill>
                <a:srgbClr val="4D4D4D"/>
              </a:solidFill>
            </a:endParaRPr>
          </a:p>
        </p:txBody>
      </p:sp>
      <p:sp>
        <p:nvSpPr>
          <p:cNvPr id="27" name="AutoShape 16" descr="https://cdn0.iconfinder.com/data/icons/electronic-2/256/battery_low-512.png"/>
          <p:cNvSpPr>
            <a:spLocks noChangeAspect="1" noChangeArrowheads="1"/>
          </p:cNvSpPr>
          <p:nvPr/>
        </p:nvSpPr>
        <p:spPr bwMode="auto">
          <a:xfrm>
            <a:off x="808694" y="572944"/>
            <a:ext cx="230370" cy="226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672" tIns="34337" rIns="68672" bIns="34337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nl-NL" sz="1400">
              <a:solidFill>
                <a:srgbClr val="4D4D4D"/>
              </a:solidFill>
            </a:endParaRPr>
          </a:p>
        </p:txBody>
      </p:sp>
      <p:sp>
        <p:nvSpPr>
          <p:cNvPr id="28" name="AutoShape 18" descr="https://cdn0.iconfinder.com/data/icons/electronic-2/256/battery_low-512.png"/>
          <p:cNvSpPr>
            <a:spLocks noChangeAspect="1" noChangeArrowheads="1"/>
          </p:cNvSpPr>
          <p:nvPr/>
        </p:nvSpPr>
        <p:spPr bwMode="auto">
          <a:xfrm>
            <a:off x="923879" y="686351"/>
            <a:ext cx="230370" cy="226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672" tIns="34337" rIns="68672" bIns="34337" numCol="1" anchor="t" anchorCtr="0" compatLnSpc="1">
            <a:prstTxWarp prst="textNoShape">
              <a:avLst/>
            </a:prstTxWarp>
          </a:bodyPr>
          <a:lstStyle/>
          <a:p>
            <a:pPr defTabSz="686640"/>
            <a:endParaRPr lang="nl-NL" sz="1400">
              <a:solidFill>
                <a:srgbClr val="4D4D4D"/>
              </a:solidFill>
            </a:endParaRPr>
          </a:p>
        </p:txBody>
      </p:sp>
      <p:pic>
        <p:nvPicPr>
          <p:cNvPr id="1044" name="Picture 20" descr="http://static1.squarespace.com/static/5208e77be4b0f6f84d95279b/t/55225c53e4b04e3e353d4329/1427887271785/low-battery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3335" y="2707414"/>
            <a:ext cx="1291482" cy="1271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http://ppt4web.ru/assets/2c736062/img/loading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305" y="2424885"/>
            <a:ext cx="1434903" cy="1412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96714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 noChangeAspect="1" noEditPoints="1"/>
          </p:cNvSpPr>
          <p:nvPr/>
        </p:nvSpPr>
        <p:spPr bwMode="auto">
          <a:xfrm>
            <a:off x="7293212" y="4803555"/>
            <a:ext cx="767014" cy="125909"/>
          </a:xfrm>
          <a:custGeom>
            <a:avLst/>
            <a:gdLst>
              <a:gd name="T0" fmla="*/ 4989 w 5446"/>
              <a:gd name="T1" fmla="*/ 686 h 908"/>
              <a:gd name="T2" fmla="*/ 4808 w 5446"/>
              <a:gd name="T3" fmla="*/ 593 h 908"/>
              <a:gd name="T4" fmla="*/ 4773 w 5446"/>
              <a:gd name="T5" fmla="*/ 389 h 908"/>
              <a:gd name="T6" fmla="*/ 4890 w 5446"/>
              <a:gd name="T7" fmla="*/ 244 h 908"/>
              <a:gd name="T8" fmla="*/ 5087 w 5446"/>
              <a:gd name="T9" fmla="*/ 246 h 908"/>
              <a:gd name="T10" fmla="*/ 4275 w 5446"/>
              <a:gd name="T11" fmla="*/ 348 h 908"/>
              <a:gd name="T12" fmla="*/ 4169 w 5446"/>
              <a:gd name="T13" fmla="*/ 308 h 908"/>
              <a:gd name="T14" fmla="*/ 4039 w 5446"/>
              <a:gd name="T15" fmla="*/ 382 h 908"/>
              <a:gd name="T16" fmla="*/ 3947 w 5446"/>
              <a:gd name="T17" fmla="*/ 299 h 908"/>
              <a:gd name="T18" fmla="*/ 3885 w 5446"/>
              <a:gd name="T19" fmla="*/ 230 h 908"/>
              <a:gd name="T20" fmla="*/ 4026 w 5446"/>
              <a:gd name="T21" fmla="*/ 225 h 908"/>
              <a:gd name="T22" fmla="*/ 4157 w 5446"/>
              <a:gd name="T23" fmla="*/ 240 h 908"/>
              <a:gd name="T24" fmla="*/ 4327 w 5446"/>
              <a:gd name="T25" fmla="*/ 258 h 908"/>
              <a:gd name="T26" fmla="*/ 3153 w 5446"/>
              <a:gd name="T27" fmla="*/ 684 h 908"/>
              <a:gd name="T28" fmla="*/ 2979 w 5446"/>
              <a:gd name="T29" fmla="*/ 574 h 908"/>
              <a:gd name="T30" fmla="*/ 2963 w 5446"/>
              <a:gd name="T31" fmla="*/ 362 h 908"/>
              <a:gd name="T32" fmla="*/ 3119 w 5446"/>
              <a:gd name="T33" fmla="*/ 228 h 908"/>
              <a:gd name="T34" fmla="*/ 3325 w 5446"/>
              <a:gd name="T35" fmla="*/ 274 h 908"/>
              <a:gd name="T36" fmla="*/ 3408 w 5446"/>
              <a:gd name="T37" fmla="*/ 466 h 908"/>
              <a:gd name="T38" fmla="*/ 3307 w 5446"/>
              <a:gd name="T39" fmla="*/ 646 h 908"/>
              <a:gd name="T40" fmla="*/ 2400 w 5446"/>
              <a:gd name="T41" fmla="*/ 420 h 908"/>
              <a:gd name="T42" fmla="*/ 2307 w 5446"/>
              <a:gd name="T43" fmla="*/ 305 h 908"/>
              <a:gd name="T44" fmla="*/ 2173 w 5446"/>
              <a:gd name="T45" fmla="*/ 348 h 908"/>
              <a:gd name="T46" fmla="*/ 2144 w 5446"/>
              <a:gd name="T47" fmla="*/ 287 h 908"/>
              <a:gd name="T48" fmla="*/ 2344 w 5446"/>
              <a:gd name="T49" fmla="*/ 228 h 908"/>
              <a:gd name="T50" fmla="*/ 2478 w 5446"/>
              <a:gd name="T51" fmla="*/ 349 h 908"/>
              <a:gd name="T52" fmla="*/ 1440 w 5446"/>
              <a:gd name="T53" fmla="*/ 669 h 908"/>
              <a:gd name="T54" fmla="*/ 1240 w 5446"/>
              <a:gd name="T55" fmla="*/ 653 h 908"/>
              <a:gd name="T56" fmla="*/ 1136 w 5446"/>
              <a:gd name="T57" fmla="*/ 478 h 908"/>
              <a:gd name="T58" fmla="*/ 1199 w 5446"/>
              <a:gd name="T59" fmla="*/ 289 h 908"/>
              <a:gd name="T60" fmla="*/ 1381 w 5446"/>
              <a:gd name="T61" fmla="*/ 222 h 908"/>
              <a:gd name="T62" fmla="*/ 466 w 5446"/>
              <a:gd name="T63" fmla="*/ 686 h 908"/>
              <a:gd name="T64" fmla="*/ 258 w 5446"/>
              <a:gd name="T65" fmla="*/ 567 h 908"/>
              <a:gd name="T66" fmla="*/ 460 w 5446"/>
              <a:gd name="T67" fmla="*/ 606 h 908"/>
              <a:gd name="T68" fmla="*/ 583 w 5446"/>
              <a:gd name="T69" fmla="*/ 540 h 908"/>
              <a:gd name="T70" fmla="*/ 341 w 5446"/>
              <a:gd name="T71" fmla="*/ 472 h 908"/>
              <a:gd name="T72" fmla="*/ 239 w 5446"/>
              <a:gd name="T73" fmla="*/ 342 h 908"/>
              <a:gd name="T74" fmla="*/ 365 w 5446"/>
              <a:gd name="T75" fmla="*/ 232 h 908"/>
              <a:gd name="T76" fmla="*/ 641 w 5446"/>
              <a:gd name="T77" fmla="*/ 283 h 908"/>
              <a:gd name="T78" fmla="*/ 462 w 5446"/>
              <a:gd name="T79" fmla="*/ 302 h 908"/>
              <a:gd name="T80" fmla="*/ 327 w 5446"/>
              <a:gd name="T81" fmla="*/ 363 h 908"/>
              <a:gd name="T82" fmla="*/ 584 w 5446"/>
              <a:gd name="T83" fmla="*/ 433 h 908"/>
              <a:gd name="T84" fmla="*/ 674 w 5446"/>
              <a:gd name="T85" fmla="*/ 553 h 908"/>
              <a:gd name="T86" fmla="*/ 569 w 5446"/>
              <a:gd name="T87" fmla="*/ 669 h 908"/>
              <a:gd name="T88" fmla="*/ 5446 w 5446"/>
              <a:gd name="T89" fmla="*/ 453 h 908"/>
              <a:gd name="T90" fmla="*/ 1291 w 5446"/>
              <a:gd name="T91" fmla="*/ 318 h 908"/>
              <a:gd name="T92" fmla="*/ 1231 w 5446"/>
              <a:gd name="T93" fmla="*/ 504 h 908"/>
              <a:gd name="T94" fmla="*/ 1318 w 5446"/>
              <a:gd name="T95" fmla="*/ 603 h 908"/>
              <a:gd name="T96" fmla="*/ 1469 w 5446"/>
              <a:gd name="T97" fmla="*/ 562 h 908"/>
              <a:gd name="T98" fmla="*/ 1491 w 5446"/>
              <a:gd name="T99" fmla="*/ 384 h 908"/>
              <a:gd name="T100" fmla="*/ 1373 w 5446"/>
              <a:gd name="T101" fmla="*/ 297 h 908"/>
              <a:gd name="T102" fmla="*/ 3063 w 5446"/>
              <a:gd name="T103" fmla="*/ 359 h 908"/>
              <a:gd name="T104" fmla="*/ 3059 w 5446"/>
              <a:gd name="T105" fmla="*/ 541 h 908"/>
              <a:gd name="T106" fmla="*/ 3213 w 5446"/>
              <a:gd name="T107" fmla="*/ 601 h 908"/>
              <a:gd name="T108" fmla="*/ 3311 w 5446"/>
              <a:gd name="T109" fmla="*/ 508 h 908"/>
              <a:gd name="T110" fmla="*/ 3273 w 5446"/>
              <a:gd name="T111" fmla="*/ 338 h 908"/>
              <a:gd name="T112" fmla="*/ 4941 w 5446"/>
              <a:gd name="T113" fmla="*/ 307 h 908"/>
              <a:gd name="T114" fmla="*/ 4856 w 5446"/>
              <a:gd name="T115" fmla="*/ 483 h 908"/>
              <a:gd name="T116" fmla="*/ 4934 w 5446"/>
              <a:gd name="T117" fmla="*/ 597 h 908"/>
              <a:gd name="T118" fmla="*/ 5090 w 5446"/>
              <a:gd name="T119" fmla="*/ 573 h 908"/>
              <a:gd name="T120" fmla="*/ 5126 w 5446"/>
              <a:gd name="T121" fmla="*/ 399 h 908"/>
              <a:gd name="T122" fmla="*/ 5022 w 5446"/>
              <a:gd name="T123" fmla="*/ 299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46" h="908">
                <a:moveTo>
                  <a:pt x="5219" y="677"/>
                </a:moveTo>
                <a:lnTo>
                  <a:pt x="5130" y="677"/>
                </a:lnTo>
                <a:lnTo>
                  <a:pt x="5130" y="624"/>
                </a:lnTo>
                <a:lnTo>
                  <a:pt x="5127" y="627"/>
                </a:lnTo>
                <a:lnTo>
                  <a:pt x="5124" y="631"/>
                </a:lnTo>
                <a:lnTo>
                  <a:pt x="5117" y="637"/>
                </a:lnTo>
                <a:lnTo>
                  <a:pt x="5110" y="644"/>
                </a:lnTo>
                <a:lnTo>
                  <a:pt x="5103" y="649"/>
                </a:lnTo>
                <a:lnTo>
                  <a:pt x="5087" y="660"/>
                </a:lnTo>
                <a:lnTo>
                  <a:pt x="5079" y="665"/>
                </a:lnTo>
                <a:lnTo>
                  <a:pt x="5070" y="669"/>
                </a:lnTo>
                <a:lnTo>
                  <a:pt x="5061" y="673"/>
                </a:lnTo>
                <a:lnTo>
                  <a:pt x="5052" y="676"/>
                </a:lnTo>
                <a:lnTo>
                  <a:pt x="5042" y="679"/>
                </a:lnTo>
                <a:lnTo>
                  <a:pt x="5032" y="682"/>
                </a:lnTo>
                <a:lnTo>
                  <a:pt x="5022" y="684"/>
                </a:lnTo>
                <a:lnTo>
                  <a:pt x="5011" y="685"/>
                </a:lnTo>
                <a:lnTo>
                  <a:pt x="5000" y="686"/>
                </a:lnTo>
                <a:lnTo>
                  <a:pt x="4989" y="686"/>
                </a:lnTo>
                <a:lnTo>
                  <a:pt x="4977" y="686"/>
                </a:lnTo>
                <a:lnTo>
                  <a:pt x="4965" y="685"/>
                </a:lnTo>
                <a:lnTo>
                  <a:pt x="4954" y="684"/>
                </a:lnTo>
                <a:lnTo>
                  <a:pt x="4942" y="682"/>
                </a:lnTo>
                <a:lnTo>
                  <a:pt x="4931" y="679"/>
                </a:lnTo>
                <a:lnTo>
                  <a:pt x="4921" y="676"/>
                </a:lnTo>
                <a:lnTo>
                  <a:pt x="4910" y="672"/>
                </a:lnTo>
                <a:lnTo>
                  <a:pt x="4900" y="668"/>
                </a:lnTo>
                <a:lnTo>
                  <a:pt x="4890" y="663"/>
                </a:lnTo>
                <a:lnTo>
                  <a:pt x="4880" y="658"/>
                </a:lnTo>
                <a:lnTo>
                  <a:pt x="4871" y="653"/>
                </a:lnTo>
                <a:lnTo>
                  <a:pt x="4862" y="647"/>
                </a:lnTo>
                <a:lnTo>
                  <a:pt x="4853" y="640"/>
                </a:lnTo>
                <a:lnTo>
                  <a:pt x="4845" y="633"/>
                </a:lnTo>
                <a:lnTo>
                  <a:pt x="4837" y="626"/>
                </a:lnTo>
                <a:lnTo>
                  <a:pt x="4829" y="618"/>
                </a:lnTo>
                <a:lnTo>
                  <a:pt x="4822" y="610"/>
                </a:lnTo>
                <a:lnTo>
                  <a:pt x="4815" y="602"/>
                </a:lnTo>
                <a:lnTo>
                  <a:pt x="4808" y="593"/>
                </a:lnTo>
                <a:lnTo>
                  <a:pt x="4802" y="584"/>
                </a:lnTo>
                <a:lnTo>
                  <a:pt x="4796" y="575"/>
                </a:lnTo>
                <a:lnTo>
                  <a:pt x="4791" y="565"/>
                </a:lnTo>
                <a:lnTo>
                  <a:pt x="4786" y="555"/>
                </a:lnTo>
                <a:lnTo>
                  <a:pt x="4782" y="545"/>
                </a:lnTo>
                <a:lnTo>
                  <a:pt x="4778" y="534"/>
                </a:lnTo>
                <a:lnTo>
                  <a:pt x="4775" y="523"/>
                </a:lnTo>
                <a:lnTo>
                  <a:pt x="4772" y="512"/>
                </a:lnTo>
                <a:lnTo>
                  <a:pt x="4770" y="501"/>
                </a:lnTo>
                <a:lnTo>
                  <a:pt x="4768" y="489"/>
                </a:lnTo>
                <a:lnTo>
                  <a:pt x="4766" y="478"/>
                </a:lnTo>
                <a:lnTo>
                  <a:pt x="4765" y="466"/>
                </a:lnTo>
                <a:lnTo>
                  <a:pt x="4765" y="453"/>
                </a:lnTo>
                <a:lnTo>
                  <a:pt x="4765" y="441"/>
                </a:lnTo>
                <a:lnTo>
                  <a:pt x="4766" y="429"/>
                </a:lnTo>
                <a:lnTo>
                  <a:pt x="4768" y="417"/>
                </a:lnTo>
                <a:lnTo>
                  <a:pt x="4770" y="406"/>
                </a:lnTo>
                <a:lnTo>
                  <a:pt x="4772" y="395"/>
                </a:lnTo>
                <a:lnTo>
                  <a:pt x="4773" y="389"/>
                </a:lnTo>
                <a:lnTo>
                  <a:pt x="4775" y="384"/>
                </a:lnTo>
                <a:lnTo>
                  <a:pt x="4778" y="373"/>
                </a:lnTo>
                <a:lnTo>
                  <a:pt x="4782" y="362"/>
                </a:lnTo>
                <a:lnTo>
                  <a:pt x="4786" y="352"/>
                </a:lnTo>
                <a:lnTo>
                  <a:pt x="4791" y="342"/>
                </a:lnTo>
                <a:lnTo>
                  <a:pt x="4796" y="332"/>
                </a:lnTo>
                <a:lnTo>
                  <a:pt x="4802" y="323"/>
                </a:lnTo>
                <a:lnTo>
                  <a:pt x="4808" y="314"/>
                </a:lnTo>
                <a:lnTo>
                  <a:pt x="4815" y="305"/>
                </a:lnTo>
                <a:lnTo>
                  <a:pt x="4822" y="297"/>
                </a:lnTo>
                <a:lnTo>
                  <a:pt x="4829" y="289"/>
                </a:lnTo>
                <a:lnTo>
                  <a:pt x="4837" y="281"/>
                </a:lnTo>
                <a:lnTo>
                  <a:pt x="4845" y="274"/>
                </a:lnTo>
                <a:lnTo>
                  <a:pt x="4849" y="270"/>
                </a:lnTo>
                <a:lnTo>
                  <a:pt x="4853" y="267"/>
                </a:lnTo>
                <a:lnTo>
                  <a:pt x="4862" y="260"/>
                </a:lnTo>
                <a:lnTo>
                  <a:pt x="4871" y="254"/>
                </a:lnTo>
                <a:lnTo>
                  <a:pt x="4880" y="249"/>
                </a:lnTo>
                <a:lnTo>
                  <a:pt x="4890" y="244"/>
                </a:lnTo>
                <a:lnTo>
                  <a:pt x="4900" y="239"/>
                </a:lnTo>
                <a:lnTo>
                  <a:pt x="4910" y="235"/>
                </a:lnTo>
                <a:lnTo>
                  <a:pt x="4921" y="231"/>
                </a:lnTo>
                <a:lnTo>
                  <a:pt x="4931" y="228"/>
                </a:lnTo>
                <a:lnTo>
                  <a:pt x="4942" y="226"/>
                </a:lnTo>
                <a:lnTo>
                  <a:pt x="4954" y="224"/>
                </a:lnTo>
                <a:lnTo>
                  <a:pt x="4965" y="222"/>
                </a:lnTo>
                <a:lnTo>
                  <a:pt x="4977" y="221"/>
                </a:lnTo>
                <a:lnTo>
                  <a:pt x="4989" y="221"/>
                </a:lnTo>
                <a:lnTo>
                  <a:pt x="5000" y="221"/>
                </a:lnTo>
                <a:lnTo>
                  <a:pt x="5011" y="222"/>
                </a:lnTo>
                <a:lnTo>
                  <a:pt x="5022" y="223"/>
                </a:lnTo>
                <a:lnTo>
                  <a:pt x="5032" y="225"/>
                </a:lnTo>
                <a:lnTo>
                  <a:pt x="5042" y="228"/>
                </a:lnTo>
                <a:lnTo>
                  <a:pt x="5052" y="230"/>
                </a:lnTo>
                <a:lnTo>
                  <a:pt x="5061" y="234"/>
                </a:lnTo>
                <a:lnTo>
                  <a:pt x="5070" y="238"/>
                </a:lnTo>
                <a:lnTo>
                  <a:pt x="5079" y="242"/>
                </a:lnTo>
                <a:lnTo>
                  <a:pt x="5087" y="246"/>
                </a:lnTo>
                <a:lnTo>
                  <a:pt x="5095" y="251"/>
                </a:lnTo>
                <a:lnTo>
                  <a:pt x="5099" y="254"/>
                </a:lnTo>
                <a:lnTo>
                  <a:pt x="5102" y="257"/>
                </a:lnTo>
                <a:lnTo>
                  <a:pt x="5110" y="263"/>
                </a:lnTo>
                <a:lnTo>
                  <a:pt x="5117" y="269"/>
                </a:lnTo>
                <a:lnTo>
                  <a:pt x="5123" y="275"/>
                </a:lnTo>
                <a:lnTo>
                  <a:pt x="5130" y="282"/>
                </a:lnTo>
                <a:lnTo>
                  <a:pt x="5130" y="230"/>
                </a:lnTo>
                <a:lnTo>
                  <a:pt x="5219" y="230"/>
                </a:lnTo>
                <a:lnTo>
                  <a:pt x="5219" y="677"/>
                </a:lnTo>
                <a:close/>
                <a:moveTo>
                  <a:pt x="4372" y="408"/>
                </a:moveTo>
                <a:lnTo>
                  <a:pt x="4372" y="676"/>
                </a:lnTo>
                <a:lnTo>
                  <a:pt x="4283" y="676"/>
                </a:lnTo>
                <a:lnTo>
                  <a:pt x="4283" y="409"/>
                </a:lnTo>
                <a:lnTo>
                  <a:pt x="4282" y="391"/>
                </a:lnTo>
                <a:lnTo>
                  <a:pt x="4282" y="382"/>
                </a:lnTo>
                <a:lnTo>
                  <a:pt x="4281" y="374"/>
                </a:lnTo>
                <a:lnTo>
                  <a:pt x="4278" y="360"/>
                </a:lnTo>
                <a:lnTo>
                  <a:pt x="4275" y="348"/>
                </a:lnTo>
                <a:lnTo>
                  <a:pt x="4271" y="337"/>
                </a:lnTo>
                <a:lnTo>
                  <a:pt x="4266" y="328"/>
                </a:lnTo>
                <a:lnTo>
                  <a:pt x="4261" y="320"/>
                </a:lnTo>
                <a:lnTo>
                  <a:pt x="4255" y="314"/>
                </a:lnTo>
                <a:lnTo>
                  <a:pt x="4249" y="309"/>
                </a:lnTo>
                <a:lnTo>
                  <a:pt x="4243" y="305"/>
                </a:lnTo>
                <a:lnTo>
                  <a:pt x="4237" y="302"/>
                </a:lnTo>
                <a:lnTo>
                  <a:pt x="4231" y="300"/>
                </a:lnTo>
                <a:lnTo>
                  <a:pt x="4225" y="298"/>
                </a:lnTo>
                <a:lnTo>
                  <a:pt x="4220" y="297"/>
                </a:lnTo>
                <a:lnTo>
                  <a:pt x="4214" y="297"/>
                </a:lnTo>
                <a:lnTo>
                  <a:pt x="4210" y="297"/>
                </a:lnTo>
                <a:lnTo>
                  <a:pt x="4206" y="297"/>
                </a:lnTo>
                <a:lnTo>
                  <a:pt x="4201" y="297"/>
                </a:lnTo>
                <a:lnTo>
                  <a:pt x="4195" y="298"/>
                </a:lnTo>
                <a:lnTo>
                  <a:pt x="4189" y="299"/>
                </a:lnTo>
                <a:lnTo>
                  <a:pt x="4183" y="301"/>
                </a:lnTo>
                <a:lnTo>
                  <a:pt x="4176" y="304"/>
                </a:lnTo>
                <a:lnTo>
                  <a:pt x="4169" y="308"/>
                </a:lnTo>
                <a:lnTo>
                  <a:pt x="4163" y="313"/>
                </a:lnTo>
                <a:lnTo>
                  <a:pt x="4156" y="320"/>
                </a:lnTo>
                <a:lnTo>
                  <a:pt x="4150" y="327"/>
                </a:lnTo>
                <a:lnTo>
                  <a:pt x="4147" y="332"/>
                </a:lnTo>
                <a:lnTo>
                  <a:pt x="4144" y="337"/>
                </a:lnTo>
                <a:lnTo>
                  <a:pt x="4142" y="342"/>
                </a:lnTo>
                <a:lnTo>
                  <a:pt x="4139" y="348"/>
                </a:lnTo>
                <a:lnTo>
                  <a:pt x="4137" y="354"/>
                </a:lnTo>
                <a:lnTo>
                  <a:pt x="4135" y="361"/>
                </a:lnTo>
                <a:lnTo>
                  <a:pt x="4134" y="368"/>
                </a:lnTo>
                <a:lnTo>
                  <a:pt x="4132" y="375"/>
                </a:lnTo>
                <a:lnTo>
                  <a:pt x="4130" y="392"/>
                </a:lnTo>
                <a:lnTo>
                  <a:pt x="4130" y="402"/>
                </a:lnTo>
                <a:lnTo>
                  <a:pt x="4129" y="412"/>
                </a:lnTo>
                <a:lnTo>
                  <a:pt x="4129" y="676"/>
                </a:lnTo>
                <a:lnTo>
                  <a:pt x="4040" y="676"/>
                </a:lnTo>
                <a:lnTo>
                  <a:pt x="4040" y="409"/>
                </a:lnTo>
                <a:lnTo>
                  <a:pt x="4040" y="391"/>
                </a:lnTo>
                <a:lnTo>
                  <a:pt x="4039" y="382"/>
                </a:lnTo>
                <a:lnTo>
                  <a:pt x="4038" y="374"/>
                </a:lnTo>
                <a:lnTo>
                  <a:pt x="4036" y="360"/>
                </a:lnTo>
                <a:lnTo>
                  <a:pt x="4032" y="348"/>
                </a:lnTo>
                <a:lnTo>
                  <a:pt x="4028" y="337"/>
                </a:lnTo>
                <a:lnTo>
                  <a:pt x="4023" y="328"/>
                </a:lnTo>
                <a:lnTo>
                  <a:pt x="4018" y="320"/>
                </a:lnTo>
                <a:lnTo>
                  <a:pt x="4012" y="314"/>
                </a:lnTo>
                <a:lnTo>
                  <a:pt x="4007" y="309"/>
                </a:lnTo>
                <a:lnTo>
                  <a:pt x="4001" y="305"/>
                </a:lnTo>
                <a:lnTo>
                  <a:pt x="3994" y="302"/>
                </a:lnTo>
                <a:lnTo>
                  <a:pt x="3988" y="300"/>
                </a:lnTo>
                <a:lnTo>
                  <a:pt x="3983" y="298"/>
                </a:lnTo>
                <a:lnTo>
                  <a:pt x="3977" y="297"/>
                </a:lnTo>
                <a:lnTo>
                  <a:pt x="3972" y="297"/>
                </a:lnTo>
                <a:lnTo>
                  <a:pt x="3967" y="297"/>
                </a:lnTo>
                <a:lnTo>
                  <a:pt x="3963" y="297"/>
                </a:lnTo>
                <a:lnTo>
                  <a:pt x="3959" y="297"/>
                </a:lnTo>
                <a:lnTo>
                  <a:pt x="3953" y="298"/>
                </a:lnTo>
                <a:lnTo>
                  <a:pt x="3947" y="299"/>
                </a:lnTo>
                <a:lnTo>
                  <a:pt x="3941" y="301"/>
                </a:lnTo>
                <a:lnTo>
                  <a:pt x="3934" y="304"/>
                </a:lnTo>
                <a:lnTo>
                  <a:pt x="3928" y="308"/>
                </a:lnTo>
                <a:lnTo>
                  <a:pt x="3921" y="313"/>
                </a:lnTo>
                <a:lnTo>
                  <a:pt x="3915" y="320"/>
                </a:lnTo>
                <a:lnTo>
                  <a:pt x="3909" y="327"/>
                </a:lnTo>
                <a:lnTo>
                  <a:pt x="3906" y="332"/>
                </a:lnTo>
                <a:lnTo>
                  <a:pt x="3903" y="337"/>
                </a:lnTo>
                <a:lnTo>
                  <a:pt x="3898" y="348"/>
                </a:lnTo>
                <a:lnTo>
                  <a:pt x="3894" y="361"/>
                </a:lnTo>
                <a:lnTo>
                  <a:pt x="3893" y="368"/>
                </a:lnTo>
                <a:lnTo>
                  <a:pt x="3891" y="375"/>
                </a:lnTo>
                <a:lnTo>
                  <a:pt x="3889" y="392"/>
                </a:lnTo>
                <a:lnTo>
                  <a:pt x="3889" y="402"/>
                </a:lnTo>
                <a:lnTo>
                  <a:pt x="3889" y="412"/>
                </a:lnTo>
                <a:lnTo>
                  <a:pt x="3889" y="676"/>
                </a:lnTo>
                <a:lnTo>
                  <a:pt x="3800" y="676"/>
                </a:lnTo>
                <a:lnTo>
                  <a:pt x="3800" y="230"/>
                </a:lnTo>
                <a:lnTo>
                  <a:pt x="3885" y="230"/>
                </a:lnTo>
                <a:lnTo>
                  <a:pt x="3885" y="281"/>
                </a:lnTo>
                <a:lnTo>
                  <a:pt x="3890" y="272"/>
                </a:lnTo>
                <a:lnTo>
                  <a:pt x="3895" y="264"/>
                </a:lnTo>
                <a:lnTo>
                  <a:pt x="3901" y="258"/>
                </a:lnTo>
                <a:lnTo>
                  <a:pt x="3907" y="251"/>
                </a:lnTo>
                <a:lnTo>
                  <a:pt x="3914" y="246"/>
                </a:lnTo>
                <a:lnTo>
                  <a:pt x="3921" y="241"/>
                </a:lnTo>
                <a:lnTo>
                  <a:pt x="3928" y="237"/>
                </a:lnTo>
                <a:lnTo>
                  <a:pt x="3935" y="233"/>
                </a:lnTo>
                <a:lnTo>
                  <a:pt x="3942" y="230"/>
                </a:lnTo>
                <a:lnTo>
                  <a:pt x="3950" y="227"/>
                </a:lnTo>
                <a:lnTo>
                  <a:pt x="3964" y="224"/>
                </a:lnTo>
                <a:lnTo>
                  <a:pt x="3971" y="222"/>
                </a:lnTo>
                <a:lnTo>
                  <a:pt x="3978" y="221"/>
                </a:lnTo>
                <a:lnTo>
                  <a:pt x="3990" y="221"/>
                </a:lnTo>
                <a:lnTo>
                  <a:pt x="4000" y="221"/>
                </a:lnTo>
                <a:lnTo>
                  <a:pt x="4008" y="222"/>
                </a:lnTo>
                <a:lnTo>
                  <a:pt x="4017" y="223"/>
                </a:lnTo>
                <a:lnTo>
                  <a:pt x="4026" y="225"/>
                </a:lnTo>
                <a:lnTo>
                  <a:pt x="4034" y="228"/>
                </a:lnTo>
                <a:lnTo>
                  <a:pt x="4042" y="231"/>
                </a:lnTo>
                <a:lnTo>
                  <a:pt x="4050" y="234"/>
                </a:lnTo>
                <a:lnTo>
                  <a:pt x="4057" y="238"/>
                </a:lnTo>
                <a:lnTo>
                  <a:pt x="4064" y="243"/>
                </a:lnTo>
                <a:lnTo>
                  <a:pt x="4071" y="248"/>
                </a:lnTo>
                <a:lnTo>
                  <a:pt x="4078" y="254"/>
                </a:lnTo>
                <a:lnTo>
                  <a:pt x="4084" y="261"/>
                </a:lnTo>
                <a:lnTo>
                  <a:pt x="4090" y="268"/>
                </a:lnTo>
                <a:lnTo>
                  <a:pt x="4096" y="275"/>
                </a:lnTo>
                <a:lnTo>
                  <a:pt x="4101" y="283"/>
                </a:lnTo>
                <a:lnTo>
                  <a:pt x="4105" y="292"/>
                </a:lnTo>
                <a:lnTo>
                  <a:pt x="4111" y="282"/>
                </a:lnTo>
                <a:lnTo>
                  <a:pt x="4118" y="273"/>
                </a:lnTo>
                <a:lnTo>
                  <a:pt x="4125" y="265"/>
                </a:lnTo>
                <a:lnTo>
                  <a:pt x="4133" y="257"/>
                </a:lnTo>
                <a:lnTo>
                  <a:pt x="4140" y="251"/>
                </a:lnTo>
                <a:lnTo>
                  <a:pt x="4148" y="245"/>
                </a:lnTo>
                <a:lnTo>
                  <a:pt x="4157" y="240"/>
                </a:lnTo>
                <a:lnTo>
                  <a:pt x="4165" y="235"/>
                </a:lnTo>
                <a:lnTo>
                  <a:pt x="4174" y="232"/>
                </a:lnTo>
                <a:lnTo>
                  <a:pt x="4182" y="229"/>
                </a:lnTo>
                <a:lnTo>
                  <a:pt x="4191" y="226"/>
                </a:lnTo>
                <a:lnTo>
                  <a:pt x="4199" y="224"/>
                </a:lnTo>
                <a:lnTo>
                  <a:pt x="4207" y="223"/>
                </a:lnTo>
                <a:lnTo>
                  <a:pt x="4214" y="222"/>
                </a:lnTo>
                <a:lnTo>
                  <a:pt x="4228" y="221"/>
                </a:lnTo>
                <a:lnTo>
                  <a:pt x="4241" y="221"/>
                </a:lnTo>
                <a:lnTo>
                  <a:pt x="4254" y="223"/>
                </a:lnTo>
                <a:lnTo>
                  <a:pt x="4267" y="225"/>
                </a:lnTo>
                <a:lnTo>
                  <a:pt x="4280" y="229"/>
                </a:lnTo>
                <a:lnTo>
                  <a:pt x="4292" y="234"/>
                </a:lnTo>
                <a:lnTo>
                  <a:pt x="4298" y="237"/>
                </a:lnTo>
                <a:lnTo>
                  <a:pt x="4304" y="241"/>
                </a:lnTo>
                <a:lnTo>
                  <a:pt x="4310" y="244"/>
                </a:lnTo>
                <a:lnTo>
                  <a:pt x="4316" y="249"/>
                </a:lnTo>
                <a:lnTo>
                  <a:pt x="4321" y="253"/>
                </a:lnTo>
                <a:lnTo>
                  <a:pt x="4327" y="258"/>
                </a:lnTo>
                <a:lnTo>
                  <a:pt x="4332" y="264"/>
                </a:lnTo>
                <a:lnTo>
                  <a:pt x="4337" y="270"/>
                </a:lnTo>
                <a:lnTo>
                  <a:pt x="4341" y="276"/>
                </a:lnTo>
                <a:lnTo>
                  <a:pt x="4346" y="283"/>
                </a:lnTo>
                <a:lnTo>
                  <a:pt x="4350" y="290"/>
                </a:lnTo>
                <a:lnTo>
                  <a:pt x="4354" y="298"/>
                </a:lnTo>
                <a:lnTo>
                  <a:pt x="4357" y="307"/>
                </a:lnTo>
                <a:lnTo>
                  <a:pt x="4360" y="316"/>
                </a:lnTo>
                <a:lnTo>
                  <a:pt x="4363" y="325"/>
                </a:lnTo>
                <a:lnTo>
                  <a:pt x="4366" y="335"/>
                </a:lnTo>
                <a:lnTo>
                  <a:pt x="4368" y="346"/>
                </a:lnTo>
                <a:lnTo>
                  <a:pt x="4370" y="357"/>
                </a:lnTo>
                <a:lnTo>
                  <a:pt x="4371" y="369"/>
                </a:lnTo>
                <a:lnTo>
                  <a:pt x="4372" y="381"/>
                </a:lnTo>
                <a:lnTo>
                  <a:pt x="4372" y="394"/>
                </a:lnTo>
                <a:lnTo>
                  <a:pt x="4372" y="408"/>
                </a:lnTo>
                <a:close/>
                <a:moveTo>
                  <a:pt x="3177" y="685"/>
                </a:moveTo>
                <a:lnTo>
                  <a:pt x="3165" y="685"/>
                </a:lnTo>
                <a:lnTo>
                  <a:pt x="3153" y="684"/>
                </a:lnTo>
                <a:lnTo>
                  <a:pt x="3142" y="683"/>
                </a:lnTo>
                <a:lnTo>
                  <a:pt x="3130" y="681"/>
                </a:lnTo>
                <a:lnTo>
                  <a:pt x="3119" y="678"/>
                </a:lnTo>
                <a:lnTo>
                  <a:pt x="3108" y="675"/>
                </a:lnTo>
                <a:lnTo>
                  <a:pt x="3097" y="671"/>
                </a:lnTo>
                <a:lnTo>
                  <a:pt x="3087" y="667"/>
                </a:lnTo>
                <a:lnTo>
                  <a:pt x="3076" y="663"/>
                </a:lnTo>
                <a:lnTo>
                  <a:pt x="3066" y="658"/>
                </a:lnTo>
                <a:lnTo>
                  <a:pt x="3057" y="652"/>
                </a:lnTo>
                <a:lnTo>
                  <a:pt x="3047" y="646"/>
                </a:lnTo>
                <a:lnTo>
                  <a:pt x="3038" y="639"/>
                </a:lnTo>
                <a:lnTo>
                  <a:pt x="3029" y="633"/>
                </a:lnTo>
                <a:lnTo>
                  <a:pt x="3021" y="625"/>
                </a:lnTo>
                <a:lnTo>
                  <a:pt x="3013" y="618"/>
                </a:lnTo>
                <a:lnTo>
                  <a:pt x="3005" y="610"/>
                </a:lnTo>
                <a:lnTo>
                  <a:pt x="2998" y="601"/>
                </a:lnTo>
                <a:lnTo>
                  <a:pt x="2991" y="592"/>
                </a:lnTo>
                <a:lnTo>
                  <a:pt x="2985" y="583"/>
                </a:lnTo>
                <a:lnTo>
                  <a:pt x="2979" y="574"/>
                </a:lnTo>
                <a:lnTo>
                  <a:pt x="2973" y="564"/>
                </a:lnTo>
                <a:lnTo>
                  <a:pt x="2968" y="554"/>
                </a:lnTo>
                <a:lnTo>
                  <a:pt x="2963" y="544"/>
                </a:lnTo>
                <a:lnTo>
                  <a:pt x="2959" y="533"/>
                </a:lnTo>
                <a:lnTo>
                  <a:pt x="2956" y="523"/>
                </a:lnTo>
                <a:lnTo>
                  <a:pt x="2952" y="512"/>
                </a:lnTo>
                <a:lnTo>
                  <a:pt x="2950" y="500"/>
                </a:lnTo>
                <a:lnTo>
                  <a:pt x="2948" y="489"/>
                </a:lnTo>
                <a:lnTo>
                  <a:pt x="2946" y="477"/>
                </a:lnTo>
                <a:lnTo>
                  <a:pt x="2945" y="466"/>
                </a:lnTo>
                <a:lnTo>
                  <a:pt x="2945" y="453"/>
                </a:lnTo>
                <a:lnTo>
                  <a:pt x="2945" y="441"/>
                </a:lnTo>
                <a:lnTo>
                  <a:pt x="2946" y="429"/>
                </a:lnTo>
                <a:lnTo>
                  <a:pt x="2948" y="417"/>
                </a:lnTo>
                <a:lnTo>
                  <a:pt x="2950" y="406"/>
                </a:lnTo>
                <a:lnTo>
                  <a:pt x="2952" y="395"/>
                </a:lnTo>
                <a:lnTo>
                  <a:pt x="2956" y="384"/>
                </a:lnTo>
                <a:lnTo>
                  <a:pt x="2959" y="373"/>
                </a:lnTo>
                <a:lnTo>
                  <a:pt x="2963" y="362"/>
                </a:lnTo>
                <a:lnTo>
                  <a:pt x="2968" y="352"/>
                </a:lnTo>
                <a:lnTo>
                  <a:pt x="2973" y="342"/>
                </a:lnTo>
                <a:lnTo>
                  <a:pt x="2979" y="332"/>
                </a:lnTo>
                <a:lnTo>
                  <a:pt x="2985" y="323"/>
                </a:lnTo>
                <a:lnTo>
                  <a:pt x="2991" y="314"/>
                </a:lnTo>
                <a:lnTo>
                  <a:pt x="2998" y="305"/>
                </a:lnTo>
                <a:lnTo>
                  <a:pt x="3005" y="297"/>
                </a:lnTo>
                <a:lnTo>
                  <a:pt x="3013" y="289"/>
                </a:lnTo>
                <a:lnTo>
                  <a:pt x="3021" y="281"/>
                </a:lnTo>
                <a:lnTo>
                  <a:pt x="3029" y="274"/>
                </a:lnTo>
                <a:lnTo>
                  <a:pt x="3038" y="267"/>
                </a:lnTo>
                <a:lnTo>
                  <a:pt x="3047" y="260"/>
                </a:lnTo>
                <a:lnTo>
                  <a:pt x="3057" y="254"/>
                </a:lnTo>
                <a:lnTo>
                  <a:pt x="3066" y="249"/>
                </a:lnTo>
                <a:lnTo>
                  <a:pt x="3076" y="244"/>
                </a:lnTo>
                <a:lnTo>
                  <a:pt x="3087" y="239"/>
                </a:lnTo>
                <a:lnTo>
                  <a:pt x="3097" y="235"/>
                </a:lnTo>
                <a:lnTo>
                  <a:pt x="3108" y="231"/>
                </a:lnTo>
                <a:lnTo>
                  <a:pt x="3119" y="228"/>
                </a:lnTo>
                <a:lnTo>
                  <a:pt x="3130" y="226"/>
                </a:lnTo>
                <a:lnTo>
                  <a:pt x="3142" y="224"/>
                </a:lnTo>
                <a:lnTo>
                  <a:pt x="3153" y="222"/>
                </a:lnTo>
                <a:lnTo>
                  <a:pt x="3165" y="221"/>
                </a:lnTo>
                <a:lnTo>
                  <a:pt x="3177" y="221"/>
                </a:lnTo>
                <a:lnTo>
                  <a:pt x="3189" y="221"/>
                </a:lnTo>
                <a:lnTo>
                  <a:pt x="3201" y="222"/>
                </a:lnTo>
                <a:lnTo>
                  <a:pt x="3212" y="224"/>
                </a:lnTo>
                <a:lnTo>
                  <a:pt x="3224" y="226"/>
                </a:lnTo>
                <a:lnTo>
                  <a:pt x="3235" y="228"/>
                </a:lnTo>
                <a:lnTo>
                  <a:pt x="3246" y="231"/>
                </a:lnTo>
                <a:lnTo>
                  <a:pt x="3257" y="235"/>
                </a:lnTo>
                <a:lnTo>
                  <a:pt x="3267" y="239"/>
                </a:lnTo>
                <a:lnTo>
                  <a:pt x="3278" y="244"/>
                </a:lnTo>
                <a:lnTo>
                  <a:pt x="3288" y="249"/>
                </a:lnTo>
                <a:lnTo>
                  <a:pt x="3297" y="254"/>
                </a:lnTo>
                <a:lnTo>
                  <a:pt x="3307" y="260"/>
                </a:lnTo>
                <a:lnTo>
                  <a:pt x="3316" y="267"/>
                </a:lnTo>
                <a:lnTo>
                  <a:pt x="3325" y="274"/>
                </a:lnTo>
                <a:lnTo>
                  <a:pt x="3333" y="281"/>
                </a:lnTo>
                <a:lnTo>
                  <a:pt x="3341" y="289"/>
                </a:lnTo>
                <a:lnTo>
                  <a:pt x="3349" y="297"/>
                </a:lnTo>
                <a:lnTo>
                  <a:pt x="3356" y="305"/>
                </a:lnTo>
                <a:lnTo>
                  <a:pt x="3363" y="314"/>
                </a:lnTo>
                <a:lnTo>
                  <a:pt x="3369" y="323"/>
                </a:lnTo>
                <a:lnTo>
                  <a:pt x="3375" y="332"/>
                </a:lnTo>
                <a:lnTo>
                  <a:pt x="3381" y="342"/>
                </a:lnTo>
                <a:lnTo>
                  <a:pt x="3386" y="352"/>
                </a:lnTo>
                <a:lnTo>
                  <a:pt x="3391" y="362"/>
                </a:lnTo>
                <a:lnTo>
                  <a:pt x="3395" y="373"/>
                </a:lnTo>
                <a:lnTo>
                  <a:pt x="3398" y="384"/>
                </a:lnTo>
                <a:lnTo>
                  <a:pt x="3401" y="395"/>
                </a:lnTo>
                <a:lnTo>
                  <a:pt x="3404" y="406"/>
                </a:lnTo>
                <a:lnTo>
                  <a:pt x="3406" y="417"/>
                </a:lnTo>
                <a:lnTo>
                  <a:pt x="3408" y="429"/>
                </a:lnTo>
                <a:lnTo>
                  <a:pt x="3408" y="441"/>
                </a:lnTo>
                <a:lnTo>
                  <a:pt x="3409" y="453"/>
                </a:lnTo>
                <a:lnTo>
                  <a:pt x="3408" y="466"/>
                </a:lnTo>
                <a:lnTo>
                  <a:pt x="3408" y="477"/>
                </a:lnTo>
                <a:lnTo>
                  <a:pt x="3406" y="489"/>
                </a:lnTo>
                <a:lnTo>
                  <a:pt x="3404" y="500"/>
                </a:lnTo>
                <a:lnTo>
                  <a:pt x="3401" y="512"/>
                </a:lnTo>
                <a:lnTo>
                  <a:pt x="3398" y="523"/>
                </a:lnTo>
                <a:lnTo>
                  <a:pt x="3395" y="533"/>
                </a:lnTo>
                <a:lnTo>
                  <a:pt x="3391" y="544"/>
                </a:lnTo>
                <a:lnTo>
                  <a:pt x="3386" y="554"/>
                </a:lnTo>
                <a:lnTo>
                  <a:pt x="3381" y="564"/>
                </a:lnTo>
                <a:lnTo>
                  <a:pt x="3375" y="574"/>
                </a:lnTo>
                <a:lnTo>
                  <a:pt x="3369" y="583"/>
                </a:lnTo>
                <a:lnTo>
                  <a:pt x="3363" y="592"/>
                </a:lnTo>
                <a:lnTo>
                  <a:pt x="3356" y="601"/>
                </a:lnTo>
                <a:lnTo>
                  <a:pt x="3349" y="610"/>
                </a:lnTo>
                <a:lnTo>
                  <a:pt x="3341" y="618"/>
                </a:lnTo>
                <a:lnTo>
                  <a:pt x="3333" y="625"/>
                </a:lnTo>
                <a:lnTo>
                  <a:pt x="3325" y="633"/>
                </a:lnTo>
                <a:lnTo>
                  <a:pt x="3316" y="639"/>
                </a:lnTo>
                <a:lnTo>
                  <a:pt x="3307" y="646"/>
                </a:lnTo>
                <a:lnTo>
                  <a:pt x="3297" y="652"/>
                </a:lnTo>
                <a:lnTo>
                  <a:pt x="3288" y="658"/>
                </a:lnTo>
                <a:lnTo>
                  <a:pt x="3278" y="663"/>
                </a:lnTo>
                <a:lnTo>
                  <a:pt x="3267" y="667"/>
                </a:lnTo>
                <a:lnTo>
                  <a:pt x="3257" y="671"/>
                </a:lnTo>
                <a:lnTo>
                  <a:pt x="3246" y="675"/>
                </a:lnTo>
                <a:lnTo>
                  <a:pt x="3235" y="678"/>
                </a:lnTo>
                <a:lnTo>
                  <a:pt x="3224" y="681"/>
                </a:lnTo>
                <a:lnTo>
                  <a:pt x="3212" y="683"/>
                </a:lnTo>
                <a:lnTo>
                  <a:pt x="3201" y="684"/>
                </a:lnTo>
                <a:lnTo>
                  <a:pt x="3189" y="685"/>
                </a:lnTo>
                <a:lnTo>
                  <a:pt x="3177" y="685"/>
                </a:lnTo>
                <a:close/>
                <a:moveTo>
                  <a:pt x="2491" y="677"/>
                </a:moveTo>
                <a:lnTo>
                  <a:pt x="2402" y="677"/>
                </a:lnTo>
                <a:lnTo>
                  <a:pt x="2402" y="453"/>
                </a:lnTo>
                <a:lnTo>
                  <a:pt x="2402" y="444"/>
                </a:lnTo>
                <a:lnTo>
                  <a:pt x="2402" y="436"/>
                </a:lnTo>
                <a:lnTo>
                  <a:pt x="2401" y="428"/>
                </a:lnTo>
                <a:lnTo>
                  <a:pt x="2400" y="420"/>
                </a:lnTo>
                <a:lnTo>
                  <a:pt x="2398" y="412"/>
                </a:lnTo>
                <a:lnTo>
                  <a:pt x="2397" y="404"/>
                </a:lnTo>
                <a:lnTo>
                  <a:pt x="2395" y="397"/>
                </a:lnTo>
                <a:lnTo>
                  <a:pt x="2392" y="390"/>
                </a:lnTo>
                <a:lnTo>
                  <a:pt x="2390" y="383"/>
                </a:lnTo>
                <a:lnTo>
                  <a:pt x="2387" y="377"/>
                </a:lnTo>
                <a:lnTo>
                  <a:pt x="2381" y="364"/>
                </a:lnTo>
                <a:lnTo>
                  <a:pt x="2374" y="353"/>
                </a:lnTo>
                <a:lnTo>
                  <a:pt x="2370" y="347"/>
                </a:lnTo>
                <a:lnTo>
                  <a:pt x="2365" y="342"/>
                </a:lnTo>
                <a:lnTo>
                  <a:pt x="2361" y="337"/>
                </a:lnTo>
                <a:lnTo>
                  <a:pt x="2357" y="333"/>
                </a:lnTo>
                <a:lnTo>
                  <a:pt x="2347" y="325"/>
                </a:lnTo>
                <a:lnTo>
                  <a:pt x="2336" y="318"/>
                </a:lnTo>
                <a:lnTo>
                  <a:pt x="2331" y="314"/>
                </a:lnTo>
                <a:lnTo>
                  <a:pt x="2325" y="312"/>
                </a:lnTo>
                <a:lnTo>
                  <a:pt x="2319" y="309"/>
                </a:lnTo>
                <a:lnTo>
                  <a:pt x="2313" y="307"/>
                </a:lnTo>
                <a:lnTo>
                  <a:pt x="2307" y="305"/>
                </a:lnTo>
                <a:lnTo>
                  <a:pt x="2301" y="304"/>
                </a:lnTo>
                <a:lnTo>
                  <a:pt x="2295" y="303"/>
                </a:lnTo>
                <a:lnTo>
                  <a:pt x="2288" y="302"/>
                </a:lnTo>
                <a:lnTo>
                  <a:pt x="2275" y="301"/>
                </a:lnTo>
                <a:lnTo>
                  <a:pt x="2261" y="302"/>
                </a:lnTo>
                <a:lnTo>
                  <a:pt x="2254" y="303"/>
                </a:lnTo>
                <a:lnTo>
                  <a:pt x="2247" y="304"/>
                </a:lnTo>
                <a:lnTo>
                  <a:pt x="2234" y="307"/>
                </a:lnTo>
                <a:lnTo>
                  <a:pt x="2228" y="309"/>
                </a:lnTo>
                <a:lnTo>
                  <a:pt x="2222" y="312"/>
                </a:lnTo>
                <a:lnTo>
                  <a:pt x="2216" y="314"/>
                </a:lnTo>
                <a:lnTo>
                  <a:pt x="2210" y="318"/>
                </a:lnTo>
                <a:lnTo>
                  <a:pt x="2204" y="321"/>
                </a:lnTo>
                <a:lnTo>
                  <a:pt x="2198" y="325"/>
                </a:lnTo>
                <a:lnTo>
                  <a:pt x="2193" y="329"/>
                </a:lnTo>
                <a:lnTo>
                  <a:pt x="2188" y="333"/>
                </a:lnTo>
                <a:lnTo>
                  <a:pt x="2183" y="338"/>
                </a:lnTo>
                <a:lnTo>
                  <a:pt x="2178" y="343"/>
                </a:lnTo>
                <a:lnTo>
                  <a:pt x="2173" y="348"/>
                </a:lnTo>
                <a:lnTo>
                  <a:pt x="2169" y="354"/>
                </a:lnTo>
                <a:lnTo>
                  <a:pt x="2164" y="360"/>
                </a:lnTo>
                <a:lnTo>
                  <a:pt x="2160" y="366"/>
                </a:lnTo>
                <a:lnTo>
                  <a:pt x="2153" y="380"/>
                </a:lnTo>
                <a:lnTo>
                  <a:pt x="2150" y="387"/>
                </a:lnTo>
                <a:lnTo>
                  <a:pt x="2147" y="394"/>
                </a:lnTo>
                <a:lnTo>
                  <a:pt x="2142" y="410"/>
                </a:lnTo>
                <a:lnTo>
                  <a:pt x="2140" y="419"/>
                </a:lnTo>
                <a:lnTo>
                  <a:pt x="2139" y="427"/>
                </a:lnTo>
                <a:lnTo>
                  <a:pt x="2137" y="436"/>
                </a:lnTo>
                <a:lnTo>
                  <a:pt x="2137" y="446"/>
                </a:lnTo>
                <a:lnTo>
                  <a:pt x="2136" y="466"/>
                </a:lnTo>
                <a:lnTo>
                  <a:pt x="2136" y="677"/>
                </a:lnTo>
                <a:lnTo>
                  <a:pt x="2046" y="677"/>
                </a:lnTo>
                <a:lnTo>
                  <a:pt x="2046" y="230"/>
                </a:lnTo>
                <a:lnTo>
                  <a:pt x="2133" y="230"/>
                </a:lnTo>
                <a:lnTo>
                  <a:pt x="2133" y="306"/>
                </a:lnTo>
                <a:lnTo>
                  <a:pt x="2138" y="296"/>
                </a:lnTo>
                <a:lnTo>
                  <a:pt x="2144" y="287"/>
                </a:lnTo>
                <a:lnTo>
                  <a:pt x="2151" y="278"/>
                </a:lnTo>
                <a:lnTo>
                  <a:pt x="2159" y="270"/>
                </a:lnTo>
                <a:lnTo>
                  <a:pt x="2163" y="266"/>
                </a:lnTo>
                <a:lnTo>
                  <a:pt x="2167" y="262"/>
                </a:lnTo>
                <a:lnTo>
                  <a:pt x="2177" y="255"/>
                </a:lnTo>
                <a:lnTo>
                  <a:pt x="2186" y="249"/>
                </a:lnTo>
                <a:lnTo>
                  <a:pt x="2196" y="243"/>
                </a:lnTo>
                <a:lnTo>
                  <a:pt x="2207" y="238"/>
                </a:lnTo>
                <a:lnTo>
                  <a:pt x="2218" y="234"/>
                </a:lnTo>
                <a:lnTo>
                  <a:pt x="2229" y="230"/>
                </a:lnTo>
                <a:lnTo>
                  <a:pt x="2241" y="227"/>
                </a:lnTo>
                <a:lnTo>
                  <a:pt x="2253" y="224"/>
                </a:lnTo>
                <a:lnTo>
                  <a:pt x="2264" y="222"/>
                </a:lnTo>
                <a:lnTo>
                  <a:pt x="2276" y="221"/>
                </a:lnTo>
                <a:lnTo>
                  <a:pt x="2288" y="221"/>
                </a:lnTo>
                <a:lnTo>
                  <a:pt x="2307" y="222"/>
                </a:lnTo>
                <a:lnTo>
                  <a:pt x="2326" y="224"/>
                </a:lnTo>
                <a:lnTo>
                  <a:pt x="2335" y="225"/>
                </a:lnTo>
                <a:lnTo>
                  <a:pt x="2344" y="228"/>
                </a:lnTo>
                <a:lnTo>
                  <a:pt x="2353" y="230"/>
                </a:lnTo>
                <a:lnTo>
                  <a:pt x="2362" y="233"/>
                </a:lnTo>
                <a:lnTo>
                  <a:pt x="2371" y="236"/>
                </a:lnTo>
                <a:lnTo>
                  <a:pt x="2380" y="240"/>
                </a:lnTo>
                <a:lnTo>
                  <a:pt x="2388" y="244"/>
                </a:lnTo>
                <a:lnTo>
                  <a:pt x="2397" y="249"/>
                </a:lnTo>
                <a:lnTo>
                  <a:pt x="2405" y="254"/>
                </a:lnTo>
                <a:lnTo>
                  <a:pt x="2413" y="259"/>
                </a:lnTo>
                <a:lnTo>
                  <a:pt x="2420" y="265"/>
                </a:lnTo>
                <a:lnTo>
                  <a:pt x="2427" y="271"/>
                </a:lnTo>
                <a:lnTo>
                  <a:pt x="2434" y="278"/>
                </a:lnTo>
                <a:lnTo>
                  <a:pt x="2441" y="285"/>
                </a:lnTo>
                <a:lnTo>
                  <a:pt x="2448" y="293"/>
                </a:lnTo>
                <a:lnTo>
                  <a:pt x="2454" y="301"/>
                </a:lnTo>
                <a:lnTo>
                  <a:pt x="2459" y="310"/>
                </a:lnTo>
                <a:lnTo>
                  <a:pt x="2464" y="319"/>
                </a:lnTo>
                <a:lnTo>
                  <a:pt x="2469" y="328"/>
                </a:lnTo>
                <a:lnTo>
                  <a:pt x="2474" y="339"/>
                </a:lnTo>
                <a:lnTo>
                  <a:pt x="2478" y="349"/>
                </a:lnTo>
                <a:lnTo>
                  <a:pt x="2481" y="360"/>
                </a:lnTo>
                <a:lnTo>
                  <a:pt x="2484" y="372"/>
                </a:lnTo>
                <a:lnTo>
                  <a:pt x="2487" y="384"/>
                </a:lnTo>
                <a:lnTo>
                  <a:pt x="2489" y="397"/>
                </a:lnTo>
                <a:lnTo>
                  <a:pt x="2490" y="410"/>
                </a:lnTo>
                <a:lnTo>
                  <a:pt x="2491" y="424"/>
                </a:lnTo>
                <a:lnTo>
                  <a:pt x="2491" y="438"/>
                </a:lnTo>
                <a:lnTo>
                  <a:pt x="2491" y="677"/>
                </a:lnTo>
                <a:close/>
                <a:moveTo>
                  <a:pt x="1589" y="677"/>
                </a:moveTo>
                <a:lnTo>
                  <a:pt x="1499" y="677"/>
                </a:lnTo>
                <a:lnTo>
                  <a:pt x="1499" y="624"/>
                </a:lnTo>
                <a:lnTo>
                  <a:pt x="1496" y="627"/>
                </a:lnTo>
                <a:lnTo>
                  <a:pt x="1493" y="631"/>
                </a:lnTo>
                <a:lnTo>
                  <a:pt x="1487" y="637"/>
                </a:lnTo>
                <a:lnTo>
                  <a:pt x="1480" y="644"/>
                </a:lnTo>
                <a:lnTo>
                  <a:pt x="1473" y="649"/>
                </a:lnTo>
                <a:lnTo>
                  <a:pt x="1457" y="660"/>
                </a:lnTo>
                <a:lnTo>
                  <a:pt x="1449" y="665"/>
                </a:lnTo>
                <a:lnTo>
                  <a:pt x="1440" y="669"/>
                </a:lnTo>
                <a:lnTo>
                  <a:pt x="1431" y="673"/>
                </a:lnTo>
                <a:lnTo>
                  <a:pt x="1422" y="676"/>
                </a:lnTo>
                <a:lnTo>
                  <a:pt x="1412" y="679"/>
                </a:lnTo>
                <a:lnTo>
                  <a:pt x="1402" y="682"/>
                </a:lnTo>
                <a:lnTo>
                  <a:pt x="1392" y="684"/>
                </a:lnTo>
                <a:lnTo>
                  <a:pt x="1381" y="685"/>
                </a:lnTo>
                <a:lnTo>
                  <a:pt x="1370" y="686"/>
                </a:lnTo>
                <a:lnTo>
                  <a:pt x="1359" y="686"/>
                </a:lnTo>
                <a:lnTo>
                  <a:pt x="1347" y="686"/>
                </a:lnTo>
                <a:lnTo>
                  <a:pt x="1335" y="685"/>
                </a:lnTo>
                <a:lnTo>
                  <a:pt x="1323" y="684"/>
                </a:lnTo>
                <a:lnTo>
                  <a:pt x="1312" y="682"/>
                </a:lnTo>
                <a:lnTo>
                  <a:pt x="1301" y="679"/>
                </a:lnTo>
                <a:lnTo>
                  <a:pt x="1290" y="676"/>
                </a:lnTo>
                <a:lnTo>
                  <a:pt x="1280" y="672"/>
                </a:lnTo>
                <a:lnTo>
                  <a:pt x="1269" y="668"/>
                </a:lnTo>
                <a:lnTo>
                  <a:pt x="1259" y="663"/>
                </a:lnTo>
                <a:lnTo>
                  <a:pt x="1250" y="658"/>
                </a:lnTo>
                <a:lnTo>
                  <a:pt x="1240" y="653"/>
                </a:lnTo>
                <a:lnTo>
                  <a:pt x="1231" y="647"/>
                </a:lnTo>
                <a:lnTo>
                  <a:pt x="1223" y="640"/>
                </a:lnTo>
                <a:lnTo>
                  <a:pt x="1214" y="633"/>
                </a:lnTo>
                <a:lnTo>
                  <a:pt x="1206" y="626"/>
                </a:lnTo>
                <a:lnTo>
                  <a:pt x="1199" y="618"/>
                </a:lnTo>
                <a:lnTo>
                  <a:pt x="1191" y="610"/>
                </a:lnTo>
                <a:lnTo>
                  <a:pt x="1184" y="602"/>
                </a:lnTo>
                <a:lnTo>
                  <a:pt x="1178" y="593"/>
                </a:lnTo>
                <a:lnTo>
                  <a:pt x="1172" y="584"/>
                </a:lnTo>
                <a:lnTo>
                  <a:pt x="1166" y="575"/>
                </a:lnTo>
                <a:lnTo>
                  <a:pt x="1161" y="565"/>
                </a:lnTo>
                <a:lnTo>
                  <a:pt x="1156" y="555"/>
                </a:lnTo>
                <a:lnTo>
                  <a:pt x="1152" y="545"/>
                </a:lnTo>
                <a:lnTo>
                  <a:pt x="1148" y="534"/>
                </a:lnTo>
                <a:lnTo>
                  <a:pt x="1144" y="523"/>
                </a:lnTo>
                <a:lnTo>
                  <a:pt x="1142" y="512"/>
                </a:lnTo>
                <a:lnTo>
                  <a:pt x="1139" y="501"/>
                </a:lnTo>
                <a:lnTo>
                  <a:pt x="1137" y="489"/>
                </a:lnTo>
                <a:lnTo>
                  <a:pt x="1136" y="478"/>
                </a:lnTo>
                <a:lnTo>
                  <a:pt x="1135" y="466"/>
                </a:lnTo>
                <a:lnTo>
                  <a:pt x="1135" y="453"/>
                </a:lnTo>
                <a:lnTo>
                  <a:pt x="1135" y="441"/>
                </a:lnTo>
                <a:lnTo>
                  <a:pt x="1136" y="429"/>
                </a:lnTo>
                <a:lnTo>
                  <a:pt x="1137" y="417"/>
                </a:lnTo>
                <a:lnTo>
                  <a:pt x="1139" y="406"/>
                </a:lnTo>
                <a:lnTo>
                  <a:pt x="1142" y="395"/>
                </a:lnTo>
                <a:lnTo>
                  <a:pt x="1143" y="389"/>
                </a:lnTo>
                <a:lnTo>
                  <a:pt x="1144" y="384"/>
                </a:lnTo>
                <a:lnTo>
                  <a:pt x="1148" y="373"/>
                </a:lnTo>
                <a:lnTo>
                  <a:pt x="1152" y="362"/>
                </a:lnTo>
                <a:lnTo>
                  <a:pt x="1156" y="352"/>
                </a:lnTo>
                <a:lnTo>
                  <a:pt x="1161" y="342"/>
                </a:lnTo>
                <a:lnTo>
                  <a:pt x="1166" y="332"/>
                </a:lnTo>
                <a:lnTo>
                  <a:pt x="1172" y="323"/>
                </a:lnTo>
                <a:lnTo>
                  <a:pt x="1178" y="314"/>
                </a:lnTo>
                <a:lnTo>
                  <a:pt x="1184" y="305"/>
                </a:lnTo>
                <a:lnTo>
                  <a:pt x="1191" y="297"/>
                </a:lnTo>
                <a:lnTo>
                  <a:pt x="1199" y="289"/>
                </a:lnTo>
                <a:lnTo>
                  <a:pt x="1206" y="281"/>
                </a:lnTo>
                <a:lnTo>
                  <a:pt x="1214" y="274"/>
                </a:lnTo>
                <a:lnTo>
                  <a:pt x="1218" y="270"/>
                </a:lnTo>
                <a:lnTo>
                  <a:pt x="1223" y="267"/>
                </a:lnTo>
                <a:lnTo>
                  <a:pt x="1231" y="260"/>
                </a:lnTo>
                <a:lnTo>
                  <a:pt x="1240" y="254"/>
                </a:lnTo>
                <a:lnTo>
                  <a:pt x="1250" y="249"/>
                </a:lnTo>
                <a:lnTo>
                  <a:pt x="1259" y="244"/>
                </a:lnTo>
                <a:lnTo>
                  <a:pt x="1269" y="239"/>
                </a:lnTo>
                <a:lnTo>
                  <a:pt x="1280" y="235"/>
                </a:lnTo>
                <a:lnTo>
                  <a:pt x="1290" y="231"/>
                </a:lnTo>
                <a:lnTo>
                  <a:pt x="1301" y="228"/>
                </a:lnTo>
                <a:lnTo>
                  <a:pt x="1312" y="226"/>
                </a:lnTo>
                <a:lnTo>
                  <a:pt x="1323" y="224"/>
                </a:lnTo>
                <a:lnTo>
                  <a:pt x="1335" y="222"/>
                </a:lnTo>
                <a:lnTo>
                  <a:pt x="1347" y="221"/>
                </a:lnTo>
                <a:lnTo>
                  <a:pt x="1359" y="221"/>
                </a:lnTo>
                <a:lnTo>
                  <a:pt x="1370" y="221"/>
                </a:lnTo>
                <a:lnTo>
                  <a:pt x="1381" y="222"/>
                </a:lnTo>
                <a:lnTo>
                  <a:pt x="1392" y="223"/>
                </a:lnTo>
                <a:lnTo>
                  <a:pt x="1402" y="225"/>
                </a:lnTo>
                <a:lnTo>
                  <a:pt x="1412" y="228"/>
                </a:lnTo>
                <a:lnTo>
                  <a:pt x="1421" y="230"/>
                </a:lnTo>
                <a:lnTo>
                  <a:pt x="1431" y="234"/>
                </a:lnTo>
                <a:lnTo>
                  <a:pt x="1440" y="238"/>
                </a:lnTo>
                <a:lnTo>
                  <a:pt x="1448" y="242"/>
                </a:lnTo>
                <a:lnTo>
                  <a:pt x="1457" y="246"/>
                </a:lnTo>
                <a:lnTo>
                  <a:pt x="1465" y="251"/>
                </a:lnTo>
                <a:lnTo>
                  <a:pt x="1468" y="254"/>
                </a:lnTo>
                <a:lnTo>
                  <a:pt x="1472" y="257"/>
                </a:lnTo>
                <a:lnTo>
                  <a:pt x="1479" y="263"/>
                </a:lnTo>
                <a:lnTo>
                  <a:pt x="1486" y="269"/>
                </a:lnTo>
                <a:lnTo>
                  <a:pt x="1493" y="275"/>
                </a:lnTo>
                <a:lnTo>
                  <a:pt x="1499" y="282"/>
                </a:lnTo>
                <a:lnTo>
                  <a:pt x="1499" y="230"/>
                </a:lnTo>
                <a:lnTo>
                  <a:pt x="1589" y="230"/>
                </a:lnTo>
                <a:lnTo>
                  <a:pt x="1589" y="677"/>
                </a:lnTo>
                <a:close/>
                <a:moveTo>
                  <a:pt x="466" y="686"/>
                </a:moveTo>
                <a:lnTo>
                  <a:pt x="452" y="686"/>
                </a:lnTo>
                <a:lnTo>
                  <a:pt x="438" y="685"/>
                </a:lnTo>
                <a:lnTo>
                  <a:pt x="424" y="684"/>
                </a:lnTo>
                <a:lnTo>
                  <a:pt x="410" y="682"/>
                </a:lnTo>
                <a:lnTo>
                  <a:pt x="395" y="679"/>
                </a:lnTo>
                <a:lnTo>
                  <a:pt x="380" y="676"/>
                </a:lnTo>
                <a:lnTo>
                  <a:pt x="365" y="672"/>
                </a:lnTo>
                <a:lnTo>
                  <a:pt x="350" y="667"/>
                </a:lnTo>
                <a:lnTo>
                  <a:pt x="335" y="662"/>
                </a:lnTo>
                <a:lnTo>
                  <a:pt x="319" y="655"/>
                </a:lnTo>
                <a:lnTo>
                  <a:pt x="304" y="648"/>
                </a:lnTo>
                <a:lnTo>
                  <a:pt x="290" y="640"/>
                </a:lnTo>
                <a:lnTo>
                  <a:pt x="275" y="632"/>
                </a:lnTo>
                <a:lnTo>
                  <a:pt x="261" y="622"/>
                </a:lnTo>
                <a:lnTo>
                  <a:pt x="247" y="611"/>
                </a:lnTo>
                <a:lnTo>
                  <a:pt x="240" y="606"/>
                </a:lnTo>
                <a:lnTo>
                  <a:pt x="233" y="600"/>
                </a:lnTo>
                <a:lnTo>
                  <a:pt x="241" y="590"/>
                </a:lnTo>
                <a:lnTo>
                  <a:pt x="258" y="567"/>
                </a:lnTo>
                <a:lnTo>
                  <a:pt x="283" y="534"/>
                </a:lnTo>
                <a:lnTo>
                  <a:pt x="286" y="537"/>
                </a:lnTo>
                <a:lnTo>
                  <a:pt x="296" y="545"/>
                </a:lnTo>
                <a:lnTo>
                  <a:pt x="303" y="551"/>
                </a:lnTo>
                <a:lnTo>
                  <a:pt x="311" y="557"/>
                </a:lnTo>
                <a:lnTo>
                  <a:pt x="321" y="563"/>
                </a:lnTo>
                <a:lnTo>
                  <a:pt x="332" y="570"/>
                </a:lnTo>
                <a:lnTo>
                  <a:pt x="345" y="577"/>
                </a:lnTo>
                <a:lnTo>
                  <a:pt x="358" y="583"/>
                </a:lnTo>
                <a:lnTo>
                  <a:pt x="365" y="586"/>
                </a:lnTo>
                <a:lnTo>
                  <a:pt x="373" y="589"/>
                </a:lnTo>
                <a:lnTo>
                  <a:pt x="388" y="595"/>
                </a:lnTo>
                <a:lnTo>
                  <a:pt x="396" y="597"/>
                </a:lnTo>
                <a:lnTo>
                  <a:pt x="405" y="599"/>
                </a:lnTo>
                <a:lnTo>
                  <a:pt x="414" y="601"/>
                </a:lnTo>
                <a:lnTo>
                  <a:pt x="423" y="603"/>
                </a:lnTo>
                <a:lnTo>
                  <a:pt x="432" y="604"/>
                </a:lnTo>
                <a:lnTo>
                  <a:pt x="441" y="605"/>
                </a:lnTo>
                <a:lnTo>
                  <a:pt x="460" y="606"/>
                </a:lnTo>
                <a:lnTo>
                  <a:pt x="478" y="606"/>
                </a:lnTo>
                <a:lnTo>
                  <a:pt x="494" y="605"/>
                </a:lnTo>
                <a:lnTo>
                  <a:pt x="508" y="603"/>
                </a:lnTo>
                <a:lnTo>
                  <a:pt x="521" y="600"/>
                </a:lnTo>
                <a:lnTo>
                  <a:pt x="533" y="597"/>
                </a:lnTo>
                <a:lnTo>
                  <a:pt x="543" y="594"/>
                </a:lnTo>
                <a:lnTo>
                  <a:pt x="551" y="590"/>
                </a:lnTo>
                <a:lnTo>
                  <a:pt x="559" y="585"/>
                </a:lnTo>
                <a:lnTo>
                  <a:pt x="565" y="581"/>
                </a:lnTo>
                <a:lnTo>
                  <a:pt x="568" y="579"/>
                </a:lnTo>
                <a:lnTo>
                  <a:pt x="571" y="576"/>
                </a:lnTo>
                <a:lnTo>
                  <a:pt x="575" y="571"/>
                </a:lnTo>
                <a:lnTo>
                  <a:pt x="578" y="567"/>
                </a:lnTo>
                <a:lnTo>
                  <a:pt x="580" y="562"/>
                </a:lnTo>
                <a:lnTo>
                  <a:pt x="582" y="557"/>
                </a:lnTo>
                <a:lnTo>
                  <a:pt x="583" y="552"/>
                </a:lnTo>
                <a:lnTo>
                  <a:pt x="583" y="548"/>
                </a:lnTo>
                <a:lnTo>
                  <a:pt x="583" y="544"/>
                </a:lnTo>
                <a:lnTo>
                  <a:pt x="583" y="540"/>
                </a:lnTo>
                <a:lnTo>
                  <a:pt x="582" y="537"/>
                </a:lnTo>
                <a:lnTo>
                  <a:pt x="580" y="534"/>
                </a:lnTo>
                <a:lnTo>
                  <a:pt x="577" y="527"/>
                </a:lnTo>
                <a:lnTo>
                  <a:pt x="575" y="525"/>
                </a:lnTo>
                <a:lnTo>
                  <a:pt x="572" y="522"/>
                </a:lnTo>
                <a:lnTo>
                  <a:pt x="569" y="520"/>
                </a:lnTo>
                <a:lnTo>
                  <a:pt x="566" y="517"/>
                </a:lnTo>
                <a:lnTo>
                  <a:pt x="559" y="513"/>
                </a:lnTo>
                <a:lnTo>
                  <a:pt x="551" y="510"/>
                </a:lnTo>
                <a:lnTo>
                  <a:pt x="542" y="507"/>
                </a:lnTo>
                <a:lnTo>
                  <a:pt x="532" y="504"/>
                </a:lnTo>
                <a:lnTo>
                  <a:pt x="521" y="502"/>
                </a:lnTo>
                <a:lnTo>
                  <a:pt x="498" y="498"/>
                </a:lnTo>
                <a:lnTo>
                  <a:pt x="447" y="491"/>
                </a:lnTo>
                <a:lnTo>
                  <a:pt x="412" y="486"/>
                </a:lnTo>
                <a:lnTo>
                  <a:pt x="394" y="484"/>
                </a:lnTo>
                <a:lnTo>
                  <a:pt x="376" y="480"/>
                </a:lnTo>
                <a:lnTo>
                  <a:pt x="358" y="476"/>
                </a:lnTo>
                <a:lnTo>
                  <a:pt x="341" y="472"/>
                </a:lnTo>
                <a:lnTo>
                  <a:pt x="324" y="466"/>
                </a:lnTo>
                <a:lnTo>
                  <a:pt x="308" y="460"/>
                </a:lnTo>
                <a:lnTo>
                  <a:pt x="301" y="456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9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49" y="294"/>
                </a:lnTo>
                <a:lnTo>
                  <a:pt x="644" y="302"/>
                </a:lnTo>
                <a:lnTo>
                  <a:pt x="627" y="326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0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1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1"/>
                </a:lnTo>
                <a:lnTo>
                  <a:pt x="327" y="355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3"/>
                </a:lnTo>
                <a:lnTo>
                  <a:pt x="443" y="407"/>
                </a:lnTo>
                <a:lnTo>
                  <a:pt x="473" y="411"/>
                </a:lnTo>
                <a:lnTo>
                  <a:pt x="513" y="416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3"/>
                </a:lnTo>
                <a:lnTo>
                  <a:pt x="645" y="468"/>
                </a:lnTo>
                <a:lnTo>
                  <a:pt x="649" y="473"/>
                </a:lnTo>
                <a:lnTo>
                  <a:pt x="654" y="479"/>
                </a:lnTo>
                <a:lnTo>
                  <a:pt x="658" y="484"/>
                </a:lnTo>
                <a:lnTo>
                  <a:pt x="662" y="491"/>
                </a:lnTo>
                <a:lnTo>
                  <a:pt x="665" y="497"/>
                </a:lnTo>
                <a:lnTo>
                  <a:pt x="668" y="504"/>
                </a:lnTo>
                <a:lnTo>
                  <a:pt x="670" y="512"/>
                </a:lnTo>
                <a:lnTo>
                  <a:pt x="672" y="519"/>
                </a:lnTo>
                <a:lnTo>
                  <a:pt x="673" y="528"/>
                </a:lnTo>
                <a:lnTo>
                  <a:pt x="674" y="536"/>
                </a:lnTo>
                <a:lnTo>
                  <a:pt x="674" y="545"/>
                </a:lnTo>
                <a:lnTo>
                  <a:pt x="674" y="553"/>
                </a:lnTo>
                <a:lnTo>
                  <a:pt x="673" y="560"/>
                </a:lnTo>
                <a:lnTo>
                  <a:pt x="672" y="567"/>
                </a:lnTo>
                <a:lnTo>
                  <a:pt x="670" y="574"/>
                </a:lnTo>
                <a:lnTo>
                  <a:pt x="668" y="581"/>
                </a:lnTo>
                <a:lnTo>
                  <a:pt x="666" y="588"/>
                </a:lnTo>
                <a:lnTo>
                  <a:pt x="663" y="594"/>
                </a:lnTo>
                <a:lnTo>
                  <a:pt x="659" y="601"/>
                </a:lnTo>
                <a:lnTo>
                  <a:pt x="655" y="607"/>
                </a:lnTo>
                <a:lnTo>
                  <a:pt x="651" y="613"/>
                </a:lnTo>
                <a:lnTo>
                  <a:pt x="646" y="619"/>
                </a:lnTo>
                <a:lnTo>
                  <a:pt x="641" y="625"/>
                </a:lnTo>
                <a:lnTo>
                  <a:pt x="635" y="630"/>
                </a:lnTo>
                <a:lnTo>
                  <a:pt x="629" y="635"/>
                </a:lnTo>
                <a:lnTo>
                  <a:pt x="623" y="640"/>
                </a:lnTo>
                <a:lnTo>
                  <a:pt x="616" y="645"/>
                </a:lnTo>
                <a:lnTo>
                  <a:pt x="609" y="650"/>
                </a:lnTo>
                <a:lnTo>
                  <a:pt x="602" y="654"/>
                </a:lnTo>
                <a:lnTo>
                  <a:pt x="586" y="662"/>
                </a:lnTo>
                <a:lnTo>
                  <a:pt x="569" y="669"/>
                </a:lnTo>
                <a:lnTo>
                  <a:pt x="560" y="673"/>
                </a:lnTo>
                <a:lnTo>
                  <a:pt x="550" y="675"/>
                </a:lnTo>
                <a:lnTo>
                  <a:pt x="531" y="680"/>
                </a:lnTo>
                <a:lnTo>
                  <a:pt x="510" y="683"/>
                </a:lnTo>
                <a:lnTo>
                  <a:pt x="499" y="685"/>
                </a:lnTo>
                <a:lnTo>
                  <a:pt x="488" y="686"/>
                </a:lnTo>
                <a:lnTo>
                  <a:pt x="466" y="686"/>
                </a:lnTo>
                <a:close/>
                <a:moveTo>
                  <a:pt x="0" y="0"/>
                </a:moveTo>
                <a:lnTo>
                  <a:pt x="0" y="453"/>
                </a:lnTo>
                <a:lnTo>
                  <a:pt x="0" y="908"/>
                </a:lnTo>
                <a:lnTo>
                  <a:pt x="680" y="908"/>
                </a:lnTo>
                <a:lnTo>
                  <a:pt x="1361" y="908"/>
                </a:lnTo>
                <a:lnTo>
                  <a:pt x="2041" y="908"/>
                </a:lnTo>
                <a:lnTo>
                  <a:pt x="2723" y="908"/>
                </a:lnTo>
                <a:lnTo>
                  <a:pt x="3403" y="908"/>
                </a:lnTo>
                <a:lnTo>
                  <a:pt x="4084" y="908"/>
                </a:lnTo>
                <a:lnTo>
                  <a:pt x="4765" y="908"/>
                </a:lnTo>
                <a:lnTo>
                  <a:pt x="5446" y="908"/>
                </a:lnTo>
                <a:lnTo>
                  <a:pt x="5446" y="453"/>
                </a:lnTo>
                <a:lnTo>
                  <a:pt x="5446" y="0"/>
                </a:lnTo>
                <a:lnTo>
                  <a:pt x="4765" y="0"/>
                </a:lnTo>
                <a:lnTo>
                  <a:pt x="4084" y="0"/>
                </a:lnTo>
                <a:lnTo>
                  <a:pt x="3403" y="0"/>
                </a:lnTo>
                <a:lnTo>
                  <a:pt x="2723" y="0"/>
                </a:lnTo>
                <a:lnTo>
                  <a:pt x="2041" y="0"/>
                </a:lnTo>
                <a:lnTo>
                  <a:pt x="1361" y="0"/>
                </a:lnTo>
                <a:lnTo>
                  <a:pt x="680" y="0"/>
                </a:lnTo>
                <a:lnTo>
                  <a:pt x="0" y="0"/>
                </a:lnTo>
                <a:close/>
                <a:moveTo>
                  <a:pt x="1367" y="297"/>
                </a:moveTo>
                <a:lnTo>
                  <a:pt x="1358" y="297"/>
                </a:lnTo>
                <a:lnTo>
                  <a:pt x="1349" y="298"/>
                </a:lnTo>
                <a:lnTo>
                  <a:pt x="1341" y="299"/>
                </a:lnTo>
                <a:lnTo>
                  <a:pt x="1333" y="300"/>
                </a:lnTo>
                <a:lnTo>
                  <a:pt x="1325" y="302"/>
                </a:lnTo>
                <a:lnTo>
                  <a:pt x="1318" y="305"/>
                </a:lnTo>
                <a:lnTo>
                  <a:pt x="1311" y="307"/>
                </a:lnTo>
                <a:lnTo>
                  <a:pt x="1304" y="311"/>
                </a:lnTo>
                <a:lnTo>
                  <a:pt x="1291" y="318"/>
                </a:lnTo>
                <a:lnTo>
                  <a:pt x="1279" y="327"/>
                </a:lnTo>
                <a:lnTo>
                  <a:pt x="1274" y="331"/>
                </a:lnTo>
                <a:lnTo>
                  <a:pt x="1269" y="336"/>
                </a:lnTo>
                <a:lnTo>
                  <a:pt x="1259" y="347"/>
                </a:lnTo>
                <a:lnTo>
                  <a:pt x="1255" y="353"/>
                </a:lnTo>
                <a:lnTo>
                  <a:pt x="1251" y="359"/>
                </a:lnTo>
                <a:lnTo>
                  <a:pt x="1244" y="371"/>
                </a:lnTo>
                <a:lnTo>
                  <a:pt x="1241" y="377"/>
                </a:lnTo>
                <a:lnTo>
                  <a:pt x="1238" y="384"/>
                </a:lnTo>
                <a:lnTo>
                  <a:pt x="1233" y="397"/>
                </a:lnTo>
                <a:lnTo>
                  <a:pt x="1229" y="411"/>
                </a:lnTo>
                <a:lnTo>
                  <a:pt x="1226" y="425"/>
                </a:lnTo>
                <a:lnTo>
                  <a:pt x="1225" y="439"/>
                </a:lnTo>
                <a:lnTo>
                  <a:pt x="1224" y="454"/>
                </a:lnTo>
                <a:lnTo>
                  <a:pt x="1225" y="469"/>
                </a:lnTo>
                <a:lnTo>
                  <a:pt x="1225" y="476"/>
                </a:lnTo>
                <a:lnTo>
                  <a:pt x="1226" y="483"/>
                </a:lnTo>
                <a:lnTo>
                  <a:pt x="1229" y="497"/>
                </a:lnTo>
                <a:lnTo>
                  <a:pt x="1231" y="504"/>
                </a:lnTo>
                <a:lnTo>
                  <a:pt x="1233" y="510"/>
                </a:lnTo>
                <a:lnTo>
                  <a:pt x="1235" y="517"/>
                </a:lnTo>
                <a:lnTo>
                  <a:pt x="1238" y="524"/>
                </a:lnTo>
                <a:lnTo>
                  <a:pt x="1241" y="530"/>
                </a:lnTo>
                <a:lnTo>
                  <a:pt x="1244" y="537"/>
                </a:lnTo>
                <a:lnTo>
                  <a:pt x="1247" y="543"/>
                </a:lnTo>
                <a:lnTo>
                  <a:pt x="1251" y="549"/>
                </a:lnTo>
                <a:lnTo>
                  <a:pt x="1255" y="555"/>
                </a:lnTo>
                <a:lnTo>
                  <a:pt x="1259" y="561"/>
                </a:lnTo>
                <a:lnTo>
                  <a:pt x="1264" y="566"/>
                </a:lnTo>
                <a:lnTo>
                  <a:pt x="1269" y="571"/>
                </a:lnTo>
                <a:lnTo>
                  <a:pt x="1274" y="576"/>
                </a:lnTo>
                <a:lnTo>
                  <a:pt x="1279" y="581"/>
                </a:lnTo>
                <a:lnTo>
                  <a:pt x="1285" y="585"/>
                </a:lnTo>
                <a:lnTo>
                  <a:pt x="1291" y="589"/>
                </a:lnTo>
                <a:lnTo>
                  <a:pt x="1297" y="593"/>
                </a:lnTo>
                <a:lnTo>
                  <a:pt x="1304" y="597"/>
                </a:lnTo>
                <a:lnTo>
                  <a:pt x="1311" y="600"/>
                </a:lnTo>
                <a:lnTo>
                  <a:pt x="1318" y="603"/>
                </a:lnTo>
                <a:lnTo>
                  <a:pt x="1325" y="605"/>
                </a:lnTo>
                <a:lnTo>
                  <a:pt x="1333" y="607"/>
                </a:lnTo>
                <a:lnTo>
                  <a:pt x="1341" y="608"/>
                </a:lnTo>
                <a:lnTo>
                  <a:pt x="1349" y="610"/>
                </a:lnTo>
                <a:lnTo>
                  <a:pt x="1358" y="610"/>
                </a:lnTo>
                <a:lnTo>
                  <a:pt x="1367" y="611"/>
                </a:lnTo>
                <a:lnTo>
                  <a:pt x="1379" y="610"/>
                </a:lnTo>
                <a:lnTo>
                  <a:pt x="1392" y="608"/>
                </a:lnTo>
                <a:lnTo>
                  <a:pt x="1405" y="605"/>
                </a:lnTo>
                <a:lnTo>
                  <a:pt x="1417" y="601"/>
                </a:lnTo>
                <a:lnTo>
                  <a:pt x="1423" y="599"/>
                </a:lnTo>
                <a:lnTo>
                  <a:pt x="1428" y="596"/>
                </a:lnTo>
                <a:lnTo>
                  <a:pt x="1440" y="589"/>
                </a:lnTo>
                <a:lnTo>
                  <a:pt x="1445" y="586"/>
                </a:lnTo>
                <a:lnTo>
                  <a:pt x="1450" y="582"/>
                </a:lnTo>
                <a:lnTo>
                  <a:pt x="1455" y="577"/>
                </a:lnTo>
                <a:lnTo>
                  <a:pt x="1460" y="573"/>
                </a:lnTo>
                <a:lnTo>
                  <a:pt x="1465" y="568"/>
                </a:lnTo>
                <a:lnTo>
                  <a:pt x="1469" y="562"/>
                </a:lnTo>
                <a:lnTo>
                  <a:pt x="1473" y="557"/>
                </a:lnTo>
                <a:lnTo>
                  <a:pt x="1477" y="551"/>
                </a:lnTo>
                <a:lnTo>
                  <a:pt x="1485" y="538"/>
                </a:lnTo>
                <a:lnTo>
                  <a:pt x="1488" y="531"/>
                </a:lnTo>
                <a:lnTo>
                  <a:pt x="1491" y="524"/>
                </a:lnTo>
                <a:lnTo>
                  <a:pt x="1495" y="509"/>
                </a:lnTo>
                <a:lnTo>
                  <a:pt x="1497" y="500"/>
                </a:lnTo>
                <a:lnTo>
                  <a:pt x="1499" y="492"/>
                </a:lnTo>
                <a:lnTo>
                  <a:pt x="1500" y="483"/>
                </a:lnTo>
                <a:lnTo>
                  <a:pt x="1501" y="474"/>
                </a:lnTo>
                <a:lnTo>
                  <a:pt x="1502" y="464"/>
                </a:lnTo>
                <a:lnTo>
                  <a:pt x="1502" y="454"/>
                </a:lnTo>
                <a:lnTo>
                  <a:pt x="1502" y="444"/>
                </a:lnTo>
                <a:lnTo>
                  <a:pt x="1501" y="434"/>
                </a:lnTo>
                <a:lnTo>
                  <a:pt x="1500" y="425"/>
                </a:lnTo>
                <a:lnTo>
                  <a:pt x="1499" y="416"/>
                </a:lnTo>
                <a:lnTo>
                  <a:pt x="1495" y="399"/>
                </a:lnTo>
                <a:lnTo>
                  <a:pt x="1493" y="391"/>
                </a:lnTo>
                <a:lnTo>
                  <a:pt x="1491" y="384"/>
                </a:lnTo>
                <a:lnTo>
                  <a:pt x="1488" y="376"/>
                </a:lnTo>
                <a:lnTo>
                  <a:pt x="1485" y="369"/>
                </a:lnTo>
                <a:lnTo>
                  <a:pt x="1481" y="363"/>
                </a:lnTo>
                <a:lnTo>
                  <a:pt x="1477" y="356"/>
                </a:lnTo>
                <a:lnTo>
                  <a:pt x="1473" y="351"/>
                </a:lnTo>
                <a:lnTo>
                  <a:pt x="1469" y="345"/>
                </a:lnTo>
                <a:lnTo>
                  <a:pt x="1460" y="335"/>
                </a:lnTo>
                <a:lnTo>
                  <a:pt x="1450" y="326"/>
                </a:lnTo>
                <a:lnTo>
                  <a:pt x="1440" y="318"/>
                </a:lnTo>
                <a:lnTo>
                  <a:pt x="1434" y="314"/>
                </a:lnTo>
                <a:lnTo>
                  <a:pt x="1428" y="311"/>
                </a:lnTo>
                <a:lnTo>
                  <a:pt x="1423" y="308"/>
                </a:lnTo>
                <a:lnTo>
                  <a:pt x="1417" y="306"/>
                </a:lnTo>
                <a:lnTo>
                  <a:pt x="1411" y="304"/>
                </a:lnTo>
                <a:lnTo>
                  <a:pt x="1405" y="302"/>
                </a:lnTo>
                <a:lnTo>
                  <a:pt x="1398" y="300"/>
                </a:lnTo>
                <a:lnTo>
                  <a:pt x="1392" y="299"/>
                </a:lnTo>
                <a:lnTo>
                  <a:pt x="1379" y="297"/>
                </a:lnTo>
                <a:lnTo>
                  <a:pt x="1373" y="297"/>
                </a:lnTo>
                <a:lnTo>
                  <a:pt x="1367" y="297"/>
                </a:lnTo>
                <a:close/>
                <a:moveTo>
                  <a:pt x="3177" y="301"/>
                </a:moveTo>
                <a:lnTo>
                  <a:pt x="3162" y="302"/>
                </a:lnTo>
                <a:lnTo>
                  <a:pt x="3148" y="304"/>
                </a:lnTo>
                <a:lnTo>
                  <a:pt x="3141" y="305"/>
                </a:lnTo>
                <a:lnTo>
                  <a:pt x="3135" y="307"/>
                </a:lnTo>
                <a:lnTo>
                  <a:pt x="3128" y="310"/>
                </a:lnTo>
                <a:lnTo>
                  <a:pt x="3121" y="312"/>
                </a:lnTo>
                <a:lnTo>
                  <a:pt x="3115" y="315"/>
                </a:lnTo>
                <a:lnTo>
                  <a:pt x="3109" y="318"/>
                </a:lnTo>
                <a:lnTo>
                  <a:pt x="3103" y="321"/>
                </a:lnTo>
                <a:lnTo>
                  <a:pt x="3097" y="325"/>
                </a:lnTo>
                <a:lnTo>
                  <a:pt x="3092" y="329"/>
                </a:lnTo>
                <a:lnTo>
                  <a:pt x="3086" y="334"/>
                </a:lnTo>
                <a:lnTo>
                  <a:pt x="3081" y="338"/>
                </a:lnTo>
                <a:lnTo>
                  <a:pt x="3076" y="343"/>
                </a:lnTo>
                <a:lnTo>
                  <a:pt x="3071" y="348"/>
                </a:lnTo>
                <a:lnTo>
                  <a:pt x="3067" y="353"/>
                </a:lnTo>
                <a:lnTo>
                  <a:pt x="3063" y="359"/>
                </a:lnTo>
                <a:lnTo>
                  <a:pt x="3059" y="365"/>
                </a:lnTo>
                <a:lnTo>
                  <a:pt x="3052" y="377"/>
                </a:lnTo>
                <a:lnTo>
                  <a:pt x="3048" y="384"/>
                </a:lnTo>
                <a:lnTo>
                  <a:pt x="3046" y="391"/>
                </a:lnTo>
                <a:lnTo>
                  <a:pt x="3043" y="398"/>
                </a:lnTo>
                <a:lnTo>
                  <a:pt x="3041" y="405"/>
                </a:lnTo>
                <a:lnTo>
                  <a:pt x="3039" y="413"/>
                </a:lnTo>
                <a:lnTo>
                  <a:pt x="3037" y="420"/>
                </a:lnTo>
                <a:lnTo>
                  <a:pt x="3035" y="436"/>
                </a:lnTo>
                <a:lnTo>
                  <a:pt x="3034" y="453"/>
                </a:lnTo>
                <a:lnTo>
                  <a:pt x="3034" y="462"/>
                </a:lnTo>
                <a:lnTo>
                  <a:pt x="3035" y="470"/>
                </a:lnTo>
                <a:lnTo>
                  <a:pt x="3036" y="478"/>
                </a:lnTo>
                <a:lnTo>
                  <a:pt x="3037" y="486"/>
                </a:lnTo>
                <a:lnTo>
                  <a:pt x="3041" y="501"/>
                </a:lnTo>
                <a:lnTo>
                  <a:pt x="3046" y="515"/>
                </a:lnTo>
                <a:lnTo>
                  <a:pt x="3052" y="529"/>
                </a:lnTo>
                <a:lnTo>
                  <a:pt x="3055" y="535"/>
                </a:lnTo>
                <a:lnTo>
                  <a:pt x="3059" y="541"/>
                </a:lnTo>
                <a:lnTo>
                  <a:pt x="3063" y="547"/>
                </a:lnTo>
                <a:lnTo>
                  <a:pt x="3067" y="553"/>
                </a:lnTo>
                <a:lnTo>
                  <a:pt x="3071" y="558"/>
                </a:lnTo>
                <a:lnTo>
                  <a:pt x="3076" y="563"/>
                </a:lnTo>
                <a:lnTo>
                  <a:pt x="3081" y="568"/>
                </a:lnTo>
                <a:lnTo>
                  <a:pt x="3086" y="573"/>
                </a:lnTo>
                <a:lnTo>
                  <a:pt x="3092" y="577"/>
                </a:lnTo>
                <a:lnTo>
                  <a:pt x="3097" y="581"/>
                </a:lnTo>
                <a:lnTo>
                  <a:pt x="3109" y="588"/>
                </a:lnTo>
                <a:lnTo>
                  <a:pt x="3115" y="591"/>
                </a:lnTo>
                <a:lnTo>
                  <a:pt x="3121" y="594"/>
                </a:lnTo>
                <a:lnTo>
                  <a:pt x="3135" y="599"/>
                </a:lnTo>
                <a:lnTo>
                  <a:pt x="3148" y="602"/>
                </a:lnTo>
                <a:lnTo>
                  <a:pt x="3155" y="604"/>
                </a:lnTo>
                <a:lnTo>
                  <a:pt x="3162" y="604"/>
                </a:lnTo>
                <a:lnTo>
                  <a:pt x="3177" y="605"/>
                </a:lnTo>
                <a:lnTo>
                  <a:pt x="3192" y="604"/>
                </a:lnTo>
                <a:lnTo>
                  <a:pt x="3206" y="602"/>
                </a:lnTo>
                <a:lnTo>
                  <a:pt x="3213" y="601"/>
                </a:lnTo>
                <a:lnTo>
                  <a:pt x="3219" y="599"/>
                </a:lnTo>
                <a:lnTo>
                  <a:pt x="3226" y="597"/>
                </a:lnTo>
                <a:lnTo>
                  <a:pt x="3232" y="594"/>
                </a:lnTo>
                <a:lnTo>
                  <a:pt x="3239" y="591"/>
                </a:lnTo>
                <a:lnTo>
                  <a:pt x="3245" y="588"/>
                </a:lnTo>
                <a:lnTo>
                  <a:pt x="3251" y="585"/>
                </a:lnTo>
                <a:lnTo>
                  <a:pt x="3257" y="581"/>
                </a:lnTo>
                <a:lnTo>
                  <a:pt x="3262" y="577"/>
                </a:lnTo>
                <a:lnTo>
                  <a:pt x="3268" y="573"/>
                </a:lnTo>
                <a:lnTo>
                  <a:pt x="3273" y="568"/>
                </a:lnTo>
                <a:lnTo>
                  <a:pt x="3278" y="563"/>
                </a:lnTo>
                <a:lnTo>
                  <a:pt x="3282" y="558"/>
                </a:lnTo>
                <a:lnTo>
                  <a:pt x="3287" y="553"/>
                </a:lnTo>
                <a:lnTo>
                  <a:pt x="3291" y="547"/>
                </a:lnTo>
                <a:lnTo>
                  <a:pt x="3295" y="541"/>
                </a:lnTo>
                <a:lnTo>
                  <a:pt x="3302" y="529"/>
                </a:lnTo>
                <a:lnTo>
                  <a:pt x="3305" y="522"/>
                </a:lnTo>
                <a:lnTo>
                  <a:pt x="3308" y="515"/>
                </a:lnTo>
                <a:lnTo>
                  <a:pt x="3311" y="508"/>
                </a:lnTo>
                <a:lnTo>
                  <a:pt x="3313" y="501"/>
                </a:lnTo>
                <a:lnTo>
                  <a:pt x="3315" y="494"/>
                </a:lnTo>
                <a:lnTo>
                  <a:pt x="3317" y="486"/>
                </a:lnTo>
                <a:lnTo>
                  <a:pt x="3319" y="470"/>
                </a:lnTo>
                <a:lnTo>
                  <a:pt x="3320" y="453"/>
                </a:lnTo>
                <a:lnTo>
                  <a:pt x="3319" y="444"/>
                </a:lnTo>
                <a:lnTo>
                  <a:pt x="3319" y="436"/>
                </a:lnTo>
                <a:lnTo>
                  <a:pt x="3318" y="428"/>
                </a:lnTo>
                <a:lnTo>
                  <a:pt x="3317" y="420"/>
                </a:lnTo>
                <a:lnTo>
                  <a:pt x="3313" y="405"/>
                </a:lnTo>
                <a:lnTo>
                  <a:pt x="3308" y="391"/>
                </a:lnTo>
                <a:lnTo>
                  <a:pt x="3302" y="377"/>
                </a:lnTo>
                <a:lnTo>
                  <a:pt x="3299" y="371"/>
                </a:lnTo>
                <a:lnTo>
                  <a:pt x="3295" y="365"/>
                </a:lnTo>
                <a:lnTo>
                  <a:pt x="3291" y="359"/>
                </a:lnTo>
                <a:lnTo>
                  <a:pt x="3287" y="353"/>
                </a:lnTo>
                <a:lnTo>
                  <a:pt x="3282" y="348"/>
                </a:lnTo>
                <a:lnTo>
                  <a:pt x="3278" y="343"/>
                </a:lnTo>
                <a:lnTo>
                  <a:pt x="3273" y="338"/>
                </a:lnTo>
                <a:lnTo>
                  <a:pt x="3268" y="334"/>
                </a:lnTo>
                <a:lnTo>
                  <a:pt x="3262" y="329"/>
                </a:lnTo>
                <a:lnTo>
                  <a:pt x="3257" y="325"/>
                </a:lnTo>
                <a:lnTo>
                  <a:pt x="3245" y="318"/>
                </a:lnTo>
                <a:lnTo>
                  <a:pt x="3239" y="315"/>
                </a:lnTo>
                <a:lnTo>
                  <a:pt x="3232" y="312"/>
                </a:lnTo>
                <a:lnTo>
                  <a:pt x="3219" y="307"/>
                </a:lnTo>
                <a:lnTo>
                  <a:pt x="3206" y="304"/>
                </a:lnTo>
                <a:lnTo>
                  <a:pt x="3199" y="303"/>
                </a:lnTo>
                <a:lnTo>
                  <a:pt x="3192" y="302"/>
                </a:lnTo>
                <a:lnTo>
                  <a:pt x="3177" y="301"/>
                </a:lnTo>
                <a:close/>
                <a:moveTo>
                  <a:pt x="4997" y="297"/>
                </a:moveTo>
                <a:lnTo>
                  <a:pt x="4988" y="297"/>
                </a:lnTo>
                <a:lnTo>
                  <a:pt x="4979" y="298"/>
                </a:lnTo>
                <a:lnTo>
                  <a:pt x="4971" y="299"/>
                </a:lnTo>
                <a:lnTo>
                  <a:pt x="4963" y="300"/>
                </a:lnTo>
                <a:lnTo>
                  <a:pt x="4955" y="302"/>
                </a:lnTo>
                <a:lnTo>
                  <a:pt x="4948" y="305"/>
                </a:lnTo>
                <a:lnTo>
                  <a:pt x="4941" y="307"/>
                </a:lnTo>
                <a:lnTo>
                  <a:pt x="4934" y="311"/>
                </a:lnTo>
                <a:lnTo>
                  <a:pt x="4921" y="318"/>
                </a:lnTo>
                <a:lnTo>
                  <a:pt x="4910" y="327"/>
                </a:lnTo>
                <a:lnTo>
                  <a:pt x="4904" y="331"/>
                </a:lnTo>
                <a:lnTo>
                  <a:pt x="4899" y="336"/>
                </a:lnTo>
                <a:lnTo>
                  <a:pt x="4890" y="347"/>
                </a:lnTo>
                <a:lnTo>
                  <a:pt x="4885" y="353"/>
                </a:lnTo>
                <a:lnTo>
                  <a:pt x="4881" y="359"/>
                </a:lnTo>
                <a:lnTo>
                  <a:pt x="4874" y="371"/>
                </a:lnTo>
                <a:lnTo>
                  <a:pt x="4871" y="377"/>
                </a:lnTo>
                <a:lnTo>
                  <a:pt x="4868" y="384"/>
                </a:lnTo>
                <a:lnTo>
                  <a:pt x="4863" y="397"/>
                </a:lnTo>
                <a:lnTo>
                  <a:pt x="4859" y="411"/>
                </a:lnTo>
                <a:lnTo>
                  <a:pt x="4856" y="425"/>
                </a:lnTo>
                <a:lnTo>
                  <a:pt x="4855" y="439"/>
                </a:lnTo>
                <a:lnTo>
                  <a:pt x="4854" y="454"/>
                </a:lnTo>
                <a:lnTo>
                  <a:pt x="4855" y="469"/>
                </a:lnTo>
                <a:lnTo>
                  <a:pt x="4856" y="476"/>
                </a:lnTo>
                <a:lnTo>
                  <a:pt x="4856" y="483"/>
                </a:lnTo>
                <a:lnTo>
                  <a:pt x="4859" y="497"/>
                </a:lnTo>
                <a:lnTo>
                  <a:pt x="4861" y="504"/>
                </a:lnTo>
                <a:lnTo>
                  <a:pt x="4863" y="510"/>
                </a:lnTo>
                <a:lnTo>
                  <a:pt x="4865" y="517"/>
                </a:lnTo>
                <a:lnTo>
                  <a:pt x="4868" y="524"/>
                </a:lnTo>
                <a:lnTo>
                  <a:pt x="4871" y="530"/>
                </a:lnTo>
                <a:lnTo>
                  <a:pt x="4874" y="537"/>
                </a:lnTo>
                <a:lnTo>
                  <a:pt x="4878" y="543"/>
                </a:lnTo>
                <a:lnTo>
                  <a:pt x="4881" y="549"/>
                </a:lnTo>
                <a:lnTo>
                  <a:pt x="4885" y="555"/>
                </a:lnTo>
                <a:lnTo>
                  <a:pt x="4890" y="561"/>
                </a:lnTo>
                <a:lnTo>
                  <a:pt x="4894" y="566"/>
                </a:lnTo>
                <a:lnTo>
                  <a:pt x="4899" y="571"/>
                </a:lnTo>
                <a:lnTo>
                  <a:pt x="4904" y="576"/>
                </a:lnTo>
                <a:lnTo>
                  <a:pt x="4910" y="581"/>
                </a:lnTo>
                <a:lnTo>
                  <a:pt x="4915" y="585"/>
                </a:lnTo>
                <a:lnTo>
                  <a:pt x="4921" y="589"/>
                </a:lnTo>
                <a:lnTo>
                  <a:pt x="4927" y="593"/>
                </a:lnTo>
                <a:lnTo>
                  <a:pt x="4934" y="597"/>
                </a:lnTo>
                <a:lnTo>
                  <a:pt x="4941" y="600"/>
                </a:lnTo>
                <a:lnTo>
                  <a:pt x="4948" y="603"/>
                </a:lnTo>
                <a:lnTo>
                  <a:pt x="4955" y="605"/>
                </a:lnTo>
                <a:lnTo>
                  <a:pt x="4963" y="607"/>
                </a:lnTo>
                <a:lnTo>
                  <a:pt x="4971" y="608"/>
                </a:lnTo>
                <a:lnTo>
                  <a:pt x="4979" y="610"/>
                </a:lnTo>
                <a:lnTo>
                  <a:pt x="4988" y="610"/>
                </a:lnTo>
                <a:lnTo>
                  <a:pt x="4997" y="611"/>
                </a:lnTo>
                <a:lnTo>
                  <a:pt x="5010" y="610"/>
                </a:lnTo>
                <a:lnTo>
                  <a:pt x="5022" y="608"/>
                </a:lnTo>
                <a:lnTo>
                  <a:pt x="5035" y="605"/>
                </a:lnTo>
                <a:lnTo>
                  <a:pt x="5047" y="601"/>
                </a:lnTo>
                <a:lnTo>
                  <a:pt x="5053" y="599"/>
                </a:lnTo>
                <a:lnTo>
                  <a:pt x="5059" y="596"/>
                </a:lnTo>
                <a:lnTo>
                  <a:pt x="5070" y="589"/>
                </a:lnTo>
                <a:lnTo>
                  <a:pt x="5075" y="586"/>
                </a:lnTo>
                <a:lnTo>
                  <a:pt x="5081" y="582"/>
                </a:lnTo>
                <a:lnTo>
                  <a:pt x="5086" y="577"/>
                </a:lnTo>
                <a:lnTo>
                  <a:pt x="5090" y="573"/>
                </a:lnTo>
                <a:lnTo>
                  <a:pt x="5095" y="568"/>
                </a:lnTo>
                <a:lnTo>
                  <a:pt x="5100" y="562"/>
                </a:lnTo>
                <a:lnTo>
                  <a:pt x="5104" y="557"/>
                </a:lnTo>
                <a:lnTo>
                  <a:pt x="5108" y="551"/>
                </a:lnTo>
                <a:lnTo>
                  <a:pt x="5115" y="538"/>
                </a:lnTo>
                <a:lnTo>
                  <a:pt x="5118" y="531"/>
                </a:lnTo>
                <a:lnTo>
                  <a:pt x="5121" y="524"/>
                </a:lnTo>
                <a:lnTo>
                  <a:pt x="5126" y="509"/>
                </a:lnTo>
                <a:lnTo>
                  <a:pt x="5128" y="500"/>
                </a:lnTo>
                <a:lnTo>
                  <a:pt x="5129" y="492"/>
                </a:lnTo>
                <a:lnTo>
                  <a:pt x="5131" y="483"/>
                </a:lnTo>
                <a:lnTo>
                  <a:pt x="5132" y="474"/>
                </a:lnTo>
                <a:lnTo>
                  <a:pt x="5132" y="464"/>
                </a:lnTo>
                <a:lnTo>
                  <a:pt x="5132" y="454"/>
                </a:lnTo>
                <a:lnTo>
                  <a:pt x="5132" y="444"/>
                </a:lnTo>
                <a:lnTo>
                  <a:pt x="5132" y="434"/>
                </a:lnTo>
                <a:lnTo>
                  <a:pt x="5131" y="425"/>
                </a:lnTo>
                <a:lnTo>
                  <a:pt x="5129" y="416"/>
                </a:lnTo>
                <a:lnTo>
                  <a:pt x="5126" y="399"/>
                </a:lnTo>
                <a:lnTo>
                  <a:pt x="5124" y="391"/>
                </a:lnTo>
                <a:lnTo>
                  <a:pt x="5121" y="384"/>
                </a:lnTo>
                <a:lnTo>
                  <a:pt x="5118" y="376"/>
                </a:lnTo>
                <a:lnTo>
                  <a:pt x="5115" y="369"/>
                </a:lnTo>
                <a:lnTo>
                  <a:pt x="5111" y="363"/>
                </a:lnTo>
                <a:lnTo>
                  <a:pt x="5108" y="356"/>
                </a:lnTo>
                <a:lnTo>
                  <a:pt x="5104" y="351"/>
                </a:lnTo>
                <a:lnTo>
                  <a:pt x="5100" y="345"/>
                </a:lnTo>
                <a:lnTo>
                  <a:pt x="5090" y="335"/>
                </a:lnTo>
                <a:lnTo>
                  <a:pt x="5081" y="326"/>
                </a:lnTo>
                <a:lnTo>
                  <a:pt x="5070" y="318"/>
                </a:lnTo>
                <a:lnTo>
                  <a:pt x="5064" y="314"/>
                </a:lnTo>
                <a:lnTo>
                  <a:pt x="5059" y="311"/>
                </a:lnTo>
                <a:lnTo>
                  <a:pt x="5053" y="308"/>
                </a:lnTo>
                <a:lnTo>
                  <a:pt x="5047" y="306"/>
                </a:lnTo>
                <a:lnTo>
                  <a:pt x="5041" y="304"/>
                </a:lnTo>
                <a:lnTo>
                  <a:pt x="5035" y="302"/>
                </a:lnTo>
                <a:lnTo>
                  <a:pt x="5029" y="300"/>
                </a:lnTo>
                <a:lnTo>
                  <a:pt x="5022" y="299"/>
                </a:lnTo>
                <a:lnTo>
                  <a:pt x="5010" y="297"/>
                </a:lnTo>
                <a:lnTo>
                  <a:pt x="5003" y="297"/>
                </a:lnTo>
                <a:lnTo>
                  <a:pt x="4997" y="297"/>
                </a:lnTo>
                <a:close/>
              </a:path>
            </a:pathLst>
          </a:custGeom>
          <a:solidFill>
            <a:srgbClr val="1C66F9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defTabSz="686374"/>
            <a:endParaRPr lang="fi-FI" sz="1400">
              <a:solidFill>
                <a:srgbClr val="1C66F9"/>
              </a:solidFill>
            </a:endParaRPr>
          </a:p>
        </p:txBody>
      </p:sp>
      <p:sp>
        <p:nvSpPr>
          <p:cNvPr id="5" name="Titel 2"/>
          <p:cNvSpPr txBox="1">
            <a:spLocks/>
          </p:cNvSpPr>
          <p:nvPr/>
        </p:nvSpPr>
        <p:spPr>
          <a:xfrm>
            <a:off x="326922" y="2346813"/>
            <a:ext cx="8490160" cy="72149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27028" tIns="27028" rIns="27028" bIns="27028" rtlCol="0" anchor="b" anchorCtr="0">
            <a:noAutofit/>
          </a:bodyPr>
          <a:lstStyle>
            <a:lvl1pPr algn="ctr" defTabSz="68717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7700" b="1" kern="1200" spc="-3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4000" dirty="0">
                <a:solidFill>
                  <a:srgbClr val="F77D82"/>
                </a:solidFill>
              </a:rPr>
              <a:t>Wat werkt op een </a:t>
            </a:r>
          </a:p>
          <a:p>
            <a:r>
              <a:rPr lang="nl-NL" sz="4000" dirty="0">
                <a:solidFill>
                  <a:srgbClr val="F77D82"/>
                </a:solidFill>
              </a:rPr>
              <a:t>Smartphone?</a:t>
            </a:r>
          </a:p>
        </p:txBody>
      </p:sp>
    </p:spTree>
    <p:extLst>
      <p:ext uri="{BB962C8B-B14F-4D97-AF65-F5344CB8AC3E}">
        <p14:creationId xmlns:p14="http://schemas.microsoft.com/office/powerpoint/2010/main" val="10454546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26920" y="268162"/>
            <a:ext cx="8817079" cy="793644"/>
          </a:xfrm>
        </p:spPr>
        <p:txBody>
          <a:bodyPr/>
          <a:lstStyle/>
          <a:p>
            <a:r>
              <a:rPr lang="en-GB" sz="2100" dirty="0" err="1"/>
              <a:t>Mobiel</a:t>
            </a:r>
            <a:r>
              <a:rPr lang="en-GB" sz="2100" dirty="0"/>
              <a:t> </a:t>
            </a:r>
            <a:r>
              <a:rPr lang="en-GB" sz="2100" dirty="0" err="1"/>
              <a:t>adverteren</a:t>
            </a:r>
            <a:r>
              <a:rPr lang="en-GB" sz="2100" dirty="0"/>
              <a:t> </a:t>
            </a:r>
            <a:r>
              <a:rPr lang="en-GB" sz="2100" dirty="0" err="1"/>
              <a:t>heeft</a:t>
            </a:r>
            <a:r>
              <a:rPr lang="en-GB" sz="2100" dirty="0"/>
              <a:t> de </a:t>
            </a:r>
            <a:r>
              <a:rPr lang="en-GB" sz="2100" dirty="0" err="1"/>
              <a:t>grootste</a:t>
            </a:r>
            <a:r>
              <a:rPr lang="en-GB" sz="2100" dirty="0"/>
              <a:t> impact op </a:t>
            </a:r>
            <a:r>
              <a:rPr lang="en-GB" sz="2100" dirty="0" err="1"/>
              <a:t>merk</a:t>
            </a:r>
            <a:r>
              <a:rPr lang="en-GB" sz="2100" dirty="0"/>
              <a:t> </a:t>
            </a:r>
            <a:r>
              <a:rPr lang="en-GB" sz="2100" dirty="0" err="1"/>
              <a:t>bekendheid</a:t>
            </a:r>
            <a:endParaRPr lang="en-GB" sz="2100" dirty="0"/>
          </a:p>
        </p:txBody>
      </p:sp>
      <p:grpSp>
        <p:nvGrpSpPr>
          <p:cNvPr id="7" name="Group 23"/>
          <p:cNvGrpSpPr>
            <a:grpSpLocks noChangeAspect="1"/>
          </p:cNvGrpSpPr>
          <p:nvPr/>
        </p:nvGrpSpPr>
        <p:grpSpPr>
          <a:xfrm>
            <a:off x="7293207" y="4803552"/>
            <a:ext cx="1495851" cy="125909"/>
            <a:chOff x="425958" y="6336331"/>
            <a:chExt cx="2526569" cy="216000"/>
          </a:xfrm>
          <a:solidFill>
            <a:schemeClr val="accent1"/>
          </a:solidFill>
        </p:grpSpPr>
        <p:sp>
          <p:nvSpPr>
            <p:cNvPr id="9" name="Freeform 6"/>
            <p:cNvSpPr>
              <a:spLocks noChangeAspect="1" noEditPoints="1"/>
            </p:cNvSpPr>
            <p:nvPr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C66F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01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10" name="Group 25"/>
            <p:cNvGrpSpPr>
              <a:grpSpLocks noChangeAspect="1"/>
            </p:cNvGrpSpPr>
            <p:nvPr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grpFill/>
          </p:grpSpPr>
          <p:sp>
            <p:nvSpPr>
              <p:cNvPr id="11" name="Freeform 7"/>
              <p:cNvSpPr>
                <a:spLocks noEditPoints="1"/>
              </p:cNvSpPr>
              <p:nvPr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2" name="Freeform 8"/>
              <p:cNvSpPr>
                <a:spLocks noEditPoints="1"/>
              </p:cNvSpPr>
              <p:nvPr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3" name="Freeform 9"/>
              <p:cNvSpPr>
                <a:spLocks/>
              </p:cNvSpPr>
              <p:nvPr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4" name="Freeform 10"/>
              <p:cNvSpPr>
                <a:spLocks/>
              </p:cNvSpPr>
              <p:nvPr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5" name="Freeform 11"/>
              <p:cNvSpPr>
                <a:spLocks/>
              </p:cNvSpPr>
              <p:nvPr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6" name="Freeform 12"/>
              <p:cNvSpPr>
                <a:spLocks noEditPoints="1"/>
              </p:cNvSpPr>
              <p:nvPr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7" name="Freeform 13"/>
              <p:cNvSpPr>
                <a:spLocks/>
              </p:cNvSpPr>
              <p:nvPr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8" name="Freeform 14"/>
              <p:cNvSpPr>
                <a:spLocks noEditPoints="1"/>
              </p:cNvSpPr>
              <p:nvPr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9" name="Freeform 15"/>
              <p:cNvSpPr>
                <a:spLocks/>
              </p:cNvSpPr>
              <p:nvPr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0" name="Rectangle 16"/>
              <p:cNvSpPr>
                <a:spLocks noChangeArrowheads="1"/>
              </p:cNvSpPr>
              <p:nvPr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1" name="Freeform 17"/>
              <p:cNvSpPr>
                <a:spLocks noEditPoints="1"/>
              </p:cNvSpPr>
              <p:nvPr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  <p:grpSp>
        <p:nvGrpSpPr>
          <p:cNvPr id="38" name="Group 37"/>
          <p:cNvGrpSpPr/>
          <p:nvPr/>
        </p:nvGrpSpPr>
        <p:grpSpPr>
          <a:xfrm>
            <a:off x="1400001" y="1172301"/>
            <a:ext cx="5738282" cy="3163711"/>
            <a:chOff x="268591" y="1222672"/>
            <a:chExt cx="5738282" cy="3163711"/>
          </a:xfrm>
        </p:grpSpPr>
        <p:sp>
          <p:nvSpPr>
            <p:cNvPr id="23" name="Rechthoek 24"/>
            <p:cNvSpPr/>
            <p:nvPr/>
          </p:nvSpPr>
          <p:spPr>
            <a:xfrm>
              <a:off x="1057887" y="1284910"/>
              <a:ext cx="4878431" cy="502206"/>
            </a:xfrm>
            <a:prstGeom prst="rect">
              <a:avLst/>
            </a:prstGeom>
            <a:solidFill>
              <a:srgbClr val="3587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6463"/>
              <a:r>
                <a:rPr lang="en-GB" altLang="nl-NL" sz="1300" b="1" dirty="0">
                  <a:solidFill>
                    <a:prstClr val="white"/>
                  </a:solidFill>
                </a:rPr>
                <a:t>  HALFPAGE AD</a:t>
              </a:r>
            </a:p>
          </p:txBody>
        </p:sp>
        <p:sp>
          <p:nvSpPr>
            <p:cNvPr id="24" name="Rechthoek 24"/>
            <p:cNvSpPr/>
            <p:nvPr/>
          </p:nvSpPr>
          <p:spPr>
            <a:xfrm>
              <a:off x="1055065" y="1931199"/>
              <a:ext cx="4359142" cy="502206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6463"/>
              <a:endParaRPr lang="en-GB" altLang="nl-NL" sz="1300" b="1" dirty="0">
                <a:solidFill>
                  <a:prstClr val="white"/>
                </a:solidFill>
              </a:endParaRPr>
            </a:p>
          </p:txBody>
        </p:sp>
        <p:sp>
          <p:nvSpPr>
            <p:cNvPr id="25" name="Rechthoek 24"/>
            <p:cNvSpPr/>
            <p:nvPr/>
          </p:nvSpPr>
          <p:spPr>
            <a:xfrm>
              <a:off x="1052244" y="2591599"/>
              <a:ext cx="3021408" cy="502206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6463"/>
              <a:endParaRPr lang="en-GB" altLang="nl-NL" sz="1300" b="1" dirty="0">
                <a:solidFill>
                  <a:prstClr val="white"/>
                </a:solidFill>
              </a:endParaRPr>
            </a:p>
          </p:txBody>
        </p:sp>
        <p:sp>
          <p:nvSpPr>
            <p:cNvPr id="26" name="Rechthoek 25"/>
            <p:cNvSpPr/>
            <p:nvPr/>
          </p:nvSpPr>
          <p:spPr>
            <a:xfrm>
              <a:off x="1049422" y="3237888"/>
              <a:ext cx="2544452" cy="502206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6463"/>
              <a:endParaRPr lang="en-GB" altLang="nl-NL" sz="1300" b="1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hoek 26"/>
            <p:cNvSpPr/>
            <p:nvPr/>
          </p:nvSpPr>
          <p:spPr>
            <a:xfrm>
              <a:off x="1046600" y="3884177"/>
              <a:ext cx="2053386" cy="502206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6463"/>
              <a:endParaRPr lang="en-GB" altLang="nl-NL" sz="1300" b="1" dirty="0">
                <a:solidFill>
                  <a:prstClr val="white"/>
                </a:solidFill>
              </a:endParaRPr>
            </a:p>
          </p:txBody>
        </p:sp>
        <p:sp>
          <p:nvSpPr>
            <p:cNvPr id="28" name="Tijdelijke aanduiding voor inhoud 1"/>
            <p:cNvSpPr txBox="1">
              <a:spLocks/>
            </p:cNvSpPr>
            <p:nvPr/>
          </p:nvSpPr>
          <p:spPr>
            <a:xfrm>
              <a:off x="5314970" y="1376251"/>
              <a:ext cx="691903" cy="368532"/>
            </a:xfrm>
            <a:prstGeom prst="rect">
              <a:avLst/>
            </a:prstGeom>
          </p:spPr>
          <p:txBody>
            <a:bodyPr vert="horz" lIns="27054" tIns="27054" rIns="27054" bIns="27054" rtlCol="0">
              <a:noAutofit/>
            </a:bodyPr>
            <a:lstStyle>
              <a:lvl1pPr marL="268427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5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6853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4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0528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2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80864" indent="-275585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929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9722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33308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6894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20479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nl-NL" sz="1600" b="1" dirty="0">
                  <a:solidFill>
                    <a:prstClr val="white"/>
                  </a:solidFill>
                </a:rPr>
                <a:t>63%</a:t>
              </a:r>
              <a:endParaRPr lang="nl-NL" sz="1600" baseline="30000" dirty="0">
                <a:solidFill>
                  <a:prstClr val="white"/>
                </a:solidFill>
              </a:endParaRPr>
            </a:p>
          </p:txBody>
        </p:sp>
        <p:sp>
          <p:nvSpPr>
            <p:cNvPr id="29" name="Tijdelijke aanduiding voor inhoud 1"/>
            <p:cNvSpPr txBox="1">
              <a:spLocks/>
            </p:cNvSpPr>
            <p:nvPr/>
          </p:nvSpPr>
          <p:spPr>
            <a:xfrm>
              <a:off x="4790036" y="2028184"/>
              <a:ext cx="691903" cy="368532"/>
            </a:xfrm>
            <a:prstGeom prst="rect">
              <a:avLst/>
            </a:prstGeom>
          </p:spPr>
          <p:txBody>
            <a:bodyPr vert="horz" lIns="27054" tIns="27054" rIns="27054" bIns="27054" rtlCol="0">
              <a:noAutofit/>
            </a:bodyPr>
            <a:lstStyle>
              <a:lvl1pPr marL="268427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5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6853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4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0528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2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80864" indent="-275585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929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9722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33308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6894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20479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nl-NL" sz="1600" b="1" dirty="0">
                  <a:solidFill>
                    <a:prstClr val="white"/>
                  </a:solidFill>
                </a:rPr>
                <a:t>58%</a:t>
              </a:r>
              <a:endParaRPr lang="nl-NL" sz="1600" baseline="30000" dirty="0">
                <a:solidFill>
                  <a:prstClr val="white"/>
                </a:solidFill>
              </a:endParaRPr>
            </a:p>
          </p:txBody>
        </p:sp>
        <p:sp>
          <p:nvSpPr>
            <p:cNvPr id="30" name="Tijdelijke aanduiding voor inhoud 1"/>
            <p:cNvSpPr txBox="1">
              <a:spLocks/>
            </p:cNvSpPr>
            <p:nvPr/>
          </p:nvSpPr>
          <p:spPr>
            <a:xfrm>
              <a:off x="3463593" y="2685762"/>
              <a:ext cx="691903" cy="368532"/>
            </a:xfrm>
            <a:prstGeom prst="rect">
              <a:avLst/>
            </a:prstGeom>
          </p:spPr>
          <p:txBody>
            <a:bodyPr vert="horz" lIns="27054" tIns="27054" rIns="27054" bIns="27054" rtlCol="0">
              <a:noAutofit/>
            </a:bodyPr>
            <a:lstStyle>
              <a:lvl1pPr marL="268427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5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6853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4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0528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2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80864" indent="-275585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929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9722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33308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6894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20479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nl-NL" sz="1600" b="1" dirty="0">
                  <a:solidFill>
                    <a:prstClr val="white"/>
                  </a:solidFill>
                </a:rPr>
                <a:t>35%</a:t>
              </a:r>
              <a:endParaRPr lang="nl-NL" sz="1600" baseline="30000" dirty="0">
                <a:solidFill>
                  <a:prstClr val="white"/>
                </a:solidFill>
              </a:endParaRPr>
            </a:p>
          </p:txBody>
        </p:sp>
        <p:sp>
          <p:nvSpPr>
            <p:cNvPr id="31" name="Tijdelijke aanduiding voor inhoud 1"/>
            <p:cNvSpPr txBox="1">
              <a:spLocks/>
            </p:cNvSpPr>
            <p:nvPr/>
          </p:nvSpPr>
          <p:spPr>
            <a:xfrm>
              <a:off x="2997925" y="3340517"/>
              <a:ext cx="691903" cy="368532"/>
            </a:xfrm>
            <a:prstGeom prst="rect">
              <a:avLst/>
            </a:prstGeom>
          </p:spPr>
          <p:txBody>
            <a:bodyPr vert="horz" lIns="27054" tIns="27054" rIns="27054" bIns="27054" rtlCol="0">
              <a:noAutofit/>
            </a:bodyPr>
            <a:lstStyle>
              <a:lvl1pPr marL="268427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5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6853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4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0528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2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80864" indent="-275585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929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9722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33308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6894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20479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nl-NL" sz="1600" b="1" dirty="0">
                  <a:solidFill>
                    <a:prstClr val="white"/>
                  </a:solidFill>
                </a:rPr>
                <a:t>30%</a:t>
              </a:r>
              <a:endParaRPr lang="nl-NL" sz="1600" baseline="30000" dirty="0">
                <a:solidFill>
                  <a:prstClr val="white"/>
                </a:solidFill>
              </a:endParaRPr>
            </a:p>
          </p:txBody>
        </p:sp>
        <p:sp>
          <p:nvSpPr>
            <p:cNvPr id="32" name="Tijdelijke aanduiding voor inhoud 1"/>
            <p:cNvSpPr txBox="1">
              <a:spLocks/>
            </p:cNvSpPr>
            <p:nvPr/>
          </p:nvSpPr>
          <p:spPr>
            <a:xfrm>
              <a:off x="2518148" y="3981161"/>
              <a:ext cx="691903" cy="368532"/>
            </a:xfrm>
            <a:prstGeom prst="rect">
              <a:avLst/>
            </a:prstGeom>
          </p:spPr>
          <p:txBody>
            <a:bodyPr vert="horz" lIns="27054" tIns="27054" rIns="27054" bIns="27054" rtlCol="0">
              <a:noAutofit/>
            </a:bodyPr>
            <a:lstStyle>
              <a:lvl1pPr marL="268427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5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6853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4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0528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2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80864" indent="-275585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Arial" pitchFamily="34" charset="0"/>
                <a:buChar char="–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9290" indent="-268427" algn="l" defTabSz="687172" rtl="0" eaLnBrk="1" latinLnBrk="0" hangingPunct="1">
                <a:spcBef>
                  <a:spcPts val="0"/>
                </a:spcBef>
                <a:spcAft>
                  <a:spcPts val="451"/>
                </a:spcAft>
                <a:buFont typeface="Wingdings" pitchFamily="2" charset="2"/>
                <a:buChar char="§"/>
                <a:defRPr sz="1100" kern="1200" spc="-3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9722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33308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6894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20479" indent="-171793" algn="l" defTabSz="68717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nl-NL" sz="1600" b="1" dirty="0">
                  <a:solidFill>
                    <a:prstClr val="white"/>
                  </a:solidFill>
                </a:rPr>
                <a:t>23%</a:t>
              </a:r>
              <a:endParaRPr lang="nl-NL" sz="1600" baseline="30000" dirty="0">
                <a:solidFill>
                  <a:prstClr val="white"/>
                </a:solidFill>
              </a:endParaRPr>
            </a:p>
          </p:txBody>
        </p:sp>
        <p:pic>
          <p:nvPicPr>
            <p:cNvPr id="2" name="Afbeelding 1" descr="book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541" y="3889670"/>
              <a:ext cx="575910" cy="484977"/>
            </a:xfrm>
            <a:prstGeom prst="rect">
              <a:avLst/>
            </a:prstGeom>
          </p:spPr>
        </p:pic>
        <p:pic>
          <p:nvPicPr>
            <p:cNvPr id="33" name="Afbeelding 32" descr="monitor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698" y="2588455"/>
              <a:ext cx="519289" cy="479949"/>
            </a:xfrm>
            <a:prstGeom prst="rect">
              <a:avLst/>
            </a:prstGeom>
          </p:spPr>
        </p:pic>
        <p:pic>
          <p:nvPicPr>
            <p:cNvPr id="34" name="Afbeelding 33" descr="mobile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8591" y="1222672"/>
              <a:ext cx="827618" cy="618094"/>
            </a:xfrm>
            <a:prstGeom prst="rect">
              <a:avLst/>
            </a:prstGeom>
          </p:spPr>
        </p:pic>
        <p:pic>
          <p:nvPicPr>
            <p:cNvPr id="35" name="Afbeelding 34" descr="laptop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031" y="3311117"/>
              <a:ext cx="674512" cy="403126"/>
            </a:xfrm>
            <a:prstGeom prst="rect">
              <a:avLst/>
            </a:prstGeom>
          </p:spPr>
        </p:pic>
        <p:pic>
          <p:nvPicPr>
            <p:cNvPr id="36" name="Afbeelding 35" descr="tablet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1819" y="1928226"/>
              <a:ext cx="529167" cy="529167"/>
            </a:xfrm>
            <a:prstGeom prst="rect">
              <a:avLst/>
            </a:prstGeom>
          </p:spPr>
        </p:pic>
      </p:grpSp>
      <p:sp>
        <p:nvSpPr>
          <p:cNvPr id="39" name="Tekstvak 38"/>
          <p:cNvSpPr txBox="1"/>
          <p:nvPr>
            <p:custDataLst>
              <p:tags r:id="rId1"/>
            </p:custDataLst>
          </p:nvPr>
        </p:nvSpPr>
        <p:spPr>
          <a:xfrm>
            <a:off x="380777" y="4652970"/>
            <a:ext cx="8679981" cy="228037"/>
          </a:xfrm>
          <a:prstGeom prst="rect">
            <a:avLst/>
          </a:prstGeom>
          <a:noFill/>
        </p:spPr>
        <p:txBody>
          <a:bodyPr wrap="square" lIns="29722" tIns="44288" rIns="88579" bIns="44288" rtlCol="0">
            <a:spAutoFit/>
          </a:bodyPr>
          <a:lstStyle/>
          <a:p>
            <a:pPr defTabSz="686463"/>
            <a:r>
              <a:rPr lang="nl-NL" sz="900" dirty="0">
                <a:solidFill>
                  <a:srgbClr val="4D4D4D">
                    <a:lumMod val="60000"/>
                    <a:lumOff val="40000"/>
                  </a:srgbClr>
                </a:solidFill>
              </a:rPr>
              <a:t>Source: Independent </a:t>
            </a:r>
            <a:r>
              <a:rPr lang="nl-NL" sz="900" dirty="0" err="1">
                <a:solidFill>
                  <a:srgbClr val="4D4D4D">
                    <a:lumMod val="60000"/>
                    <a:lumOff val="40000"/>
                  </a:srgbClr>
                </a:solidFill>
              </a:rPr>
              <a:t>study</a:t>
            </a:r>
            <a:r>
              <a:rPr lang="nl-NL" sz="900" dirty="0">
                <a:solidFill>
                  <a:srgbClr val="4D4D4D">
                    <a:lumMod val="60000"/>
                    <a:lumOff val="40000"/>
                  </a:srgbClr>
                </a:solidFill>
              </a:rPr>
              <a:t> </a:t>
            </a:r>
            <a:r>
              <a:rPr lang="nl-NL" sz="900" dirty="0" err="1">
                <a:solidFill>
                  <a:srgbClr val="4D4D4D">
                    <a:lumMod val="60000"/>
                    <a:lumOff val="40000"/>
                  </a:srgbClr>
                </a:solidFill>
              </a:rPr>
              <a:t>with</a:t>
            </a:r>
            <a:r>
              <a:rPr lang="nl-NL" sz="900" dirty="0">
                <a:solidFill>
                  <a:srgbClr val="4D4D4D">
                    <a:lumMod val="60000"/>
                    <a:lumOff val="40000"/>
                  </a:srgbClr>
                </a:solidFill>
              </a:rPr>
              <a:t> MEMOBENCHMARK</a:t>
            </a:r>
            <a:r>
              <a:rPr lang="nl-NL" sz="900" baseline="30000" dirty="0">
                <a:solidFill>
                  <a:srgbClr val="4D4D4D">
                    <a:lumMod val="60000"/>
                    <a:lumOff val="40000"/>
                  </a:srgbClr>
                </a:solidFill>
              </a:rPr>
              <a:t>TM</a:t>
            </a:r>
            <a:endParaRPr lang="en-GB" sz="900" baseline="30000" dirty="0">
              <a:solidFill>
                <a:srgbClr val="4D4D4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5338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26920" y="268162"/>
            <a:ext cx="8817079" cy="793644"/>
          </a:xfrm>
        </p:spPr>
        <p:txBody>
          <a:bodyPr/>
          <a:lstStyle/>
          <a:p>
            <a:r>
              <a:rPr lang="nl-NL" sz="2100" dirty="0"/>
              <a:t>Interactieve formaten presteren tot 10x beter dan statische display uitingen</a:t>
            </a:r>
            <a:endParaRPr lang="nl-NL" sz="2100" dirty="0"/>
          </a:p>
        </p:txBody>
      </p:sp>
      <p:grpSp>
        <p:nvGrpSpPr>
          <p:cNvPr id="4" name="Group 23"/>
          <p:cNvGrpSpPr>
            <a:grpSpLocks noChangeAspect="1"/>
          </p:cNvGrpSpPr>
          <p:nvPr/>
        </p:nvGrpSpPr>
        <p:grpSpPr>
          <a:xfrm>
            <a:off x="7293207" y="4803552"/>
            <a:ext cx="1495851" cy="125909"/>
            <a:chOff x="425958" y="6336331"/>
            <a:chExt cx="2526569" cy="216000"/>
          </a:xfrm>
          <a:solidFill>
            <a:schemeClr val="accent1"/>
          </a:solidFill>
        </p:grpSpPr>
        <p:sp>
          <p:nvSpPr>
            <p:cNvPr id="9" name="Freeform 6"/>
            <p:cNvSpPr>
              <a:spLocks noChangeAspect="1" noEditPoints="1"/>
            </p:cNvSpPr>
            <p:nvPr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C66F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01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5" name="Group 25"/>
            <p:cNvGrpSpPr>
              <a:grpSpLocks noChangeAspect="1"/>
            </p:cNvGrpSpPr>
            <p:nvPr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grpFill/>
          </p:grpSpPr>
          <p:sp>
            <p:nvSpPr>
              <p:cNvPr id="11" name="Freeform 7"/>
              <p:cNvSpPr>
                <a:spLocks noEditPoints="1"/>
              </p:cNvSpPr>
              <p:nvPr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2" name="Freeform 8"/>
              <p:cNvSpPr>
                <a:spLocks noEditPoints="1"/>
              </p:cNvSpPr>
              <p:nvPr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3" name="Freeform 9"/>
              <p:cNvSpPr>
                <a:spLocks/>
              </p:cNvSpPr>
              <p:nvPr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4" name="Freeform 10"/>
              <p:cNvSpPr>
                <a:spLocks/>
              </p:cNvSpPr>
              <p:nvPr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5" name="Freeform 11"/>
              <p:cNvSpPr>
                <a:spLocks/>
              </p:cNvSpPr>
              <p:nvPr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6" name="Freeform 12"/>
              <p:cNvSpPr>
                <a:spLocks noEditPoints="1"/>
              </p:cNvSpPr>
              <p:nvPr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7" name="Freeform 13"/>
              <p:cNvSpPr>
                <a:spLocks/>
              </p:cNvSpPr>
              <p:nvPr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8" name="Freeform 14"/>
              <p:cNvSpPr>
                <a:spLocks noEditPoints="1"/>
              </p:cNvSpPr>
              <p:nvPr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19" name="Freeform 15"/>
              <p:cNvSpPr>
                <a:spLocks/>
              </p:cNvSpPr>
              <p:nvPr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0" name="Rectangle 16"/>
              <p:cNvSpPr>
                <a:spLocks noChangeArrowheads="1"/>
              </p:cNvSpPr>
              <p:nvPr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1" name="Freeform 17"/>
              <p:cNvSpPr>
                <a:spLocks noEditPoints="1"/>
              </p:cNvSpPr>
              <p:nvPr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401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  <p:pic>
        <p:nvPicPr>
          <p:cNvPr id="2" name="Afbeelding 1" descr="iph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1342" y="975906"/>
            <a:ext cx="2021566" cy="4033921"/>
          </a:xfrm>
          <a:prstGeom prst="rect">
            <a:avLst/>
          </a:prstGeom>
        </p:spPr>
      </p:pic>
      <p:pic>
        <p:nvPicPr>
          <p:cNvPr id="24" name="Afbeelding 23" descr="ipho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2859" y="975907"/>
            <a:ext cx="2021566" cy="4033921"/>
          </a:xfrm>
          <a:prstGeom prst="rect">
            <a:avLst/>
          </a:prstGeom>
        </p:spPr>
      </p:pic>
      <p:pic>
        <p:nvPicPr>
          <p:cNvPr id="6" name="Afbeelding 5" descr="static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0802" y="2776743"/>
            <a:ext cx="1524743" cy="1143557"/>
          </a:xfrm>
          <a:prstGeom prst="rect">
            <a:avLst/>
          </a:prstGeom>
        </p:spPr>
      </p:pic>
      <p:sp>
        <p:nvSpPr>
          <p:cNvPr id="25" name="Titel 2"/>
          <p:cNvSpPr txBox="1">
            <a:spLocks/>
          </p:cNvSpPr>
          <p:nvPr/>
        </p:nvSpPr>
        <p:spPr>
          <a:xfrm>
            <a:off x="1" y="2528286"/>
            <a:ext cx="9144000" cy="793644"/>
          </a:xfrm>
          <a:prstGeom prst="rect">
            <a:avLst/>
          </a:prstGeom>
        </p:spPr>
        <p:txBody>
          <a:bodyPr vert="horz" lIns="27028" tIns="27028" rIns="27028" bIns="27028" rtlCol="0" anchor="t" anchorCtr="0">
            <a:noAutofit/>
          </a:bodyPr>
          <a:lstStyle>
            <a:lvl1pPr algn="l" defTabSz="687172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300" b="1" kern="1200" spc="-3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600" i="1" dirty="0">
                <a:solidFill>
                  <a:srgbClr val="4D4D4D"/>
                </a:solidFill>
              </a:rPr>
              <a:t>VS</a:t>
            </a:r>
          </a:p>
        </p:txBody>
      </p:sp>
      <p:pic>
        <p:nvPicPr>
          <p:cNvPr id="8" name="Afbeelding 7" descr="spincub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8921" y="2761884"/>
            <a:ext cx="1603619" cy="1202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3677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>
            <a:spLocks noChangeAspect="1" noEditPoints="1"/>
          </p:cNvSpPr>
          <p:nvPr/>
        </p:nvSpPr>
        <p:spPr bwMode="auto">
          <a:xfrm>
            <a:off x="7293212" y="4803555"/>
            <a:ext cx="767014" cy="125909"/>
          </a:xfrm>
          <a:custGeom>
            <a:avLst/>
            <a:gdLst>
              <a:gd name="T0" fmla="*/ 4989 w 5446"/>
              <a:gd name="T1" fmla="*/ 686 h 908"/>
              <a:gd name="T2" fmla="*/ 4808 w 5446"/>
              <a:gd name="T3" fmla="*/ 593 h 908"/>
              <a:gd name="T4" fmla="*/ 4773 w 5446"/>
              <a:gd name="T5" fmla="*/ 389 h 908"/>
              <a:gd name="T6" fmla="*/ 4890 w 5446"/>
              <a:gd name="T7" fmla="*/ 244 h 908"/>
              <a:gd name="T8" fmla="*/ 5087 w 5446"/>
              <a:gd name="T9" fmla="*/ 246 h 908"/>
              <a:gd name="T10" fmla="*/ 4275 w 5446"/>
              <a:gd name="T11" fmla="*/ 348 h 908"/>
              <a:gd name="T12" fmla="*/ 4169 w 5446"/>
              <a:gd name="T13" fmla="*/ 308 h 908"/>
              <a:gd name="T14" fmla="*/ 4039 w 5446"/>
              <a:gd name="T15" fmla="*/ 382 h 908"/>
              <a:gd name="T16" fmla="*/ 3947 w 5446"/>
              <a:gd name="T17" fmla="*/ 299 h 908"/>
              <a:gd name="T18" fmla="*/ 3885 w 5446"/>
              <a:gd name="T19" fmla="*/ 230 h 908"/>
              <a:gd name="T20" fmla="*/ 4026 w 5446"/>
              <a:gd name="T21" fmla="*/ 225 h 908"/>
              <a:gd name="T22" fmla="*/ 4157 w 5446"/>
              <a:gd name="T23" fmla="*/ 240 h 908"/>
              <a:gd name="T24" fmla="*/ 4327 w 5446"/>
              <a:gd name="T25" fmla="*/ 258 h 908"/>
              <a:gd name="T26" fmla="*/ 3153 w 5446"/>
              <a:gd name="T27" fmla="*/ 684 h 908"/>
              <a:gd name="T28" fmla="*/ 2979 w 5446"/>
              <a:gd name="T29" fmla="*/ 574 h 908"/>
              <a:gd name="T30" fmla="*/ 2963 w 5446"/>
              <a:gd name="T31" fmla="*/ 362 h 908"/>
              <a:gd name="T32" fmla="*/ 3119 w 5446"/>
              <a:gd name="T33" fmla="*/ 228 h 908"/>
              <a:gd name="T34" fmla="*/ 3325 w 5446"/>
              <a:gd name="T35" fmla="*/ 274 h 908"/>
              <a:gd name="T36" fmla="*/ 3408 w 5446"/>
              <a:gd name="T37" fmla="*/ 466 h 908"/>
              <a:gd name="T38" fmla="*/ 3307 w 5446"/>
              <a:gd name="T39" fmla="*/ 646 h 908"/>
              <a:gd name="T40" fmla="*/ 2400 w 5446"/>
              <a:gd name="T41" fmla="*/ 420 h 908"/>
              <a:gd name="T42" fmla="*/ 2307 w 5446"/>
              <a:gd name="T43" fmla="*/ 305 h 908"/>
              <a:gd name="T44" fmla="*/ 2173 w 5446"/>
              <a:gd name="T45" fmla="*/ 348 h 908"/>
              <a:gd name="T46" fmla="*/ 2144 w 5446"/>
              <a:gd name="T47" fmla="*/ 287 h 908"/>
              <a:gd name="T48" fmla="*/ 2344 w 5446"/>
              <a:gd name="T49" fmla="*/ 228 h 908"/>
              <a:gd name="T50" fmla="*/ 2478 w 5446"/>
              <a:gd name="T51" fmla="*/ 349 h 908"/>
              <a:gd name="T52" fmla="*/ 1440 w 5446"/>
              <a:gd name="T53" fmla="*/ 669 h 908"/>
              <a:gd name="T54" fmla="*/ 1240 w 5446"/>
              <a:gd name="T55" fmla="*/ 653 h 908"/>
              <a:gd name="T56" fmla="*/ 1136 w 5446"/>
              <a:gd name="T57" fmla="*/ 478 h 908"/>
              <a:gd name="T58" fmla="*/ 1199 w 5446"/>
              <a:gd name="T59" fmla="*/ 289 h 908"/>
              <a:gd name="T60" fmla="*/ 1381 w 5446"/>
              <a:gd name="T61" fmla="*/ 222 h 908"/>
              <a:gd name="T62" fmla="*/ 466 w 5446"/>
              <a:gd name="T63" fmla="*/ 686 h 908"/>
              <a:gd name="T64" fmla="*/ 258 w 5446"/>
              <a:gd name="T65" fmla="*/ 567 h 908"/>
              <a:gd name="T66" fmla="*/ 460 w 5446"/>
              <a:gd name="T67" fmla="*/ 606 h 908"/>
              <a:gd name="T68" fmla="*/ 583 w 5446"/>
              <a:gd name="T69" fmla="*/ 540 h 908"/>
              <a:gd name="T70" fmla="*/ 341 w 5446"/>
              <a:gd name="T71" fmla="*/ 472 h 908"/>
              <a:gd name="T72" fmla="*/ 239 w 5446"/>
              <a:gd name="T73" fmla="*/ 342 h 908"/>
              <a:gd name="T74" fmla="*/ 365 w 5446"/>
              <a:gd name="T75" fmla="*/ 232 h 908"/>
              <a:gd name="T76" fmla="*/ 641 w 5446"/>
              <a:gd name="T77" fmla="*/ 283 h 908"/>
              <a:gd name="T78" fmla="*/ 462 w 5446"/>
              <a:gd name="T79" fmla="*/ 302 h 908"/>
              <a:gd name="T80" fmla="*/ 327 w 5446"/>
              <a:gd name="T81" fmla="*/ 363 h 908"/>
              <a:gd name="T82" fmla="*/ 584 w 5446"/>
              <a:gd name="T83" fmla="*/ 433 h 908"/>
              <a:gd name="T84" fmla="*/ 674 w 5446"/>
              <a:gd name="T85" fmla="*/ 553 h 908"/>
              <a:gd name="T86" fmla="*/ 569 w 5446"/>
              <a:gd name="T87" fmla="*/ 669 h 908"/>
              <a:gd name="T88" fmla="*/ 5446 w 5446"/>
              <a:gd name="T89" fmla="*/ 453 h 908"/>
              <a:gd name="T90" fmla="*/ 1291 w 5446"/>
              <a:gd name="T91" fmla="*/ 318 h 908"/>
              <a:gd name="T92" fmla="*/ 1231 w 5446"/>
              <a:gd name="T93" fmla="*/ 504 h 908"/>
              <a:gd name="T94" fmla="*/ 1318 w 5446"/>
              <a:gd name="T95" fmla="*/ 603 h 908"/>
              <a:gd name="T96" fmla="*/ 1469 w 5446"/>
              <a:gd name="T97" fmla="*/ 562 h 908"/>
              <a:gd name="T98" fmla="*/ 1491 w 5446"/>
              <a:gd name="T99" fmla="*/ 384 h 908"/>
              <a:gd name="T100" fmla="*/ 1373 w 5446"/>
              <a:gd name="T101" fmla="*/ 297 h 908"/>
              <a:gd name="T102" fmla="*/ 3063 w 5446"/>
              <a:gd name="T103" fmla="*/ 359 h 908"/>
              <a:gd name="T104" fmla="*/ 3059 w 5446"/>
              <a:gd name="T105" fmla="*/ 541 h 908"/>
              <a:gd name="T106" fmla="*/ 3213 w 5446"/>
              <a:gd name="T107" fmla="*/ 601 h 908"/>
              <a:gd name="T108" fmla="*/ 3311 w 5446"/>
              <a:gd name="T109" fmla="*/ 508 h 908"/>
              <a:gd name="T110" fmla="*/ 3273 w 5446"/>
              <a:gd name="T111" fmla="*/ 338 h 908"/>
              <a:gd name="T112" fmla="*/ 4941 w 5446"/>
              <a:gd name="T113" fmla="*/ 307 h 908"/>
              <a:gd name="T114" fmla="*/ 4856 w 5446"/>
              <a:gd name="T115" fmla="*/ 483 h 908"/>
              <a:gd name="T116" fmla="*/ 4934 w 5446"/>
              <a:gd name="T117" fmla="*/ 597 h 908"/>
              <a:gd name="T118" fmla="*/ 5090 w 5446"/>
              <a:gd name="T119" fmla="*/ 573 h 908"/>
              <a:gd name="T120" fmla="*/ 5126 w 5446"/>
              <a:gd name="T121" fmla="*/ 399 h 908"/>
              <a:gd name="T122" fmla="*/ 5022 w 5446"/>
              <a:gd name="T123" fmla="*/ 299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46" h="908">
                <a:moveTo>
                  <a:pt x="5219" y="677"/>
                </a:moveTo>
                <a:lnTo>
                  <a:pt x="5130" y="677"/>
                </a:lnTo>
                <a:lnTo>
                  <a:pt x="5130" y="624"/>
                </a:lnTo>
                <a:lnTo>
                  <a:pt x="5127" y="627"/>
                </a:lnTo>
                <a:lnTo>
                  <a:pt x="5124" y="631"/>
                </a:lnTo>
                <a:lnTo>
                  <a:pt x="5117" y="637"/>
                </a:lnTo>
                <a:lnTo>
                  <a:pt x="5110" y="644"/>
                </a:lnTo>
                <a:lnTo>
                  <a:pt x="5103" y="649"/>
                </a:lnTo>
                <a:lnTo>
                  <a:pt x="5087" y="660"/>
                </a:lnTo>
                <a:lnTo>
                  <a:pt x="5079" y="665"/>
                </a:lnTo>
                <a:lnTo>
                  <a:pt x="5070" y="669"/>
                </a:lnTo>
                <a:lnTo>
                  <a:pt x="5061" y="673"/>
                </a:lnTo>
                <a:lnTo>
                  <a:pt x="5052" y="676"/>
                </a:lnTo>
                <a:lnTo>
                  <a:pt x="5042" y="679"/>
                </a:lnTo>
                <a:lnTo>
                  <a:pt x="5032" y="682"/>
                </a:lnTo>
                <a:lnTo>
                  <a:pt x="5022" y="684"/>
                </a:lnTo>
                <a:lnTo>
                  <a:pt x="5011" y="685"/>
                </a:lnTo>
                <a:lnTo>
                  <a:pt x="5000" y="686"/>
                </a:lnTo>
                <a:lnTo>
                  <a:pt x="4989" y="686"/>
                </a:lnTo>
                <a:lnTo>
                  <a:pt x="4977" y="686"/>
                </a:lnTo>
                <a:lnTo>
                  <a:pt x="4965" y="685"/>
                </a:lnTo>
                <a:lnTo>
                  <a:pt x="4954" y="684"/>
                </a:lnTo>
                <a:lnTo>
                  <a:pt x="4942" y="682"/>
                </a:lnTo>
                <a:lnTo>
                  <a:pt x="4931" y="679"/>
                </a:lnTo>
                <a:lnTo>
                  <a:pt x="4921" y="676"/>
                </a:lnTo>
                <a:lnTo>
                  <a:pt x="4910" y="672"/>
                </a:lnTo>
                <a:lnTo>
                  <a:pt x="4900" y="668"/>
                </a:lnTo>
                <a:lnTo>
                  <a:pt x="4890" y="663"/>
                </a:lnTo>
                <a:lnTo>
                  <a:pt x="4880" y="658"/>
                </a:lnTo>
                <a:lnTo>
                  <a:pt x="4871" y="653"/>
                </a:lnTo>
                <a:lnTo>
                  <a:pt x="4862" y="647"/>
                </a:lnTo>
                <a:lnTo>
                  <a:pt x="4853" y="640"/>
                </a:lnTo>
                <a:lnTo>
                  <a:pt x="4845" y="633"/>
                </a:lnTo>
                <a:lnTo>
                  <a:pt x="4837" y="626"/>
                </a:lnTo>
                <a:lnTo>
                  <a:pt x="4829" y="618"/>
                </a:lnTo>
                <a:lnTo>
                  <a:pt x="4822" y="610"/>
                </a:lnTo>
                <a:lnTo>
                  <a:pt x="4815" y="602"/>
                </a:lnTo>
                <a:lnTo>
                  <a:pt x="4808" y="593"/>
                </a:lnTo>
                <a:lnTo>
                  <a:pt x="4802" y="584"/>
                </a:lnTo>
                <a:lnTo>
                  <a:pt x="4796" y="575"/>
                </a:lnTo>
                <a:lnTo>
                  <a:pt x="4791" y="565"/>
                </a:lnTo>
                <a:lnTo>
                  <a:pt x="4786" y="555"/>
                </a:lnTo>
                <a:lnTo>
                  <a:pt x="4782" y="545"/>
                </a:lnTo>
                <a:lnTo>
                  <a:pt x="4778" y="534"/>
                </a:lnTo>
                <a:lnTo>
                  <a:pt x="4775" y="523"/>
                </a:lnTo>
                <a:lnTo>
                  <a:pt x="4772" y="512"/>
                </a:lnTo>
                <a:lnTo>
                  <a:pt x="4770" y="501"/>
                </a:lnTo>
                <a:lnTo>
                  <a:pt x="4768" y="489"/>
                </a:lnTo>
                <a:lnTo>
                  <a:pt x="4766" y="478"/>
                </a:lnTo>
                <a:lnTo>
                  <a:pt x="4765" y="466"/>
                </a:lnTo>
                <a:lnTo>
                  <a:pt x="4765" y="453"/>
                </a:lnTo>
                <a:lnTo>
                  <a:pt x="4765" y="441"/>
                </a:lnTo>
                <a:lnTo>
                  <a:pt x="4766" y="429"/>
                </a:lnTo>
                <a:lnTo>
                  <a:pt x="4768" y="417"/>
                </a:lnTo>
                <a:lnTo>
                  <a:pt x="4770" y="406"/>
                </a:lnTo>
                <a:lnTo>
                  <a:pt x="4772" y="395"/>
                </a:lnTo>
                <a:lnTo>
                  <a:pt x="4773" y="389"/>
                </a:lnTo>
                <a:lnTo>
                  <a:pt x="4775" y="384"/>
                </a:lnTo>
                <a:lnTo>
                  <a:pt x="4778" y="373"/>
                </a:lnTo>
                <a:lnTo>
                  <a:pt x="4782" y="362"/>
                </a:lnTo>
                <a:lnTo>
                  <a:pt x="4786" y="352"/>
                </a:lnTo>
                <a:lnTo>
                  <a:pt x="4791" y="342"/>
                </a:lnTo>
                <a:lnTo>
                  <a:pt x="4796" y="332"/>
                </a:lnTo>
                <a:lnTo>
                  <a:pt x="4802" y="323"/>
                </a:lnTo>
                <a:lnTo>
                  <a:pt x="4808" y="314"/>
                </a:lnTo>
                <a:lnTo>
                  <a:pt x="4815" y="305"/>
                </a:lnTo>
                <a:lnTo>
                  <a:pt x="4822" y="297"/>
                </a:lnTo>
                <a:lnTo>
                  <a:pt x="4829" y="289"/>
                </a:lnTo>
                <a:lnTo>
                  <a:pt x="4837" y="281"/>
                </a:lnTo>
                <a:lnTo>
                  <a:pt x="4845" y="274"/>
                </a:lnTo>
                <a:lnTo>
                  <a:pt x="4849" y="270"/>
                </a:lnTo>
                <a:lnTo>
                  <a:pt x="4853" y="267"/>
                </a:lnTo>
                <a:lnTo>
                  <a:pt x="4862" y="260"/>
                </a:lnTo>
                <a:lnTo>
                  <a:pt x="4871" y="254"/>
                </a:lnTo>
                <a:lnTo>
                  <a:pt x="4880" y="249"/>
                </a:lnTo>
                <a:lnTo>
                  <a:pt x="4890" y="244"/>
                </a:lnTo>
                <a:lnTo>
                  <a:pt x="4900" y="239"/>
                </a:lnTo>
                <a:lnTo>
                  <a:pt x="4910" y="235"/>
                </a:lnTo>
                <a:lnTo>
                  <a:pt x="4921" y="231"/>
                </a:lnTo>
                <a:lnTo>
                  <a:pt x="4931" y="228"/>
                </a:lnTo>
                <a:lnTo>
                  <a:pt x="4942" y="226"/>
                </a:lnTo>
                <a:lnTo>
                  <a:pt x="4954" y="224"/>
                </a:lnTo>
                <a:lnTo>
                  <a:pt x="4965" y="222"/>
                </a:lnTo>
                <a:lnTo>
                  <a:pt x="4977" y="221"/>
                </a:lnTo>
                <a:lnTo>
                  <a:pt x="4989" y="221"/>
                </a:lnTo>
                <a:lnTo>
                  <a:pt x="5000" y="221"/>
                </a:lnTo>
                <a:lnTo>
                  <a:pt x="5011" y="222"/>
                </a:lnTo>
                <a:lnTo>
                  <a:pt x="5022" y="223"/>
                </a:lnTo>
                <a:lnTo>
                  <a:pt x="5032" y="225"/>
                </a:lnTo>
                <a:lnTo>
                  <a:pt x="5042" y="228"/>
                </a:lnTo>
                <a:lnTo>
                  <a:pt x="5052" y="230"/>
                </a:lnTo>
                <a:lnTo>
                  <a:pt x="5061" y="234"/>
                </a:lnTo>
                <a:lnTo>
                  <a:pt x="5070" y="238"/>
                </a:lnTo>
                <a:lnTo>
                  <a:pt x="5079" y="242"/>
                </a:lnTo>
                <a:lnTo>
                  <a:pt x="5087" y="246"/>
                </a:lnTo>
                <a:lnTo>
                  <a:pt x="5095" y="251"/>
                </a:lnTo>
                <a:lnTo>
                  <a:pt x="5099" y="254"/>
                </a:lnTo>
                <a:lnTo>
                  <a:pt x="5102" y="257"/>
                </a:lnTo>
                <a:lnTo>
                  <a:pt x="5110" y="263"/>
                </a:lnTo>
                <a:lnTo>
                  <a:pt x="5117" y="269"/>
                </a:lnTo>
                <a:lnTo>
                  <a:pt x="5123" y="275"/>
                </a:lnTo>
                <a:lnTo>
                  <a:pt x="5130" y="282"/>
                </a:lnTo>
                <a:lnTo>
                  <a:pt x="5130" y="230"/>
                </a:lnTo>
                <a:lnTo>
                  <a:pt x="5219" y="230"/>
                </a:lnTo>
                <a:lnTo>
                  <a:pt x="5219" y="677"/>
                </a:lnTo>
                <a:close/>
                <a:moveTo>
                  <a:pt x="4372" y="408"/>
                </a:moveTo>
                <a:lnTo>
                  <a:pt x="4372" y="676"/>
                </a:lnTo>
                <a:lnTo>
                  <a:pt x="4283" y="676"/>
                </a:lnTo>
                <a:lnTo>
                  <a:pt x="4283" y="409"/>
                </a:lnTo>
                <a:lnTo>
                  <a:pt x="4282" y="391"/>
                </a:lnTo>
                <a:lnTo>
                  <a:pt x="4282" y="382"/>
                </a:lnTo>
                <a:lnTo>
                  <a:pt x="4281" y="374"/>
                </a:lnTo>
                <a:lnTo>
                  <a:pt x="4278" y="360"/>
                </a:lnTo>
                <a:lnTo>
                  <a:pt x="4275" y="348"/>
                </a:lnTo>
                <a:lnTo>
                  <a:pt x="4271" y="337"/>
                </a:lnTo>
                <a:lnTo>
                  <a:pt x="4266" y="328"/>
                </a:lnTo>
                <a:lnTo>
                  <a:pt x="4261" y="320"/>
                </a:lnTo>
                <a:lnTo>
                  <a:pt x="4255" y="314"/>
                </a:lnTo>
                <a:lnTo>
                  <a:pt x="4249" y="309"/>
                </a:lnTo>
                <a:lnTo>
                  <a:pt x="4243" y="305"/>
                </a:lnTo>
                <a:lnTo>
                  <a:pt x="4237" y="302"/>
                </a:lnTo>
                <a:lnTo>
                  <a:pt x="4231" y="300"/>
                </a:lnTo>
                <a:lnTo>
                  <a:pt x="4225" y="298"/>
                </a:lnTo>
                <a:lnTo>
                  <a:pt x="4220" y="297"/>
                </a:lnTo>
                <a:lnTo>
                  <a:pt x="4214" y="297"/>
                </a:lnTo>
                <a:lnTo>
                  <a:pt x="4210" y="297"/>
                </a:lnTo>
                <a:lnTo>
                  <a:pt x="4206" y="297"/>
                </a:lnTo>
                <a:lnTo>
                  <a:pt x="4201" y="297"/>
                </a:lnTo>
                <a:lnTo>
                  <a:pt x="4195" y="298"/>
                </a:lnTo>
                <a:lnTo>
                  <a:pt x="4189" y="299"/>
                </a:lnTo>
                <a:lnTo>
                  <a:pt x="4183" y="301"/>
                </a:lnTo>
                <a:lnTo>
                  <a:pt x="4176" y="304"/>
                </a:lnTo>
                <a:lnTo>
                  <a:pt x="4169" y="308"/>
                </a:lnTo>
                <a:lnTo>
                  <a:pt x="4163" y="313"/>
                </a:lnTo>
                <a:lnTo>
                  <a:pt x="4156" y="320"/>
                </a:lnTo>
                <a:lnTo>
                  <a:pt x="4150" y="327"/>
                </a:lnTo>
                <a:lnTo>
                  <a:pt x="4147" y="332"/>
                </a:lnTo>
                <a:lnTo>
                  <a:pt x="4144" y="337"/>
                </a:lnTo>
                <a:lnTo>
                  <a:pt x="4142" y="342"/>
                </a:lnTo>
                <a:lnTo>
                  <a:pt x="4139" y="348"/>
                </a:lnTo>
                <a:lnTo>
                  <a:pt x="4137" y="354"/>
                </a:lnTo>
                <a:lnTo>
                  <a:pt x="4135" y="361"/>
                </a:lnTo>
                <a:lnTo>
                  <a:pt x="4134" y="368"/>
                </a:lnTo>
                <a:lnTo>
                  <a:pt x="4132" y="375"/>
                </a:lnTo>
                <a:lnTo>
                  <a:pt x="4130" y="392"/>
                </a:lnTo>
                <a:lnTo>
                  <a:pt x="4130" y="402"/>
                </a:lnTo>
                <a:lnTo>
                  <a:pt x="4129" y="412"/>
                </a:lnTo>
                <a:lnTo>
                  <a:pt x="4129" y="676"/>
                </a:lnTo>
                <a:lnTo>
                  <a:pt x="4040" y="676"/>
                </a:lnTo>
                <a:lnTo>
                  <a:pt x="4040" y="409"/>
                </a:lnTo>
                <a:lnTo>
                  <a:pt x="4040" y="391"/>
                </a:lnTo>
                <a:lnTo>
                  <a:pt x="4039" y="382"/>
                </a:lnTo>
                <a:lnTo>
                  <a:pt x="4038" y="374"/>
                </a:lnTo>
                <a:lnTo>
                  <a:pt x="4036" y="360"/>
                </a:lnTo>
                <a:lnTo>
                  <a:pt x="4032" y="348"/>
                </a:lnTo>
                <a:lnTo>
                  <a:pt x="4028" y="337"/>
                </a:lnTo>
                <a:lnTo>
                  <a:pt x="4023" y="328"/>
                </a:lnTo>
                <a:lnTo>
                  <a:pt x="4018" y="320"/>
                </a:lnTo>
                <a:lnTo>
                  <a:pt x="4012" y="314"/>
                </a:lnTo>
                <a:lnTo>
                  <a:pt x="4007" y="309"/>
                </a:lnTo>
                <a:lnTo>
                  <a:pt x="4001" y="305"/>
                </a:lnTo>
                <a:lnTo>
                  <a:pt x="3994" y="302"/>
                </a:lnTo>
                <a:lnTo>
                  <a:pt x="3988" y="300"/>
                </a:lnTo>
                <a:lnTo>
                  <a:pt x="3983" y="298"/>
                </a:lnTo>
                <a:lnTo>
                  <a:pt x="3977" y="297"/>
                </a:lnTo>
                <a:lnTo>
                  <a:pt x="3972" y="297"/>
                </a:lnTo>
                <a:lnTo>
                  <a:pt x="3967" y="297"/>
                </a:lnTo>
                <a:lnTo>
                  <a:pt x="3963" y="297"/>
                </a:lnTo>
                <a:lnTo>
                  <a:pt x="3959" y="297"/>
                </a:lnTo>
                <a:lnTo>
                  <a:pt x="3953" y="298"/>
                </a:lnTo>
                <a:lnTo>
                  <a:pt x="3947" y="299"/>
                </a:lnTo>
                <a:lnTo>
                  <a:pt x="3941" y="301"/>
                </a:lnTo>
                <a:lnTo>
                  <a:pt x="3934" y="304"/>
                </a:lnTo>
                <a:lnTo>
                  <a:pt x="3928" y="308"/>
                </a:lnTo>
                <a:lnTo>
                  <a:pt x="3921" y="313"/>
                </a:lnTo>
                <a:lnTo>
                  <a:pt x="3915" y="320"/>
                </a:lnTo>
                <a:lnTo>
                  <a:pt x="3909" y="327"/>
                </a:lnTo>
                <a:lnTo>
                  <a:pt x="3906" y="332"/>
                </a:lnTo>
                <a:lnTo>
                  <a:pt x="3903" y="337"/>
                </a:lnTo>
                <a:lnTo>
                  <a:pt x="3898" y="348"/>
                </a:lnTo>
                <a:lnTo>
                  <a:pt x="3894" y="361"/>
                </a:lnTo>
                <a:lnTo>
                  <a:pt x="3893" y="368"/>
                </a:lnTo>
                <a:lnTo>
                  <a:pt x="3891" y="375"/>
                </a:lnTo>
                <a:lnTo>
                  <a:pt x="3889" y="392"/>
                </a:lnTo>
                <a:lnTo>
                  <a:pt x="3889" y="402"/>
                </a:lnTo>
                <a:lnTo>
                  <a:pt x="3889" y="412"/>
                </a:lnTo>
                <a:lnTo>
                  <a:pt x="3889" y="676"/>
                </a:lnTo>
                <a:lnTo>
                  <a:pt x="3800" y="676"/>
                </a:lnTo>
                <a:lnTo>
                  <a:pt x="3800" y="230"/>
                </a:lnTo>
                <a:lnTo>
                  <a:pt x="3885" y="230"/>
                </a:lnTo>
                <a:lnTo>
                  <a:pt x="3885" y="281"/>
                </a:lnTo>
                <a:lnTo>
                  <a:pt x="3890" y="272"/>
                </a:lnTo>
                <a:lnTo>
                  <a:pt x="3895" y="264"/>
                </a:lnTo>
                <a:lnTo>
                  <a:pt x="3901" y="258"/>
                </a:lnTo>
                <a:lnTo>
                  <a:pt x="3907" y="251"/>
                </a:lnTo>
                <a:lnTo>
                  <a:pt x="3914" y="246"/>
                </a:lnTo>
                <a:lnTo>
                  <a:pt x="3921" y="241"/>
                </a:lnTo>
                <a:lnTo>
                  <a:pt x="3928" y="237"/>
                </a:lnTo>
                <a:lnTo>
                  <a:pt x="3935" y="233"/>
                </a:lnTo>
                <a:lnTo>
                  <a:pt x="3942" y="230"/>
                </a:lnTo>
                <a:lnTo>
                  <a:pt x="3950" y="227"/>
                </a:lnTo>
                <a:lnTo>
                  <a:pt x="3964" y="224"/>
                </a:lnTo>
                <a:lnTo>
                  <a:pt x="3971" y="222"/>
                </a:lnTo>
                <a:lnTo>
                  <a:pt x="3978" y="221"/>
                </a:lnTo>
                <a:lnTo>
                  <a:pt x="3990" y="221"/>
                </a:lnTo>
                <a:lnTo>
                  <a:pt x="4000" y="221"/>
                </a:lnTo>
                <a:lnTo>
                  <a:pt x="4008" y="222"/>
                </a:lnTo>
                <a:lnTo>
                  <a:pt x="4017" y="223"/>
                </a:lnTo>
                <a:lnTo>
                  <a:pt x="4026" y="225"/>
                </a:lnTo>
                <a:lnTo>
                  <a:pt x="4034" y="228"/>
                </a:lnTo>
                <a:lnTo>
                  <a:pt x="4042" y="231"/>
                </a:lnTo>
                <a:lnTo>
                  <a:pt x="4050" y="234"/>
                </a:lnTo>
                <a:lnTo>
                  <a:pt x="4057" y="238"/>
                </a:lnTo>
                <a:lnTo>
                  <a:pt x="4064" y="243"/>
                </a:lnTo>
                <a:lnTo>
                  <a:pt x="4071" y="248"/>
                </a:lnTo>
                <a:lnTo>
                  <a:pt x="4078" y="254"/>
                </a:lnTo>
                <a:lnTo>
                  <a:pt x="4084" y="261"/>
                </a:lnTo>
                <a:lnTo>
                  <a:pt x="4090" y="268"/>
                </a:lnTo>
                <a:lnTo>
                  <a:pt x="4096" y="275"/>
                </a:lnTo>
                <a:lnTo>
                  <a:pt x="4101" y="283"/>
                </a:lnTo>
                <a:lnTo>
                  <a:pt x="4105" y="292"/>
                </a:lnTo>
                <a:lnTo>
                  <a:pt x="4111" y="282"/>
                </a:lnTo>
                <a:lnTo>
                  <a:pt x="4118" y="273"/>
                </a:lnTo>
                <a:lnTo>
                  <a:pt x="4125" y="265"/>
                </a:lnTo>
                <a:lnTo>
                  <a:pt x="4133" y="257"/>
                </a:lnTo>
                <a:lnTo>
                  <a:pt x="4140" y="251"/>
                </a:lnTo>
                <a:lnTo>
                  <a:pt x="4148" y="245"/>
                </a:lnTo>
                <a:lnTo>
                  <a:pt x="4157" y="240"/>
                </a:lnTo>
                <a:lnTo>
                  <a:pt x="4165" y="235"/>
                </a:lnTo>
                <a:lnTo>
                  <a:pt x="4174" y="232"/>
                </a:lnTo>
                <a:lnTo>
                  <a:pt x="4182" y="229"/>
                </a:lnTo>
                <a:lnTo>
                  <a:pt x="4191" y="226"/>
                </a:lnTo>
                <a:lnTo>
                  <a:pt x="4199" y="224"/>
                </a:lnTo>
                <a:lnTo>
                  <a:pt x="4207" y="223"/>
                </a:lnTo>
                <a:lnTo>
                  <a:pt x="4214" y="222"/>
                </a:lnTo>
                <a:lnTo>
                  <a:pt x="4228" y="221"/>
                </a:lnTo>
                <a:lnTo>
                  <a:pt x="4241" y="221"/>
                </a:lnTo>
                <a:lnTo>
                  <a:pt x="4254" y="223"/>
                </a:lnTo>
                <a:lnTo>
                  <a:pt x="4267" y="225"/>
                </a:lnTo>
                <a:lnTo>
                  <a:pt x="4280" y="229"/>
                </a:lnTo>
                <a:lnTo>
                  <a:pt x="4292" y="234"/>
                </a:lnTo>
                <a:lnTo>
                  <a:pt x="4298" y="237"/>
                </a:lnTo>
                <a:lnTo>
                  <a:pt x="4304" y="241"/>
                </a:lnTo>
                <a:lnTo>
                  <a:pt x="4310" y="244"/>
                </a:lnTo>
                <a:lnTo>
                  <a:pt x="4316" y="249"/>
                </a:lnTo>
                <a:lnTo>
                  <a:pt x="4321" y="253"/>
                </a:lnTo>
                <a:lnTo>
                  <a:pt x="4327" y="258"/>
                </a:lnTo>
                <a:lnTo>
                  <a:pt x="4332" y="264"/>
                </a:lnTo>
                <a:lnTo>
                  <a:pt x="4337" y="270"/>
                </a:lnTo>
                <a:lnTo>
                  <a:pt x="4341" y="276"/>
                </a:lnTo>
                <a:lnTo>
                  <a:pt x="4346" y="283"/>
                </a:lnTo>
                <a:lnTo>
                  <a:pt x="4350" y="290"/>
                </a:lnTo>
                <a:lnTo>
                  <a:pt x="4354" y="298"/>
                </a:lnTo>
                <a:lnTo>
                  <a:pt x="4357" y="307"/>
                </a:lnTo>
                <a:lnTo>
                  <a:pt x="4360" y="316"/>
                </a:lnTo>
                <a:lnTo>
                  <a:pt x="4363" y="325"/>
                </a:lnTo>
                <a:lnTo>
                  <a:pt x="4366" y="335"/>
                </a:lnTo>
                <a:lnTo>
                  <a:pt x="4368" y="346"/>
                </a:lnTo>
                <a:lnTo>
                  <a:pt x="4370" y="357"/>
                </a:lnTo>
                <a:lnTo>
                  <a:pt x="4371" y="369"/>
                </a:lnTo>
                <a:lnTo>
                  <a:pt x="4372" y="381"/>
                </a:lnTo>
                <a:lnTo>
                  <a:pt x="4372" y="394"/>
                </a:lnTo>
                <a:lnTo>
                  <a:pt x="4372" y="408"/>
                </a:lnTo>
                <a:close/>
                <a:moveTo>
                  <a:pt x="3177" y="685"/>
                </a:moveTo>
                <a:lnTo>
                  <a:pt x="3165" y="685"/>
                </a:lnTo>
                <a:lnTo>
                  <a:pt x="3153" y="684"/>
                </a:lnTo>
                <a:lnTo>
                  <a:pt x="3142" y="683"/>
                </a:lnTo>
                <a:lnTo>
                  <a:pt x="3130" y="681"/>
                </a:lnTo>
                <a:lnTo>
                  <a:pt x="3119" y="678"/>
                </a:lnTo>
                <a:lnTo>
                  <a:pt x="3108" y="675"/>
                </a:lnTo>
                <a:lnTo>
                  <a:pt x="3097" y="671"/>
                </a:lnTo>
                <a:lnTo>
                  <a:pt x="3087" y="667"/>
                </a:lnTo>
                <a:lnTo>
                  <a:pt x="3076" y="663"/>
                </a:lnTo>
                <a:lnTo>
                  <a:pt x="3066" y="658"/>
                </a:lnTo>
                <a:lnTo>
                  <a:pt x="3057" y="652"/>
                </a:lnTo>
                <a:lnTo>
                  <a:pt x="3047" y="646"/>
                </a:lnTo>
                <a:lnTo>
                  <a:pt x="3038" y="639"/>
                </a:lnTo>
                <a:lnTo>
                  <a:pt x="3029" y="633"/>
                </a:lnTo>
                <a:lnTo>
                  <a:pt x="3021" y="625"/>
                </a:lnTo>
                <a:lnTo>
                  <a:pt x="3013" y="618"/>
                </a:lnTo>
                <a:lnTo>
                  <a:pt x="3005" y="610"/>
                </a:lnTo>
                <a:lnTo>
                  <a:pt x="2998" y="601"/>
                </a:lnTo>
                <a:lnTo>
                  <a:pt x="2991" y="592"/>
                </a:lnTo>
                <a:lnTo>
                  <a:pt x="2985" y="583"/>
                </a:lnTo>
                <a:lnTo>
                  <a:pt x="2979" y="574"/>
                </a:lnTo>
                <a:lnTo>
                  <a:pt x="2973" y="564"/>
                </a:lnTo>
                <a:lnTo>
                  <a:pt x="2968" y="554"/>
                </a:lnTo>
                <a:lnTo>
                  <a:pt x="2963" y="544"/>
                </a:lnTo>
                <a:lnTo>
                  <a:pt x="2959" y="533"/>
                </a:lnTo>
                <a:lnTo>
                  <a:pt x="2956" y="523"/>
                </a:lnTo>
                <a:lnTo>
                  <a:pt x="2952" y="512"/>
                </a:lnTo>
                <a:lnTo>
                  <a:pt x="2950" y="500"/>
                </a:lnTo>
                <a:lnTo>
                  <a:pt x="2948" y="489"/>
                </a:lnTo>
                <a:lnTo>
                  <a:pt x="2946" y="477"/>
                </a:lnTo>
                <a:lnTo>
                  <a:pt x="2945" y="466"/>
                </a:lnTo>
                <a:lnTo>
                  <a:pt x="2945" y="453"/>
                </a:lnTo>
                <a:lnTo>
                  <a:pt x="2945" y="441"/>
                </a:lnTo>
                <a:lnTo>
                  <a:pt x="2946" y="429"/>
                </a:lnTo>
                <a:lnTo>
                  <a:pt x="2948" y="417"/>
                </a:lnTo>
                <a:lnTo>
                  <a:pt x="2950" y="406"/>
                </a:lnTo>
                <a:lnTo>
                  <a:pt x="2952" y="395"/>
                </a:lnTo>
                <a:lnTo>
                  <a:pt x="2956" y="384"/>
                </a:lnTo>
                <a:lnTo>
                  <a:pt x="2959" y="373"/>
                </a:lnTo>
                <a:lnTo>
                  <a:pt x="2963" y="362"/>
                </a:lnTo>
                <a:lnTo>
                  <a:pt x="2968" y="352"/>
                </a:lnTo>
                <a:lnTo>
                  <a:pt x="2973" y="342"/>
                </a:lnTo>
                <a:lnTo>
                  <a:pt x="2979" y="332"/>
                </a:lnTo>
                <a:lnTo>
                  <a:pt x="2985" y="323"/>
                </a:lnTo>
                <a:lnTo>
                  <a:pt x="2991" y="314"/>
                </a:lnTo>
                <a:lnTo>
                  <a:pt x="2998" y="305"/>
                </a:lnTo>
                <a:lnTo>
                  <a:pt x="3005" y="297"/>
                </a:lnTo>
                <a:lnTo>
                  <a:pt x="3013" y="289"/>
                </a:lnTo>
                <a:lnTo>
                  <a:pt x="3021" y="281"/>
                </a:lnTo>
                <a:lnTo>
                  <a:pt x="3029" y="274"/>
                </a:lnTo>
                <a:lnTo>
                  <a:pt x="3038" y="267"/>
                </a:lnTo>
                <a:lnTo>
                  <a:pt x="3047" y="260"/>
                </a:lnTo>
                <a:lnTo>
                  <a:pt x="3057" y="254"/>
                </a:lnTo>
                <a:lnTo>
                  <a:pt x="3066" y="249"/>
                </a:lnTo>
                <a:lnTo>
                  <a:pt x="3076" y="244"/>
                </a:lnTo>
                <a:lnTo>
                  <a:pt x="3087" y="239"/>
                </a:lnTo>
                <a:lnTo>
                  <a:pt x="3097" y="235"/>
                </a:lnTo>
                <a:lnTo>
                  <a:pt x="3108" y="231"/>
                </a:lnTo>
                <a:lnTo>
                  <a:pt x="3119" y="228"/>
                </a:lnTo>
                <a:lnTo>
                  <a:pt x="3130" y="226"/>
                </a:lnTo>
                <a:lnTo>
                  <a:pt x="3142" y="224"/>
                </a:lnTo>
                <a:lnTo>
                  <a:pt x="3153" y="222"/>
                </a:lnTo>
                <a:lnTo>
                  <a:pt x="3165" y="221"/>
                </a:lnTo>
                <a:lnTo>
                  <a:pt x="3177" y="221"/>
                </a:lnTo>
                <a:lnTo>
                  <a:pt x="3189" y="221"/>
                </a:lnTo>
                <a:lnTo>
                  <a:pt x="3201" y="222"/>
                </a:lnTo>
                <a:lnTo>
                  <a:pt x="3212" y="224"/>
                </a:lnTo>
                <a:lnTo>
                  <a:pt x="3224" y="226"/>
                </a:lnTo>
                <a:lnTo>
                  <a:pt x="3235" y="228"/>
                </a:lnTo>
                <a:lnTo>
                  <a:pt x="3246" y="231"/>
                </a:lnTo>
                <a:lnTo>
                  <a:pt x="3257" y="235"/>
                </a:lnTo>
                <a:lnTo>
                  <a:pt x="3267" y="239"/>
                </a:lnTo>
                <a:lnTo>
                  <a:pt x="3278" y="244"/>
                </a:lnTo>
                <a:lnTo>
                  <a:pt x="3288" y="249"/>
                </a:lnTo>
                <a:lnTo>
                  <a:pt x="3297" y="254"/>
                </a:lnTo>
                <a:lnTo>
                  <a:pt x="3307" y="260"/>
                </a:lnTo>
                <a:lnTo>
                  <a:pt x="3316" y="267"/>
                </a:lnTo>
                <a:lnTo>
                  <a:pt x="3325" y="274"/>
                </a:lnTo>
                <a:lnTo>
                  <a:pt x="3333" y="281"/>
                </a:lnTo>
                <a:lnTo>
                  <a:pt x="3341" y="289"/>
                </a:lnTo>
                <a:lnTo>
                  <a:pt x="3349" y="297"/>
                </a:lnTo>
                <a:lnTo>
                  <a:pt x="3356" y="305"/>
                </a:lnTo>
                <a:lnTo>
                  <a:pt x="3363" y="314"/>
                </a:lnTo>
                <a:lnTo>
                  <a:pt x="3369" y="323"/>
                </a:lnTo>
                <a:lnTo>
                  <a:pt x="3375" y="332"/>
                </a:lnTo>
                <a:lnTo>
                  <a:pt x="3381" y="342"/>
                </a:lnTo>
                <a:lnTo>
                  <a:pt x="3386" y="352"/>
                </a:lnTo>
                <a:lnTo>
                  <a:pt x="3391" y="362"/>
                </a:lnTo>
                <a:lnTo>
                  <a:pt x="3395" y="373"/>
                </a:lnTo>
                <a:lnTo>
                  <a:pt x="3398" y="384"/>
                </a:lnTo>
                <a:lnTo>
                  <a:pt x="3401" y="395"/>
                </a:lnTo>
                <a:lnTo>
                  <a:pt x="3404" y="406"/>
                </a:lnTo>
                <a:lnTo>
                  <a:pt x="3406" y="417"/>
                </a:lnTo>
                <a:lnTo>
                  <a:pt x="3408" y="429"/>
                </a:lnTo>
                <a:lnTo>
                  <a:pt x="3408" y="441"/>
                </a:lnTo>
                <a:lnTo>
                  <a:pt x="3409" y="453"/>
                </a:lnTo>
                <a:lnTo>
                  <a:pt x="3408" y="466"/>
                </a:lnTo>
                <a:lnTo>
                  <a:pt x="3408" y="477"/>
                </a:lnTo>
                <a:lnTo>
                  <a:pt x="3406" y="489"/>
                </a:lnTo>
                <a:lnTo>
                  <a:pt x="3404" y="500"/>
                </a:lnTo>
                <a:lnTo>
                  <a:pt x="3401" y="512"/>
                </a:lnTo>
                <a:lnTo>
                  <a:pt x="3398" y="523"/>
                </a:lnTo>
                <a:lnTo>
                  <a:pt x="3395" y="533"/>
                </a:lnTo>
                <a:lnTo>
                  <a:pt x="3391" y="544"/>
                </a:lnTo>
                <a:lnTo>
                  <a:pt x="3386" y="554"/>
                </a:lnTo>
                <a:lnTo>
                  <a:pt x="3381" y="564"/>
                </a:lnTo>
                <a:lnTo>
                  <a:pt x="3375" y="574"/>
                </a:lnTo>
                <a:lnTo>
                  <a:pt x="3369" y="583"/>
                </a:lnTo>
                <a:lnTo>
                  <a:pt x="3363" y="592"/>
                </a:lnTo>
                <a:lnTo>
                  <a:pt x="3356" y="601"/>
                </a:lnTo>
                <a:lnTo>
                  <a:pt x="3349" y="610"/>
                </a:lnTo>
                <a:lnTo>
                  <a:pt x="3341" y="618"/>
                </a:lnTo>
                <a:lnTo>
                  <a:pt x="3333" y="625"/>
                </a:lnTo>
                <a:lnTo>
                  <a:pt x="3325" y="633"/>
                </a:lnTo>
                <a:lnTo>
                  <a:pt x="3316" y="639"/>
                </a:lnTo>
                <a:lnTo>
                  <a:pt x="3307" y="646"/>
                </a:lnTo>
                <a:lnTo>
                  <a:pt x="3297" y="652"/>
                </a:lnTo>
                <a:lnTo>
                  <a:pt x="3288" y="658"/>
                </a:lnTo>
                <a:lnTo>
                  <a:pt x="3278" y="663"/>
                </a:lnTo>
                <a:lnTo>
                  <a:pt x="3267" y="667"/>
                </a:lnTo>
                <a:lnTo>
                  <a:pt x="3257" y="671"/>
                </a:lnTo>
                <a:lnTo>
                  <a:pt x="3246" y="675"/>
                </a:lnTo>
                <a:lnTo>
                  <a:pt x="3235" y="678"/>
                </a:lnTo>
                <a:lnTo>
                  <a:pt x="3224" y="681"/>
                </a:lnTo>
                <a:lnTo>
                  <a:pt x="3212" y="683"/>
                </a:lnTo>
                <a:lnTo>
                  <a:pt x="3201" y="684"/>
                </a:lnTo>
                <a:lnTo>
                  <a:pt x="3189" y="685"/>
                </a:lnTo>
                <a:lnTo>
                  <a:pt x="3177" y="685"/>
                </a:lnTo>
                <a:close/>
                <a:moveTo>
                  <a:pt x="2491" y="677"/>
                </a:moveTo>
                <a:lnTo>
                  <a:pt x="2402" y="677"/>
                </a:lnTo>
                <a:lnTo>
                  <a:pt x="2402" y="453"/>
                </a:lnTo>
                <a:lnTo>
                  <a:pt x="2402" y="444"/>
                </a:lnTo>
                <a:lnTo>
                  <a:pt x="2402" y="436"/>
                </a:lnTo>
                <a:lnTo>
                  <a:pt x="2401" y="428"/>
                </a:lnTo>
                <a:lnTo>
                  <a:pt x="2400" y="420"/>
                </a:lnTo>
                <a:lnTo>
                  <a:pt x="2398" y="412"/>
                </a:lnTo>
                <a:lnTo>
                  <a:pt x="2397" y="404"/>
                </a:lnTo>
                <a:lnTo>
                  <a:pt x="2395" y="397"/>
                </a:lnTo>
                <a:lnTo>
                  <a:pt x="2392" y="390"/>
                </a:lnTo>
                <a:lnTo>
                  <a:pt x="2390" y="383"/>
                </a:lnTo>
                <a:lnTo>
                  <a:pt x="2387" y="377"/>
                </a:lnTo>
                <a:lnTo>
                  <a:pt x="2381" y="364"/>
                </a:lnTo>
                <a:lnTo>
                  <a:pt x="2374" y="353"/>
                </a:lnTo>
                <a:lnTo>
                  <a:pt x="2370" y="347"/>
                </a:lnTo>
                <a:lnTo>
                  <a:pt x="2365" y="342"/>
                </a:lnTo>
                <a:lnTo>
                  <a:pt x="2361" y="337"/>
                </a:lnTo>
                <a:lnTo>
                  <a:pt x="2357" y="333"/>
                </a:lnTo>
                <a:lnTo>
                  <a:pt x="2347" y="325"/>
                </a:lnTo>
                <a:lnTo>
                  <a:pt x="2336" y="318"/>
                </a:lnTo>
                <a:lnTo>
                  <a:pt x="2331" y="314"/>
                </a:lnTo>
                <a:lnTo>
                  <a:pt x="2325" y="312"/>
                </a:lnTo>
                <a:lnTo>
                  <a:pt x="2319" y="309"/>
                </a:lnTo>
                <a:lnTo>
                  <a:pt x="2313" y="307"/>
                </a:lnTo>
                <a:lnTo>
                  <a:pt x="2307" y="305"/>
                </a:lnTo>
                <a:lnTo>
                  <a:pt x="2301" y="304"/>
                </a:lnTo>
                <a:lnTo>
                  <a:pt x="2295" y="303"/>
                </a:lnTo>
                <a:lnTo>
                  <a:pt x="2288" y="302"/>
                </a:lnTo>
                <a:lnTo>
                  <a:pt x="2275" y="301"/>
                </a:lnTo>
                <a:lnTo>
                  <a:pt x="2261" y="302"/>
                </a:lnTo>
                <a:lnTo>
                  <a:pt x="2254" y="303"/>
                </a:lnTo>
                <a:lnTo>
                  <a:pt x="2247" y="304"/>
                </a:lnTo>
                <a:lnTo>
                  <a:pt x="2234" y="307"/>
                </a:lnTo>
                <a:lnTo>
                  <a:pt x="2228" y="309"/>
                </a:lnTo>
                <a:lnTo>
                  <a:pt x="2222" y="312"/>
                </a:lnTo>
                <a:lnTo>
                  <a:pt x="2216" y="314"/>
                </a:lnTo>
                <a:lnTo>
                  <a:pt x="2210" y="318"/>
                </a:lnTo>
                <a:lnTo>
                  <a:pt x="2204" y="321"/>
                </a:lnTo>
                <a:lnTo>
                  <a:pt x="2198" y="325"/>
                </a:lnTo>
                <a:lnTo>
                  <a:pt x="2193" y="329"/>
                </a:lnTo>
                <a:lnTo>
                  <a:pt x="2188" y="333"/>
                </a:lnTo>
                <a:lnTo>
                  <a:pt x="2183" y="338"/>
                </a:lnTo>
                <a:lnTo>
                  <a:pt x="2178" y="343"/>
                </a:lnTo>
                <a:lnTo>
                  <a:pt x="2173" y="348"/>
                </a:lnTo>
                <a:lnTo>
                  <a:pt x="2169" y="354"/>
                </a:lnTo>
                <a:lnTo>
                  <a:pt x="2164" y="360"/>
                </a:lnTo>
                <a:lnTo>
                  <a:pt x="2160" y="366"/>
                </a:lnTo>
                <a:lnTo>
                  <a:pt x="2153" y="380"/>
                </a:lnTo>
                <a:lnTo>
                  <a:pt x="2150" y="387"/>
                </a:lnTo>
                <a:lnTo>
                  <a:pt x="2147" y="394"/>
                </a:lnTo>
                <a:lnTo>
                  <a:pt x="2142" y="410"/>
                </a:lnTo>
                <a:lnTo>
                  <a:pt x="2140" y="419"/>
                </a:lnTo>
                <a:lnTo>
                  <a:pt x="2139" y="427"/>
                </a:lnTo>
                <a:lnTo>
                  <a:pt x="2137" y="436"/>
                </a:lnTo>
                <a:lnTo>
                  <a:pt x="2137" y="446"/>
                </a:lnTo>
                <a:lnTo>
                  <a:pt x="2136" y="466"/>
                </a:lnTo>
                <a:lnTo>
                  <a:pt x="2136" y="677"/>
                </a:lnTo>
                <a:lnTo>
                  <a:pt x="2046" y="677"/>
                </a:lnTo>
                <a:lnTo>
                  <a:pt x="2046" y="230"/>
                </a:lnTo>
                <a:lnTo>
                  <a:pt x="2133" y="230"/>
                </a:lnTo>
                <a:lnTo>
                  <a:pt x="2133" y="306"/>
                </a:lnTo>
                <a:lnTo>
                  <a:pt x="2138" y="296"/>
                </a:lnTo>
                <a:lnTo>
                  <a:pt x="2144" y="287"/>
                </a:lnTo>
                <a:lnTo>
                  <a:pt x="2151" y="278"/>
                </a:lnTo>
                <a:lnTo>
                  <a:pt x="2159" y="270"/>
                </a:lnTo>
                <a:lnTo>
                  <a:pt x="2163" y="266"/>
                </a:lnTo>
                <a:lnTo>
                  <a:pt x="2167" y="262"/>
                </a:lnTo>
                <a:lnTo>
                  <a:pt x="2177" y="255"/>
                </a:lnTo>
                <a:lnTo>
                  <a:pt x="2186" y="249"/>
                </a:lnTo>
                <a:lnTo>
                  <a:pt x="2196" y="243"/>
                </a:lnTo>
                <a:lnTo>
                  <a:pt x="2207" y="238"/>
                </a:lnTo>
                <a:lnTo>
                  <a:pt x="2218" y="234"/>
                </a:lnTo>
                <a:lnTo>
                  <a:pt x="2229" y="230"/>
                </a:lnTo>
                <a:lnTo>
                  <a:pt x="2241" y="227"/>
                </a:lnTo>
                <a:lnTo>
                  <a:pt x="2253" y="224"/>
                </a:lnTo>
                <a:lnTo>
                  <a:pt x="2264" y="222"/>
                </a:lnTo>
                <a:lnTo>
                  <a:pt x="2276" y="221"/>
                </a:lnTo>
                <a:lnTo>
                  <a:pt x="2288" y="221"/>
                </a:lnTo>
                <a:lnTo>
                  <a:pt x="2307" y="222"/>
                </a:lnTo>
                <a:lnTo>
                  <a:pt x="2326" y="224"/>
                </a:lnTo>
                <a:lnTo>
                  <a:pt x="2335" y="225"/>
                </a:lnTo>
                <a:lnTo>
                  <a:pt x="2344" y="228"/>
                </a:lnTo>
                <a:lnTo>
                  <a:pt x="2353" y="230"/>
                </a:lnTo>
                <a:lnTo>
                  <a:pt x="2362" y="233"/>
                </a:lnTo>
                <a:lnTo>
                  <a:pt x="2371" y="236"/>
                </a:lnTo>
                <a:lnTo>
                  <a:pt x="2380" y="240"/>
                </a:lnTo>
                <a:lnTo>
                  <a:pt x="2388" y="244"/>
                </a:lnTo>
                <a:lnTo>
                  <a:pt x="2397" y="249"/>
                </a:lnTo>
                <a:lnTo>
                  <a:pt x="2405" y="254"/>
                </a:lnTo>
                <a:lnTo>
                  <a:pt x="2413" y="259"/>
                </a:lnTo>
                <a:lnTo>
                  <a:pt x="2420" y="265"/>
                </a:lnTo>
                <a:lnTo>
                  <a:pt x="2427" y="271"/>
                </a:lnTo>
                <a:lnTo>
                  <a:pt x="2434" y="278"/>
                </a:lnTo>
                <a:lnTo>
                  <a:pt x="2441" y="285"/>
                </a:lnTo>
                <a:lnTo>
                  <a:pt x="2448" y="293"/>
                </a:lnTo>
                <a:lnTo>
                  <a:pt x="2454" y="301"/>
                </a:lnTo>
                <a:lnTo>
                  <a:pt x="2459" y="310"/>
                </a:lnTo>
                <a:lnTo>
                  <a:pt x="2464" y="319"/>
                </a:lnTo>
                <a:lnTo>
                  <a:pt x="2469" y="328"/>
                </a:lnTo>
                <a:lnTo>
                  <a:pt x="2474" y="339"/>
                </a:lnTo>
                <a:lnTo>
                  <a:pt x="2478" y="349"/>
                </a:lnTo>
                <a:lnTo>
                  <a:pt x="2481" y="360"/>
                </a:lnTo>
                <a:lnTo>
                  <a:pt x="2484" y="372"/>
                </a:lnTo>
                <a:lnTo>
                  <a:pt x="2487" y="384"/>
                </a:lnTo>
                <a:lnTo>
                  <a:pt x="2489" y="397"/>
                </a:lnTo>
                <a:lnTo>
                  <a:pt x="2490" y="410"/>
                </a:lnTo>
                <a:lnTo>
                  <a:pt x="2491" y="424"/>
                </a:lnTo>
                <a:lnTo>
                  <a:pt x="2491" y="438"/>
                </a:lnTo>
                <a:lnTo>
                  <a:pt x="2491" y="677"/>
                </a:lnTo>
                <a:close/>
                <a:moveTo>
                  <a:pt x="1589" y="677"/>
                </a:moveTo>
                <a:lnTo>
                  <a:pt x="1499" y="677"/>
                </a:lnTo>
                <a:lnTo>
                  <a:pt x="1499" y="624"/>
                </a:lnTo>
                <a:lnTo>
                  <a:pt x="1496" y="627"/>
                </a:lnTo>
                <a:lnTo>
                  <a:pt x="1493" y="631"/>
                </a:lnTo>
                <a:lnTo>
                  <a:pt x="1487" y="637"/>
                </a:lnTo>
                <a:lnTo>
                  <a:pt x="1480" y="644"/>
                </a:lnTo>
                <a:lnTo>
                  <a:pt x="1473" y="649"/>
                </a:lnTo>
                <a:lnTo>
                  <a:pt x="1457" y="660"/>
                </a:lnTo>
                <a:lnTo>
                  <a:pt x="1449" y="665"/>
                </a:lnTo>
                <a:lnTo>
                  <a:pt x="1440" y="669"/>
                </a:lnTo>
                <a:lnTo>
                  <a:pt x="1431" y="673"/>
                </a:lnTo>
                <a:lnTo>
                  <a:pt x="1422" y="676"/>
                </a:lnTo>
                <a:lnTo>
                  <a:pt x="1412" y="679"/>
                </a:lnTo>
                <a:lnTo>
                  <a:pt x="1402" y="682"/>
                </a:lnTo>
                <a:lnTo>
                  <a:pt x="1392" y="684"/>
                </a:lnTo>
                <a:lnTo>
                  <a:pt x="1381" y="685"/>
                </a:lnTo>
                <a:lnTo>
                  <a:pt x="1370" y="686"/>
                </a:lnTo>
                <a:lnTo>
                  <a:pt x="1359" y="686"/>
                </a:lnTo>
                <a:lnTo>
                  <a:pt x="1347" y="686"/>
                </a:lnTo>
                <a:lnTo>
                  <a:pt x="1335" y="685"/>
                </a:lnTo>
                <a:lnTo>
                  <a:pt x="1323" y="684"/>
                </a:lnTo>
                <a:lnTo>
                  <a:pt x="1312" y="682"/>
                </a:lnTo>
                <a:lnTo>
                  <a:pt x="1301" y="679"/>
                </a:lnTo>
                <a:lnTo>
                  <a:pt x="1290" y="676"/>
                </a:lnTo>
                <a:lnTo>
                  <a:pt x="1280" y="672"/>
                </a:lnTo>
                <a:lnTo>
                  <a:pt x="1269" y="668"/>
                </a:lnTo>
                <a:lnTo>
                  <a:pt x="1259" y="663"/>
                </a:lnTo>
                <a:lnTo>
                  <a:pt x="1250" y="658"/>
                </a:lnTo>
                <a:lnTo>
                  <a:pt x="1240" y="653"/>
                </a:lnTo>
                <a:lnTo>
                  <a:pt x="1231" y="647"/>
                </a:lnTo>
                <a:lnTo>
                  <a:pt x="1223" y="640"/>
                </a:lnTo>
                <a:lnTo>
                  <a:pt x="1214" y="633"/>
                </a:lnTo>
                <a:lnTo>
                  <a:pt x="1206" y="626"/>
                </a:lnTo>
                <a:lnTo>
                  <a:pt x="1199" y="618"/>
                </a:lnTo>
                <a:lnTo>
                  <a:pt x="1191" y="610"/>
                </a:lnTo>
                <a:lnTo>
                  <a:pt x="1184" y="602"/>
                </a:lnTo>
                <a:lnTo>
                  <a:pt x="1178" y="593"/>
                </a:lnTo>
                <a:lnTo>
                  <a:pt x="1172" y="584"/>
                </a:lnTo>
                <a:lnTo>
                  <a:pt x="1166" y="575"/>
                </a:lnTo>
                <a:lnTo>
                  <a:pt x="1161" y="565"/>
                </a:lnTo>
                <a:lnTo>
                  <a:pt x="1156" y="555"/>
                </a:lnTo>
                <a:lnTo>
                  <a:pt x="1152" y="545"/>
                </a:lnTo>
                <a:lnTo>
                  <a:pt x="1148" y="534"/>
                </a:lnTo>
                <a:lnTo>
                  <a:pt x="1144" y="523"/>
                </a:lnTo>
                <a:lnTo>
                  <a:pt x="1142" y="512"/>
                </a:lnTo>
                <a:lnTo>
                  <a:pt x="1139" y="501"/>
                </a:lnTo>
                <a:lnTo>
                  <a:pt x="1137" y="489"/>
                </a:lnTo>
                <a:lnTo>
                  <a:pt x="1136" y="478"/>
                </a:lnTo>
                <a:lnTo>
                  <a:pt x="1135" y="466"/>
                </a:lnTo>
                <a:lnTo>
                  <a:pt x="1135" y="453"/>
                </a:lnTo>
                <a:lnTo>
                  <a:pt x="1135" y="441"/>
                </a:lnTo>
                <a:lnTo>
                  <a:pt x="1136" y="429"/>
                </a:lnTo>
                <a:lnTo>
                  <a:pt x="1137" y="417"/>
                </a:lnTo>
                <a:lnTo>
                  <a:pt x="1139" y="406"/>
                </a:lnTo>
                <a:lnTo>
                  <a:pt x="1142" y="395"/>
                </a:lnTo>
                <a:lnTo>
                  <a:pt x="1143" y="389"/>
                </a:lnTo>
                <a:lnTo>
                  <a:pt x="1144" y="384"/>
                </a:lnTo>
                <a:lnTo>
                  <a:pt x="1148" y="373"/>
                </a:lnTo>
                <a:lnTo>
                  <a:pt x="1152" y="362"/>
                </a:lnTo>
                <a:lnTo>
                  <a:pt x="1156" y="352"/>
                </a:lnTo>
                <a:lnTo>
                  <a:pt x="1161" y="342"/>
                </a:lnTo>
                <a:lnTo>
                  <a:pt x="1166" y="332"/>
                </a:lnTo>
                <a:lnTo>
                  <a:pt x="1172" y="323"/>
                </a:lnTo>
                <a:lnTo>
                  <a:pt x="1178" y="314"/>
                </a:lnTo>
                <a:lnTo>
                  <a:pt x="1184" y="305"/>
                </a:lnTo>
                <a:lnTo>
                  <a:pt x="1191" y="297"/>
                </a:lnTo>
                <a:lnTo>
                  <a:pt x="1199" y="289"/>
                </a:lnTo>
                <a:lnTo>
                  <a:pt x="1206" y="281"/>
                </a:lnTo>
                <a:lnTo>
                  <a:pt x="1214" y="274"/>
                </a:lnTo>
                <a:lnTo>
                  <a:pt x="1218" y="270"/>
                </a:lnTo>
                <a:lnTo>
                  <a:pt x="1223" y="267"/>
                </a:lnTo>
                <a:lnTo>
                  <a:pt x="1231" y="260"/>
                </a:lnTo>
                <a:lnTo>
                  <a:pt x="1240" y="254"/>
                </a:lnTo>
                <a:lnTo>
                  <a:pt x="1250" y="249"/>
                </a:lnTo>
                <a:lnTo>
                  <a:pt x="1259" y="244"/>
                </a:lnTo>
                <a:lnTo>
                  <a:pt x="1269" y="239"/>
                </a:lnTo>
                <a:lnTo>
                  <a:pt x="1280" y="235"/>
                </a:lnTo>
                <a:lnTo>
                  <a:pt x="1290" y="231"/>
                </a:lnTo>
                <a:lnTo>
                  <a:pt x="1301" y="228"/>
                </a:lnTo>
                <a:lnTo>
                  <a:pt x="1312" y="226"/>
                </a:lnTo>
                <a:lnTo>
                  <a:pt x="1323" y="224"/>
                </a:lnTo>
                <a:lnTo>
                  <a:pt x="1335" y="222"/>
                </a:lnTo>
                <a:lnTo>
                  <a:pt x="1347" y="221"/>
                </a:lnTo>
                <a:lnTo>
                  <a:pt x="1359" y="221"/>
                </a:lnTo>
                <a:lnTo>
                  <a:pt x="1370" y="221"/>
                </a:lnTo>
                <a:lnTo>
                  <a:pt x="1381" y="222"/>
                </a:lnTo>
                <a:lnTo>
                  <a:pt x="1392" y="223"/>
                </a:lnTo>
                <a:lnTo>
                  <a:pt x="1402" y="225"/>
                </a:lnTo>
                <a:lnTo>
                  <a:pt x="1412" y="228"/>
                </a:lnTo>
                <a:lnTo>
                  <a:pt x="1421" y="230"/>
                </a:lnTo>
                <a:lnTo>
                  <a:pt x="1431" y="234"/>
                </a:lnTo>
                <a:lnTo>
                  <a:pt x="1440" y="238"/>
                </a:lnTo>
                <a:lnTo>
                  <a:pt x="1448" y="242"/>
                </a:lnTo>
                <a:lnTo>
                  <a:pt x="1457" y="246"/>
                </a:lnTo>
                <a:lnTo>
                  <a:pt x="1465" y="251"/>
                </a:lnTo>
                <a:lnTo>
                  <a:pt x="1468" y="254"/>
                </a:lnTo>
                <a:lnTo>
                  <a:pt x="1472" y="257"/>
                </a:lnTo>
                <a:lnTo>
                  <a:pt x="1479" y="263"/>
                </a:lnTo>
                <a:lnTo>
                  <a:pt x="1486" y="269"/>
                </a:lnTo>
                <a:lnTo>
                  <a:pt x="1493" y="275"/>
                </a:lnTo>
                <a:lnTo>
                  <a:pt x="1499" y="282"/>
                </a:lnTo>
                <a:lnTo>
                  <a:pt x="1499" y="230"/>
                </a:lnTo>
                <a:lnTo>
                  <a:pt x="1589" y="230"/>
                </a:lnTo>
                <a:lnTo>
                  <a:pt x="1589" y="677"/>
                </a:lnTo>
                <a:close/>
                <a:moveTo>
                  <a:pt x="466" y="686"/>
                </a:moveTo>
                <a:lnTo>
                  <a:pt x="452" y="686"/>
                </a:lnTo>
                <a:lnTo>
                  <a:pt x="438" y="685"/>
                </a:lnTo>
                <a:lnTo>
                  <a:pt x="424" y="684"/>
                </a:lnTo>
                <a:lnTo>
                  <a:pt x="410" y="682"/>
                </a:lnTo>
                <a:lnTo>
                  <a:pt x="395" y="679"/>
                </a:lnTo>
                <a:lnTo>
                  <a:pt x="380" y="676"/>
                </a:lnTo>
                <a:lnTo>
                  <a:pt x="365" y="672"/>
                </a:lnTo>
                <a:lnTo>
                  <a:pt x="350" y="667"/>
                </a:lnTo>
                <a:lnTo>
                  <a:pt x="335" y="662"/>
                </a:lnTo>
                <a:lnTo>
                  <a:pt x="319" y="655"/>
                </a:lnTo>
                <a:lnTo>
                  <a:pt x="304" y="648"/>
                </a:lnTo>
                <a:lnTo>
                  <a:pt x="290" y="640"/>
                </a:lnTo>
                <a:lnTo>
                  <a:pt x="275" y="632"/>
                </a:lnTo>
                <a:lnTo>
                  <a:pt x="261" y="622"/>
                </a:lnTo>
                <a:lnTo>
                  <a:pt x="247" y="611"/>
                </a:lnTo>
                <a:lnTo>
                  <a:pt x="240" y="606"/>
                </a:lnTo>
                <a:lnTo>
                  <a:pt x="233" y="600"/>
                </a:lnTo>
                <a:lnTo>
                  <a:pt x="241" y="590"/>
                </a:lnTo>
                <a:lnTo>
                  <a:pt x="258" y="567"/>
                </a:lnTo>
                <a:lnTo>
                  <a:pt x="283" y="534"/>
                </a:lnTo>
                <a:lnTo>
                  <a:pt x="286" y="537"/>
                </a:lnTo>
                <a:lnTo>
                  <a:pt x="296" y="545"/>
                </a:lnTo>
                <a:lnTo>
                  <a:pt x="303" y="551"/>
                </a:lnTo>
                <a:lnTo>
                  <a:pt x="311" y="557"/>
                </a:lnTo>
                <a:lnTo>
                  <a:pt x="321" y="563"/>
                </a:lnTo>
                <a:lnTo>
                  <a:pt x="332" y="570"/>
                </a:lnTo>
                <a:lnTo>
                  <a:pt x="345" y="577"/>
                </a:lnTo>
                <a:lnTo>
                  <a:pt x="358" y="583"/>
                </a:lnTo>
                <a:lnTo>
                  <a:pt x="365" y="586"/>
                </a:lnTo>
                <a:lnTo>
                  <a:pt x="373" y="589"/>
                </a:lnTo>
                <a:lnTo>
                  <a:pt x="388" y="595"/>
                </a:lnTo>
                <a:lnTo>
                  <a:pt x="396" y="597"/>
                </a:lnTo>
                <a:lnTo>
                  <a:pt x="405" y="599"/>
                </a:lnTo>
                <a:lnTo>
                  <a:pt x="414" y="601"/>
                </a:lnTo>
                <a:lnTo>
                  <a:pt x="423" y="603"/>
                </a:lnTo>
                <a:lnTo>
                  <a:pt x="432" y="604"/>
                </a:lnTo>
                <a:lnTo>
                  <a:pt x="441" y="605"/>
                </a:lnTo>
                <a:lnTo>
                  <a:pt x="460" y="606"/>
                </a:lnTo>
                <a:lnTo>
                  <a:pt x="478" y="606"/>
                </a:lnTo>
                <a:lnTo>
                  <a:pt x="494" y="605"/>
                </a:lnTo>
                <a:lnTo>
                  <a:pt x="508" y="603"/>
                </a:lnTo>
                <a:lnTo>
                  <a:pt x="521" y="600"/>
                </a:lnTo>
                <a:lnTo>
                  <a:pt x="533" y="597"/>
                </a:lnTo>
                <a:lnTo>
                  <a:pt x="543" y="594"/>
                </a:lnTo>
                <a:lnTo>
                  <a:pt x="551" y="590"/>
                </a:lnTo>
                <a:lnTo>
                  <a:pt x="559" y="585"/>
                </a:lnTo>
                <a:lnTo>
                  <a:pt x="565" y="581"/>
                </a:lnTo>
                <a:lnTo>
                  <a:pt x="568" y="579"/>
                </a:lnTo>
                <a:lnTo>
                  <a:pt x="571" y="576"/>
                </a:lnTo>
                <a:lnTo>
                  <a:pt x="575" y="571"/>
                </a:lnTo>
                <a:lnTo>
                  <a:pt x="578" y="567"/>
                </a:lnTo>
                <a:lnTo>
                  <a:pt x="580" y="562"/>
                </a:lnTo>
                <a:lnTo>
                  <a:pt x="582" y="557"/>
                </a:lnTo>
                <a:lnTo>
                  <a:pt x="583" y="552"/>
                </a:lnTo>
                <a:lnTo>
                  <a:pt x="583" y="548"/>
                </a:lnTo>
                <a:lnTo>
                  <a:pt x="583" y="544"/>
                </a:lnTo>
                <a:lnTo>
                  <a:pt x="583" y="540"/>
                </a:lnTo>
                <a:lnTo>
                  <a:pt x="582" y="537"/>
                </a:lnTo>
                <a:lnTo>
                  <a:pt x="580" y="534"/>
                </a:lnTo>
                <a:lnTo>
                  <a:pt x="577" y="527"/>
                </a:lnTo>
                <a:lnTo>
                  <a:pt x="575" y="525"/>
                </a:lnTo>
                <a:lnTo>
                  <a:pt x="572" y="522"/>
                </a:lnTo>
                <a:lnTo>
                  <a:pt x="569" y="520"/>
                </a:lnTo>
                <a:lnTo>
                  <a:pt x="566" y="517"/>
                </a:lnTo>
                <a:lnTo>
                  <a:pt x="559" y="513"/>
                </a:lnTo>
                <a:lnTo>
                  <a:pt x="551" y="510"/>
                </a:lnTo>
                <a:lnTo>
                  <a:pt x="542" y="507"/>
                </a:lnTo>
                <a:lnTo>
                  <a:pt x="532" y="504"/>
                </a:lnTo>
                <a:lnTo>
                  <a:pt x="521" y="502"/>
                </a:lnTo>
                <a:lnTo>
                  <a:pt x="498" y="498"/>
                </a:lnTo>
                <a:lnTo>
                  <a:pt x="447" y="491"/>
                </a:lnTo>
                <a:lnTo>
                  <a:pt x="412" y="486"/>
                </a:lnTo>
                <a:lnTo>
                  <a:pt x="394" y="484"/>
                </a:lnTo>
                <a:lnTo>
                  <a:pt x="376" y="480"/>
                </a:lnTo>
                <a:lnTo>
                  <a:pt x="358" y="476"/>
                </a:lnTo>
                <a:lnTo>
                  <a:pt x="341" y="472"/>
                </a:lnTo>
                <a:lnTo>
                  <a:pt x="324" y="466"/>
                </a:lnTo>
                <a:lnTo>
                  <a:pt x="308" y="460"/>
                </a:lnTo>
                <a:lnTo>
                  <a:pt x="301" y="456"/>
                </a:lnTo>
                <a:lnTo>
                  <a:pt x="293" y="451"/>
                </a:lnTo>
                <a:lnTo>
                  <a:pt x="280" y="442"/>
                </a:lnTo>
                <a:lnTo>
                  <a:pt x="274" y="437"/>
                </a:lnTo>
                <a:lnTo>
                  <a:pt x="268" y="432"/>
                </a:lnTo>
                <a:lnTo>
                  <a:pt x="262" y="426"/>
                </a:lnTo>
                <a:lnTo>
                  <a:pt x="257" y="420"/>
                </a:lnTo>
                <a:lnTo>
                  <a:pt x="253" y="414"/>
                </a:lnTo>
                <a:lnTo>
                  <a:pt x="249" y="407"/>
                </a:lnTo>
                <a:lnTo>
                  <a:pt x="246" y="400"/>
                </a:lnTo>
                <a:lnTo>
                  <a:pt x="243" y="392"/>
                </a:lnTo>
                <a:lnTo>
                  <a:pt x="240" y="384"/>
                </a:lnTo>
                <a:lnTo>
                  <a:pt x="239" y="375"/>
                </a:lnTo>
                <a:lnTo>
                  <a:pt x="238" y="366"/>
                </a:lnTo>
                <a:lnTo>
                  <a:pt x="237" y="356"/>
                </a:lnTo>
                <a:lnTo>
                  <a:pt x="238" y="349"/>
                </a:lnTo>
                <a:lnTo>
                  <a:pt x="239" y="342"/>
                </a:lnTo>
                <a:lnTo>
                  <a:pt x="240" y="335"/>
                </a:lnTo>
                <a:lnTo>
                  <a:pt x="242" y="328"/>
                </a:lnTo>
                <a:lnTo>
                  <a:pt x="244" y="321"/>
                </a:lnTo>
                <a:lnTo>
                  <a:pt x="247" y="315"/>
                </a:lnTo>
                <a:lnTo>
                  <a:pt x="250" y="308"/>
                </a:lnTo>
                <a:lnTo>
                  <a:pt x="254" y="302"/>
                </a:lnTo>
                <a:lnTo>
                  <a:pt x="258" y="296"/>
                </a:lnTo>
                <a:lnTo>
                  <a:pt x="263" y="290"/>
                </a:lnTo>
                <a:lnTo>
                  <a:pt x="268" y="285"/>
                </a:lnTo>
                <a:lnTo>
                  <a:pt x="274" y="279"/>
                </a:lnTo>
                <a:lnTo>
                  <a:pt x="280" y="274"/>
                </a:lnTo>
                <a:lnTo>
                  <a:pt x="286" y="269"/>
                </a:lnTo>
                <a:lnTo>
                  <a:pt x="292" y="264"/>
                </a:lnTo>
                <a:lnTo>
                  <a:pt x="299" y="260"/>
                </a:lnTo>
                <a:lnTo>
                  <a:pt x="314" y="251"/>
                </a:lnTo>
                <a:lnTo>
                  <a:pt x="322" y="247"/>
                </a:lnTo>
                <a:lnTo>
                  <a:pt x="330" y="244"/>
                </a:lnTo>
                <a:lnTo>
                  <a:pt x="347" y="237"/>
                </a:lnTo>
                <a:lnTo>
                  <a:pt x="365" y="232"/>
                </a:lnTo>
                <a:lnTo>
                  <a:pt x="383" y="227"/>
                </a:lnTo>
                <a:lnTo>
                  <a:pt x="402" y="224"/>
                </a:lnTo>
                <a:lnTo>
                  <a:pt x="422" y="222"/>
                </a:lnTo>
                <a:lnTo>
                  <a:pt x="443" y="222"/>
                </a:lnTo>
                <a:lnTo>
                  <a:pt x="459" y="222"/>
                </a:lnTo>
                <a:lnTo>
                  <a:pt x="474" y="223"/>
                </a:lnTo>
                <a:lnTo>
                  <a:pt x="489" y="224"/>
                </a:lnTo>
                <a:lnTo>
                  <a:pt x="504" y="226"/>
                </a:lnTo>
                <a:lnTo>
                  <a:pt x="518" y="229"/>
                </a:lnTo>
                <a:lnTo>
                  <a:pt x="532" y="232"/>
                </a:lnTo>
                <a:lnTo>
                  <a:pt x="545" y="235"/>
                </a:lnTo>
                <a:lnTo>
                  <a:pt x="559" y="239"/>
                </a:lnTo>
                <a:lnTo>
                  <a:pt x="571" y="244"/>
                </a:lnTo>
                <a:lnTo>
                  <a:pt x="584" y="249"/>
                </a:lnTo>
                <a:lnTo>
                  <a:pt x="596" y="255"/>
                </a:lnTo>
                <a:lnTo>
                  <a:pt x="607" y="261"/>
                </a:lnTo>
                <a:lnTo>
                  <a:pt x="619" y="268"/>
                </a:lnTo>
                <a:lnTo>
                  <a:pt x="630" y="275"/>
                </a:lnTo>
                <a:lnTo>
                  <a:pt x="641" y="283"/>
                </a:lnTo>
                <a:lnTo>
                  <a:pt x="651" y="291"/>
                </a:lnTo>
                <a:lnTo>
                  <a:pt x="649" y="294"/>
                </a:lnTo>
                <a:lnTo>
                  <a:pt x="644" y="302"/>
                </a:lnTo>
                <a:lnTo>
                  <a:pt x="627" y="326"/>
                </a:lnTo>
                <a:lnTo>
                  <a:pt x="602" y="360"/>
                </a:lnTo>
                <a:lnTo>
                  <a:pt x="599" y="357"/>
                </a:lnTo>
                <a:lnTo>
                  <a:pt x="591" y="351"/>
                </a:lnTo>
                <a:lnTo>
                  <a:pt x="578" y="341"/>
                </a:lnTo>
                <a:lnTo>
                  <a:pt x="570" y="336"/>
                </a:lnTo>
                <a:lnTo>
                  <a:pt x="560" y="330"/>
                </a:lnTo>
                <a:lnTo>
                  <a:pt x="550" y="325"/>
                </a:lnTo>
                <a:lnTo>
                  <a:pt x="538" y="320"/>
                </a:lnTo>
                <a:lnTo>
                  <a:pt x="525" y="315"/>
                </a:lnTo>
                <a:lnTo>
                  <a:pt x="511" y="310"/>
                </a:lnTo>
                <a:lnTo>
                  <a:pt x="503" y="308"/>
                </a:lnTo>
                <a:lnTo>
                  <a:pt x="496" y="307"/>
                </a:lnTo>
                <a:lnTo>
                  <a:pt x="479" y="304"/>
                </a:lnTo>
                <a:lnTo>
                  <a:pt x="471" y="303"/>
                </a:lnTo>
                <a:lnTo>
                  <a:pt x="462" y="302"/>
                </a:lnTo>
                <a:lnTo>
                  <a:pt x="453" y="301"/>
                </a:lnTo>
                <a:lnTo>
                  <a:pt x="444" y="301"/>
                </a:lnTo>
                <a:lnTo>
                  <a:pt x="430" y="301"/>
                </a:lnTo>
                <a:lnTo>
                  <a:pt x="416" y="303"/>
                </a:lnTo>
                <a:lnTo>
                  <a:pt x="404" y="304"/>
                </a:lnTo>
                <a:lnTo>
                  <a:pt x="392" y="307"/>
                </a:lnTo>
                <a:lnTo>
                  <a:pt x="382" y="310"/>
                </a:lnTo>
                <a:lnTo>
                  <a:pt x="372" y="313"/>
                </a:lnTo>
                <a:lnTo>
                  <a:pt x="363" y="317"/>
                </a:lnTo>
                <a:lnTo>
                  <a:pt x="356" y="321"/>
                </a:lnTo>
                <a:lnTo>
                  <a:pt x="349" y="325"/>
                </a:lnTo>
                <a:lnTo>
                  <a:pt x="343" y="329"/>
                </a:lnTo>
                <a:lnTo>
                  <a:pt x="338" y="334"/>
                </a:lnTo>
                <a:lnTo>
                  <a:pt x="334" y="338"/>
                </a:lnTo>
                <a:lnTo>
                  <a:pt x="331" y="343"/>
                </a:lnTo>
                <a:lnTo>
                  <a:pt x="328" y="347"/>
                </a:lnTo>
                <a:lnTo>
                  <a:pt x="327" y="351"/>
                </a:lnTo>
                <a:lnTo>
                  <a:pt x="327" y="355"/>
                </a:lnTo>
                <a:lnTo>
                  <a:pt x="327" y="363"/>
                </a:lnTo>
                <a:lnTo>
                  <a:pt x="328" y="366"/>
                </a:lnTo>
                <a:lnTo>
                  <a:pt x="330" y="369"/>
                </a:lnTo>
                <a:lnTo>
                  <a:pt x="333" y="375"/>
                </a:lnTo>
                <a:lnTo>
                  <a:pt x="335" y="378"/>
                </a:lnTo>
                <a:lnTo>
                  <a:pt x="338" y="380"/>
                </a:lnTo>
                <a:lnTo>
                  <a:pt x="344" y="385"/>
                </a:lnTo>
                <a:lnTo>
                  <a:pt x="351" y="389"/>
                </a:lnTo>
                <a:lnTo>
                  <a:pt x="360" y="392"/>
                </a:lnTo>
                <a:lnTo>
                  <a:pt x="369" y="395"/>
                </a:lnTo>
                <a:lnTo>
                  <a:pt x="380" y="397"/>
                </a:lnTo>
                <a:lnTo>
                  <a:pt x="391" y="400"/>
                </a:lnTo>
                <a:lnTo>
                  <a:pt x="416" y="403"/>
                </a:lnTo>
                <a:lnTo>
                  <a:pt x="443" y="407"/>
                </a:lnTo>
                <a:lnTo>
                  <a:pt x="473" y="411"/>
                </a:lnTo>
                <a:lnTo>
                  <a:pt x="513" y="416"/>
                </a:lnTo>
                <a:lnTo>
                  <a:pt x="532" y="420"/>
                </a:lnTo>
                <a:lnTo>
                  <a:pt x="550" y="424"/>
                </a:lnTo>
                <a:lnTo>
                  <a:pt x="568" y="428"/>
                </a:lnTo>
                <a:lnTo>
                  <a:pt x="584" y="433"/>
                </a:lnTo>
                <a:lnTo>
                  <a:pt x="600" y="439"/>
                </a:lnTo>
                <a:lnTo>
                  <a:pt x="607" y="442"/>
                </a:lnTo>
                <a:lnTo>
                  <a:pt x="614" y="446"/>
                </a:lnTo>
                <a:lnTo>
                  <a:pt x="627" y="453"/>
                </a:lnTo>
                <a:lnTo>
                  <a:pt x="634" y="458"/>
                </a:lnTo>
                <a:lnTo>
                  <a:pt x="639" y="463"/>
                </a:lnTo>
                <a:lnTo>
                  <a:pt x="645" y="468"/>
                </a:lnTo>
                <a:lnTo>
                  <a:pt x="649" y="473"/>
                </a:lnTo>
                <a:lnTo>
                  <a:pt x="654" y="479"/>
                </a:lnTo>
                <a:lnTo>
                  <a:pt x="658" y="484"/>
                </a:lnTo>
                <a:lnTo>
                  <a:pt x="662" y="491"/>
                </a:lnTo>
                <a:lnTo>
                  <a:pt x="665" y="497"/>
                </a:lnTo>
                <a:lnTo>
                  <a:pt x="668" y="504"/>
                </a:lnTo>
                <a:lnTo>
                  <a:pt x="670" y="512"/>
                </a:lnTo>
                <a:lnTo>
                  <a:pt x="672" y="519"/>
                </a:lnTo>
                <a:lnTo>
                  <a:pt x="673" y="528"/>
                </a:lnTo>
                <a:lnTo>
                  <a:pt x="674" y="536"/>
                </a:lnTo>
                <a:lnTo>
                  <a:pt x="674" y="545"/>
                </a:lnTo>
                <a:lnTo>
                  <a:pt x="674" y="553"/>
                </a:lnTo>
                <a:lnTo>
                  <a:pt x="673" y="560"/>
                </a:lnTo>
                <a:lnTo>
                  <a:pt x="672" y="567"/>
                </a:lnTo>
                <a:lnTo>
                  <a:pt x="670" y="574"/>
                </a:lnTo>
                <a:lnTo>
                  <a:pt x="668" y="581"/>
                </a:lnTo>
                <a:lnTo>
                  <a:pt x="666" y="588"/>
                </a:lnTo>
                <a:lnTo>
                  <a:pt x="663" y="594"/>
                </a:lnTo>
                <a:lnTo>
                  <a:pt x="659" y="601"/>
                </a:lnTo>
                <a:lnTo>
                  <a:pt x="655" y="607"/>
                </a:lnTo>
                <a:lnTo>
                  <a:pt x="651" y="613"/>
                </a:lnTo>
                <a:lnTo>
                  <a:pt x="646" y="619"/>
                </a:lnTo>
                <a:lnTo>
                  <a:pt x="641" y="625"/>
                </a:lnTo>
                <a:lnTo>
                  <a:pt x="635" y="630"/>
                </a:lnTo>
                <a:lnTo>
                  <a:pt x="629" y="635"/>
                </a:lnTo>
                <a:lnTo>
                  <a:pt x="623" y="640"/>
                </a:lnTo>
                <a:lnTo>
                  <a:pt x="616" y="645"/>
                </a:lnTo>
                <a:lnTo>
                  <a:pt x="609" y="650"/>
                </a:lnTo>
                <a:lnTo>
                  <a:pt x="602" y="654"/>
                </a:lnTo>
                <a:lnTo>
                  <a:pt x="586" y="662"/>
                </a:lnTo>
                <a:lnTo>
                  <a:pt x="569" y="669"/>
                </a:lnTo>
                <a:lnTo>
                  <a:pt x="560" y="673"/>
                </a:lnTo>
                <a:lnTo>
                  <a:pt x="550" y="675"/>
                </a:lnTo>
                <a:lnTo>
                  <a:pt x="531" y="680"/>
                </a:lnTo>
                <a:lnTo>
                  <a:pt x="510" y="683"/>
                </a:lnTo>
                <a:lnTo>
                  <a:pt x="499" y="685"/>
                </a:lnTo>
                <a:lnTo>
                  <a:pt x="488" y="686"/>
                </a:lnTo>
                <a:lnTo>
                  <a:pt x="466" y="686"/>
                </a:lnTo>
                <a:close/>
                <a:moveTo>
                  <a:pt x="0" y="0"/>
                </a:moveTo>
                <a:lnTo>
                  <a:pt x="0" y="453"/>
                </a:lnTo>
                <a:lnTo>
                  <a:pt x="0" y="908"/>
                </a:lnTo>
                <a:lnTo>
                  <a:pt x="680" y="908"/>
                </a:lnTo>
                <a:lnTo>
                  <a:pt x="1361" y="908"/>
                </a:lnTo>
                <a:lnTo>
                  <a:pt x="2041" y="908"/>
                </a:lnTo>
                <a:lnTo>
                  <a:pt x="2723" y="908"/>
                </a:lnTo>
                <a:lnTo>
                  <a:pt x="3403" y="908"/>
                </a:lnTo>
                <a:lnTo>
                  <a:pt x="4084" y="908"/>
                </a:lnTo>
                <a:lnTo>
                  <a:pt x="4765" y="908"/>
                </a:lnTo>
                <a:lnTo>
                  <a:pt x="5446" y="908"/>
                </a:lnTo>
                <a:lnTo>
                  <a:pt x="5446" y="453"/>
                </a:lnTo>
                <a:lnTo>
                  <a:pt x="5446" y="0"/>
                </a:lnTo>
                <a:lnTo>
                  <a:pt x="4765" y="0"/>
                </a:lnTo>
                <a:lnTo>
                  <a:pt x="4084" y="0"/>
                </a:lnTo>
                <a:lnTo>
                  <a:pt x="3403" y="0"/>
                </a:lnTo>
                <a:lnTo>
                  <a:pt x="2723" y="0"/>
                </a:lnTo>
                <a:lnTo>
                  <a:pt x="2041" y="0"/>
                </a:lnTo>
                <a:lnTo>
                  <a:pt x="1361" y="0"/>
                </a:lnTo>
                <a:lnTo>
                  <a:pt x="680" y="0"/>
                </a:lnTo>
                <a:lnTo>
                  <a:pt x="0" y="0"/>
                </a:lnTo>
                <a:close/>
                <a:moveTo>
                  <a:pt x="1367" y="297"/>
                </a:moveTo>
                <a:lnTo>
                  <a:pt x="1358" y="297"/>
                </a:lnTo>
                <a:lnTo>
                  <a:pt x="1349" y="298"/>
                </a:lnTo>
                <a:lnTo>
                  <a:pt x="1341" y="299"/>
                </a:lnTo>
                <a:lnTo>
                  <a:pt x="1333" y="300"/>
                </a:lnTo>
                <a:lnTo>
                  <a:pt x="1325" y="302"/>
                </a:lnTo>
                <a:lnTo>
                  <a:pt x="1318" y="305"/>
                </a:lnTo>
                <a:lnTo>
                  <a:pt x="1311" y="307"/>
                </a:lnTo>
                <a:lnTo>
                  <a:pt x="1304" y="311"/>
                </a:lnTo>
                <a:lnTo>
                  <a:pt x="1291" y="318"/>
                </a:lnTo>
                <a:lnTo>
                  <a:pt x="1279" y="327"/>
                </a:lnTo>
                <a:lnTo>
                  <a:pt x="1274" y="331"/>
                </a:lnTo>
                <a:lnTo>
                  <a:pt x="1269" y="336"/>
                </a:lnTo>
                <a:lnTo>
                  <a:pt x="1259" y="347"/>
                </a:lnTo>
                <a:lnTo>
                  <a:pt x="1255" y="353"/>
                </a:lnTo>
                <a:lnTo>
                  <a:pt x="1251" y="359"/>
                </a:lnTo>
                <a:lnTo>
                  <a:pt x="1244" y="371"/>
                </a:lnTo>
                <a:lnTo>
                  <a:pt x="1241" y="377"/>
                </a:lnTo>
                <a:lnTo>
                  <a:pt x="1238" y="384"/>
                </a:lnTo>
                <a:lnTo>
                  <a:pt x="1233" y="397"/>
                </a:lnTo>
                <a:lnTo>
                  <a:pt x="1229" y="411"/>
                </a:lnTo>
                <a:lnTo>
                  <a:pt x="1226" y="425"/>
                </a:lnTo>
                <a:lnTo>
                  <a:pt x="1225" y="439"/>
                </a:lnTo>
                <a:lnTo>
                  <a:pt x="1224" y="454"/>
                </a:lnTo>
                <a:lnTo>
                  <a:pt x="1225" y="469"/>
                </a:lnTo>
                <a:lnTo>
                  <a:pt x="1225" y="476"/>
                </a:lnTo>
                <a:lnTo>
                  <a:pt x="1226" y="483"/>
                </a:lnTo>
                <a:lnTo>
                  <a:pt x="1229" y="497"/>
                </a:lnTo>
                <a:lnTo>
                  <a:pt x="1231" y="504"/>
                </a:lnTo>
                <a:lnTo>
                  <a:pt x="1233" y="510"/>
                </a:lnTo>
                <a:lnTo>
                  <a:pt x="1235" y="517"/>
                </a:lnTo>
                <a:lnTo>
                  <a:pt x="1238" y="524"/>
                </a:lnTo>
                <a:lnTo>
                  <a:pt x="1241" y="530"/>
                </a:lnTo>
                <a:lnTo>
                  <a:pt x="1244" y="537"/>
                </a:lnTo>
                <a:lnTo>
                  <a:pt x="1247" y="543"/>
                </a:lnTo>
                <a:lnTo>
                  <a:pt x="1251" y="549"/>
                </a:lnTo>
                <a:lnTo>
                  <a:pt x="1255" y="555"/>
                </a:lnTo>
                <a:lnTo>
                  <a:pt x="1259" y="561"/>
                </a:lnTo>
                <a:lnTo>
                  <a:pt x="1264" y="566"/>
                </a:lnTo>
                <a:lnTo>
                  <a:pt x="1269" y="571"/>
                </a:lnTo>
                <a:lnTo>
                  <a:pt x="1274" y="576"/>
                </a:lnTo>
                <a:lnTo>
                  <a:pt x="1279" y="581"/>
                </a:lnTo>
                <a:lnTo>
                  <a:pt x="1285" y="585"/>
                </a:lnTo>
                <a:lnTo>
                  <a:pt x="1291" y="589"/>
                </a:lnTo>
                <a:lnTo>
                  <a:pt x="1297" y="593"/>
                </a:lnTo>
                <a:lnTo>
                  <a:pt x="1304" y="597"/>
                </a:lnTo>
                <a:lnTo>
                  <a:pt x="1311" y="600"/>
                </a:lnTo>
                <a:lnTo>
                  <a:pt x="1318" y="603"/>
                </a:lnTo>
                <a:lnTo>
                  <a:pt x="1325" y="605"/>
                </a:lnTo>
                <a:lnTo>
                  <a:pt x="1333" y="607"/>
                </a:lnTo>
                <a:lnTo>
                  <a:pt x="1341" y="608"/>
                </a:lnTo>
                <a:lnTo>
                  <a:pt x="1349" y="610"/>
                </a:lnTo>
                <a:lnTo>
                  <a:pt x="1358" y="610"/>
                </a:lnTo>
                <a:lnTo>
                  <a:pt x="1367" y="611"/>
                </a:lnTo>
                <a:lnTo>
                  <a:pt x="1379" y="610"/>
                </a:lnTo>
                <a:lnTo>
                  <a:pt x="1392" y="608"/>
                </a:lnTo>
                <a:lnTo>
                  <a:pt x="1405" y="605"/>
                </a:lnTo>
                <a:lnTo>
                  <a:pt x="1417" y="601"/>
                </a:lnTo>
                <a:lnTo>
                  <a:pt x="1423" y="599"/>
                </a:lnTo>
                <a:lnTo>
                  <a:pt x="1428" y="596"/>
                </a:lnTo>
                <a:lnTo>
                  <a:pt x="1440" y="589"/>
                </a:lnTo>
                <a:lnTo>
                  <a:pt x="1445" y="586"/>
                </a:lnTo>
                <a:lnTo>
                  <a:pt x="1450" y="582"/>
                </a:lnTo>
                <a:lnTo>
                  <a:pt x="1455" y="577"/>
                </a:lnTo>
                <a:lnTo>
                  <a:pt x="1460" y="573"/>
                </a:lnTo>
                <a:lnTo>
                  <a:pt x="1465" y="568"/>
                </a:lnTo>
                <a:lnTo>
                  <a:pt x="1469" y="562"/>
                </a:lnTo>
                <a:lnTo>
                  <a:pt x="1473" y="557"/>
                </a:lnTo>
                <a:lnTo>
                  <a:pt x="1477" y="551"/>
                </a:lnTo>
                <a:lnTo>
                  <a:pt x="1485" y="538"/>
                </a:lnTo>
                <a:lnTo>
                  <a:pt x="1488" y="531"/>
                </a:lnTo>
                <a:lnTo>
                  <a:pt x="1491" y="524"/>
                </a:lnTo>
                <a:lnTo>
                  <a:pt x="1495" y="509"/>
                </a:lnTo>
                <a:lnTo>
                  <a:pt x="1497" y="500"/>
                </a:lnTo>
                <a:lnTo>
                  <a:pt x="1499" y="492"/>
                </a:lnTo>
                <a:lnTo>
                  <a:pt x="1500" y="483"/>
                </a:lnTo>
                <a:lnTo>
                  <a:pt x="1501" y="474"/>
                </a:lnTo>
                <a:lnTo>
                  <a:pt x="1502" y="464"/>
                </a:lnTo>
                <a:lnTo>
                  <a:pt x="1502" y="454"/>
                </a:lnTo>
                <a:lnTo>
                  <a:pt x="1502" y="444"/>
                </a:lnTo>
                <a:lnTo>
                  <a:pt x="1501" y="434"/>
                </a:lnTo>
                <a:lnTo>
                  <a:pt x="1500" y="425"/>
                </a:lnTo>
                <a:lnTo>
                  <a:pt x="1499" y="416"/>
                </a:lnTo>
                <a:lnTo>
                  <a:pt x="1495" y="399"/>
                </a:lnTo>
                <a:lnTo>
                  <a:pt x="1493" y="391"/>
                </a:lnTo>
                <a:lnTo>
                  <a:pt x="1491" y="384"/>
                </a:lnTo>
                <a:lnTo>
                  <a:pt x="1488" y="376"/>
                </a:lnTo>
                <a:lnTo>
                  <a:pt x="1485" y="369"/>
                </a:lnTo>
                <a:lnTo>
                  <a:pt x="1481" y="363"/>
                </a:lnTo>
                <a:lnTo>
                  <a:pt x="1477" y="356"/>
                </a:lnTo>
                <a:lnTo>
                  <a:pt x="1473" y="351"/>
                </a:lnTo>
                <a:lnTo>
                  <a:pt x="1469" y="345"/>
                </a:lnTo>
                <a:lnTo>
                  <a:pt x="1460" y="335"/>
                </a:lnTo>
                <a:lnTo>
                  <a:pt x="1450" y="326"/>
                </a:lnTo>
                <a:lnTo>
                  <a:pt x="1440" y="318"/>
                </a:lnTo>
                <a:lnTo>
                  <a:pt x="1434" y="314"/>
                </a:lnTo>
                <a:lnTo>
                  <a:pt x="1428" y="311"/>
                </a:lnTo>
                <a:lnTo>
                  <a:pt x="1423" y="308"/>
                </a:lnTo>
                <a:lnTo>
                  <a:pt x="1417" y="306"/>
                </a:lnTo>
                <a:lnTo>
                  <a:pt x="1411" y="304"/>
                </a:lnTo>
                <a:lnTo>
                  <a:pt x="1405" y="302"/>
                </a:lnTo>
                <a:lnTo>
                  <a:pt x="1398" y="300"/>
                </a:lnTo>
                <a:lnTo>
                  <a:pt x="1392" y="299"/>
                </a:lnTo>
                <a:lnTo>
                  <a:pt x="1379" y="297"/>
                </a:lnTo>
                <a:lnTo>
                  <a:pt x="1373" y="297"/>
                </a:lnTo>
                <a:lnTo>
                  <a:pt x="1367" y="297"/>
                </a:lnTo>
                <a:close/>
                <a:moveTo>
                  <a:pt x="3177" y="301"/>
                </a:moveTo>
                <a:lnTo>
                  <a:pt x="3162" y="302"/>
                </a:lnTo>
                <a:lnTo>
                  <a:pt x="3148" y="304"/>
                </a:lnTo>
                <a:lnTo>
                  <a:pt x="3141" y="305"/>
                </a:lnTo>
                <a:lnTo>
                  <a:pt x="3135" y="307"/>
                </a:lnTo>
                <a:lnTo>
                  <a:pt x="3128" y="310"/>
                </a:lnTo>
                <a:lnTo>
                  <a:pt x="3121" y="312"/>
                </a:lnTo>
                <a:lnTo>
                  <a:pt x="3115" y="315"/>
                </a:lnTo>
                <a:lnTo>
                  <a:pt x="3109" y="318"/>
                </a:lnTo>
                <a:lnTo>
                  <a:pt x="3103" y="321"/>
                </a:lnTo>
                <a:lnTo>
                  <a:pt x="3097" y="325"/>
                </a:lnTo>
                <a:lnTo>
                  <a:pt x="3092" y="329"/>
                </a:lnTo>
                <a:lnTo>
                  <a:pt x="3086" y="334"/>
                </a:lnTo>
                <a:lnTo>
                  <a:pt x="3081" y="338"/>
                </a:lnTo>
                <a:lnTo>
                  <a:pt x="3076" y="343"/>
                </a:lnTo>
                <a:lnTo>
                  <a:pt x="3071" y="348"/>
                </a:lnTo>
                <a:lnTo>
                  <a:pt x="3067" y="353"/>
                </a:lnTo>
                <a:lnTo>
                  <a:pt x="3063" y="359"/>
                </a:lnTo>
                <a:lnTo>
                  <a:pt x="3059" y="365"/>
                </a:lnTo>
                <a:lnTo>
                  <a:pt x="3052" y="377"/>
                </a:lnTo>
                <a:lnTo>
                  <a:pt x="3048" y="384"/>
                </a:lnTo>
                <a:lnTo>
                  <a:pt x="3046" y="391"/>
                </a:lnTo>
                <a:lnTo>
                  <a:pt x="3043" y="398"/>
                </a:lnTo>
                <a:lnTo>
                  <a:pt x="3041" y="405"/>
                </a:lnTo>
                <a:lnTo>
                  <a:pt x="3039" y="413"/>
                </a:lnTo>
                <a:lnTo>
                  <a:pt x="3037" y="420"/>
                </a:lnTo>
                <a:lnTo>
                  <a:pt x="3035" y="436"/>
                </a:lnTo>
                <a:lnTo>
                  <a:pt x="3034" y="453"/>
                </a:lnTo>
                <a:lnTo>
                  <a:pt x="3034" y="462"/>
                </a:lnTo>
                <a:lnTo>
                  <a:pt x="3035" y="470"/>
                </a:lnTo>
                <a:lnTo>
                  <a:pt x="3036" y="478"/>
                </a:lnTo>
                <a:lnTo>
                  <a:pt x="3037" y="486"/>
                </a:lnTo>
                <a:lnTo>
                  <a:pt x="3041" y="501"/>
                </a:lnTo>
                <a:lnTo>
                  <a:pt x="3046" y="515"/>
                </a:lnTo>
                <a:lnTo>
                  <a:pt x="3052" y="529"/>
                </a:lnTo>
                <a:lnTo>
                  <a:pt x="3055" y="535"/>
                </a:lnTo>
                <a:lnTo>
                  <a:pt x="3059" y="541"/>
                </a:lnTo>
                <a:lnTo>
                  <a:pt x="3063" y="547"/>
                </a:lnTo>
                <a:lnTo>
                  <a:pt x="3067" y="553"/>
                </a:lnTo>
                <a:lnTo>
                  <a:pt x="3071" y="558"/>
                </a:lnTo>
                <a:lnTo>
                  <a:pt x="3076" y="563"/>
                </a:lnTo>
                <a:lnTo>
                  <a:pt x="3081" y="568"/>
                </a:lnTo>
                <a:lnTo>
                  <a:pt x="3086" y="573"/>
                </a:lnTo>
                <a:lnTo>
                  <a:pt x="3092" y="577"/>
                </a:lnTo>
                <a:lnTo>
                  <a:pt x="3097" y="581"/>
                </a:lnTo>
                <a:lnTo>
                  <a:pt x="3109" y="588"/>
                </a:lnTo>
                <a:lnTo>
                  <a:pt x="3115" y="591"/>
                </a:lnTo>
                <a:lnTo>
                  <a:pt x="3121" y="594"/>
                </a:lnTo>
                <a:lnTo>
                  <a:pt x="3135" y="599"/>
                </a:lnTo>
                <a:lnTo>
                  <a:pt x="3148" y="602"/>
                </a:lnTo>
                <a:lnTo>
                  <a:pt x="3155" y="604"/>
                </a:lnTo>
                <a:lnTo>
                  <a:pt x="3162" y="604"/>
                </a:lnTo>
                <a:lnTo>
                  <a:pt x="3177" y="605"/>
                </a:lnTo>
                <a:lnTo>
                  <a:pt x="3192" y="604"/>
                </a:lnTo>
                <a:lnTo>
                  <a:pt x="3206" y="602"/>
                </a:lnTo>
                <a:lnTo>
                  <a:pt x="3213" y="601"/>
                </a:lnTo>
                <a:lnTo>
                  <a:pt x="3219" y="599"/>
                </a:lnTo>
                <a:lnTo>
                  <a:pt x="3226" y="597"/>
                </a:lnTo>
                <a:lnTo>
                  <a:pt x="3232" y="594"/>
                </a:lnTo>
                <a:lnTo>
                  <a:pt x="3239" y="591"/>
                </a:lnTo>
                <a:lnTo>
                  <a:pt x="3245" y="588"/>
                </a:lnTo>
                <a:lnTo>
                  <a:pt x="3251" y="585"/>
                </a:lnTo>
                <a:lnTo>
                  <a:pt x="3257" y="581"/>
                </a:lnTo>
                <a:lnTo>
                  <a:pt x="3262" y="577"/>
                </a:lnTo>
                <a:lnTo>
                  <a:pt x="3268" y="573"/>
                </a:lnTo>
                <a:lnTo>
                  <a:pt x="3273" y="568"/>
                </a:lnTo>
                <a:lnTo>
                  <a:pt x="3278" y="563"/>
                </a:lnTo>
                <a:lnTo>
                  <a:pt x="3282" y="558"/>
                </a:lnTo>
                <a:lnTo>
                  <a:pt x="3287" y="553"/>
                </a:lnTo>
                <a:lnTo>
                  <a:pt x="3291" y="547"/>
                </a:lnTo>
                <a:lnTo>
                  <a:pt x="3295" y="541"/>
                </a:lnTo>
                <a:lnTo>
                  <a:pt x="3302" y="529"/>
                </a:lnTo>
                <a:lnTo>
                  <a:pt x="3305" y="522"/>
                </a:lnTo>
                <a:lnTo>
                  <a:pt x="3308" y="515"/>
                </a:lnTo>
                <a:lnTo>
                  <a:pt x="3311" y="508"/>
                </a:lnTo>
                <a:lnTo>
                  <a:pt x="3313" y="501"/>
                </a:lnTo>
                <a:lnTo>
                  <a:pt x="3315" y="494"/>
                </a:lnTo>
                <a:lnTo>
                  <a:pt x="3317" y="486"/>
                </a:lnTo>
                <a:lnTo>
                  <a:pt x="3319" y="470"/>
                </a:lnTo>
                <a:lnTo>
                  <a:pt x="3320" y="453"/>
                </a:lnTo>
                <a:lnTo>
                  <a:pt x="3319" y="444"/>
                </a:lnTo>
                <a:lnTo>
                  <a:pt x="3319" y="436"/>
                </a:lnTo>
                <a:lnTo>
                  <a:pt x="3318" y="428"/>
                </a:lnTo>
                <a:lnTo>
                  <a:pt x="3317" y="420"/>
                </a:lnTo>
                <a:lnTo>
                  <a:pt x="3313" y="405"/>
                </a:lnTo>
                <a:lnTo>
                  <a:pt x="3308" y="391"/>
                </a:lnTo>
                <a:lnTo>
                  <a:pt x="3302" y="377"/>
                </a:lnTo>
                <a:lnTo>
                  <a:pt x="3299" y="371"/>
                </a:lnTo>
                <a:lnTo>
                  <a:pt x="3295" y="365"/>
                </a:lnTo>
                <a:lnTo>
                  <a:pt x="3291" y="359"/>
                </a:lnTo>
                <a:lnTo>
                  <a:pt x="3287" y="353"/>
                </a:lnTo>
                <a:lnTo>
                  <a:pt x="3282" y="348"/>
                </a:lnTo>
                <a:lnTo>
                  <a:pt x="3278" y="343"/>
                </a:lnTo>
                <a:lnTo>
                  <a:pt x="3273" y="338"/>
                </a:lnTo>
                <a:lnTo>
                  <a:pt x="3268" y="334"/>
                </a:lnTo>
                <a:lnTo>
                  <a:pt x="3262" y="329"/>
                </a:lnTo>
                <a:lnTo>
                  <a:pt x="3257" y="325"/>
                </a:lnTo>
                <a:lnTo>
                  <a:pt x="3245" y="318"/>
                </a:lnTo>
                <a:lnTo>
                  <a:pt x="3239" y="315"/>
                </a:lnTo>
                <a:lnTo>
                  <a:pt x="3232" y="312"/>
                </a:lnTo>
                <a:lnTo>
                  <a:pt x="3219" y="307"/>
                </a:lnTo>
                <a:lnTo>
                  <a:pt x="3206" y="304"/>
                </a:lnTo>
                <a:lnTo>
                  <a:pt x="3199" y="303"/>
                </a:lnTo>
                <a:lnTo>
                  <a:pt x="3192" y="302"/>
                </a:lnTo>
                <a:lnTo>
                  <a:pt x="3177" y="301"/>
                </a:lnTo>
                <a:close/>
                <a:moveTo>
                  <a:pt x="4997" y="297"/>
                </a:moveTo>
                <a:lnTo>
                  <a:pt x="4988" y="297"/>
                </a:lnTo>
                <a:lnTo>
                  <a:pt x="4979" y="298"/>
                </a:lnTo>
                <a:lnTo>
                  <a:pt x="4971" y="299"/>
                </a:lnTo>
                <a:lnTo>
                  <a:pt x="4963" y="300"/>
                </a:lnTo>
                <a:lnTo>
                  <a:pt x="4955" y="302"/>
                </a:lnTo>
                <a:lnTo>
                  <a:pt x="4948" y="305"/>
                </a:lnTo>
                <a:lnTo>
                  <a:pt x="4941" y="307"/>
                </a:lnTo>
                <a:lnTo>
                  <a:pt x="4934" y="311"/>
                </a:lnTo>
                <a:lnTo>
                  <a:pt x="4921" y="318"/>
                </a:lnTo>
                <a:lnTo>
                  <a:pt x="4910" y="327"/>
                </a:lnTo>
                <a:lnTo>
                  <a:pt x="4904" y="331"/>
                </a:lnTo>
                <a:lnTo>
                  <a:pt x="4899" y="336"/>
                </a:lnTo>
                <a:lnTo>
                  <a:pt x="4890" y="347"/>
                </a:lnTo>
                <a:lnTo>
                  <a:pt x="4885" y="353"/>
                </a:lnTo>
                <a:lnTo>
                  <a:pt x="4881" y="359"/>
                </a:lnTo>
                <a:lnTo>
                  <a:pt x="4874" y="371"/>
                </a:lnTo>
                <a:lnTo>
                  <a:pt x="4871" y="377"/>
                </a:lnTo>
                <a:lnTo>
                  <a:pt x="4868" y="384"/>
                </a:lnTo>
                <a:lnTo>
                  <a:pt x="4863" y="397"/>
                </a:lnTo>
                <a:lnTo>
                  <a:pt x="4859" y="411"/>
                </a:lnTo>
                <a:lnTo>
                  <a:pt x="4856" y="425"/>
                </a:lnTo>
                <a:lnTo>
                  <a:pt x="4855" y="439"/>
                </a:lnTo>
                <a:lnTo>
                  <a:pt x="4854" y="454"/>
                </a:lnTo>
                <a:lnTo>
                  <a:pt x="4855" y="469"/>
                </a:lnTo>
                <a:lnTo>
                  <a:pt x="4856" y="476"/>
                </a:lnTo>
                <a:lnTo>
                  <a:pt x="4856" y="483"/>
                </a:lnTo>
                <a:lnTo>
                  <a:pt x="4859" y="497"/>
                </a:lnTo>
                <a:lnTo>
                  <a:pt x="4861" y="504"/>
                </a:lnTo>
                <a:lnTo>
                  <a:pt x="4863" y="510"/>
                </a:lnTo>
                <a:lnTo>
                  <a:pt x="4865" y="517"/>
                </a:lnTo>
                <a:lnTo>
                  <a:pt x="4868" y="524"/>
                </a:lnTo>
                <a:lnTo>
                  <a:pt x="4871" y="530"/>
                </a:lnTo>
                <a:lnTo>
                  <a:pt x="4874" y="537"/>
                </a:lnTo>
                <a:lnTo>
                  <a:pt x="4878" y="543"/>
                </a:lnTo>
                <a:lnTo>
                  <a:pt x="4881" y="549"/>
                </a:lnTo>
                <a:lnTo>
                  <a:pt x="4885" y="555"/>
                </a:lnTo>
                <a:lnTo>
                  <a:pt x="4890" y="561"/>
                </a:lnTo>
                <a:lnTo>
                  <a:pt x="4894" y="566"/>
                </a:lnTo>
                <a:lnTo>
                  <a:pt x="4899" y="571"/>
                </a:lnTo>
                <a:lnTo>
                  <a:pt x="4904" y="576"/>
                </a:lnTo>
                <a:lnTo>
                  <a:pt x="4910" y="581"/>
                </a:lnTo>
                <a:lnTo>
                  <a:pt x="4915" y="585"/>
                </a:lnTo>
                <a:lnTo>
                  <a:pt x="4921" y="589"/>
                </a:lnTo>
                <a:lnTo>
                  <a:pt x="4927" y="593"/>
                </a:lnTo>
                <a:lnTo>
                  <a:pt x="4934" y="597"/>
                </a:lnTo>
                <a:lnTo>
                  <a:pt x="4941" y="600"/>
                </a:lnTo>
                <a:lnTo>
                  <a:pt x="4948" y="603"/>
                </a:lnTo>
                <a:lnTo>
                  <a:pt x="4955" y="605"/>
                </a:lnTo>
                <a:lnTo>
                  <a:pt x="4963" y="607"/>
                </a:lnTo>
                <a:lnTo>
                  <a:pt x="4971" y="608"/>
                </a:lnTo>
                <a:lnTo>
                  <a:pt x="4979" y="610"/>
                </a:lnTo>
                <a:lnTo>
                  <a:pt x="4988" y="610"/>
                </a:lnTo>
                <a:lnTo>
                  <a:pt x="4997" y="611"/>
                </a:lnTo>
                <a:lnTo>
                  <a:pt x="5010" y="610"/>
                </a:lnTo>
                <a:lnTo>
                  <a:pt x="5022" y="608"/>
                </a:lnTo>
                <a:lnTo>
                  <a:pt x="5035" y="605"/>
                </a:lnTo>
                <a:lnTo>
                  <a:pt x="5047" y="601"/>
                </a:lnTo>
                <a:lnTo>
                  <a:pt x="5053" y="599"/>
                </a:lnTo>
                <a:lnTo>
                  <a:pt x="5059" y="596"/>
                </a:lnTo>
                <a:lnTo>
                  <a:pt x="5070" y="589"/>
                </a:lnTo>
                <a:lnTo>
                  <a:pt x="5075" y="586"/>
                </a:lnTo>
                <a:lnTo>
                  <a:pt x="5081" y="582"/>
                </a:lnTo>
                <a:lnTo>
                  <a:pt x="5086" y="577"/>
                </a:lnTo>
                <a:lnTo>
                  <a:pt x="5090" y="573"/>
                </a:lnTo>
                <a:lnTo>
                  <a:pt x="5095" y="568"/>
                </a:lnTo>
                <a:lnTo>
                  <a:pt x="5100" y="562"/>
                </a:lnTo>
                <a:lnTo>
                  <a:pt x="5104" y="557"/>
                </a:lnTo>
                <a:lnTo>
                  <a:pt x="5108" y="551"/>
                </a:lnTo>
                <a:lnTo>
                  <a:pt x="5115" y="538"/>
                </a:lnTo>
                <a:lnTo>
                  <a:pt x="5118" y="531"/>
                </a:lnTo>
                <a:lnTo>
                  <a:pt x="5121" y="524"/>
                </a:lnTo>
                <a:lnTo>
                  <a:pt x="5126" y="509"/>
                </a:lnTo>
                <a:lnTo>
                  <a:pt x="5128" y="500"/>
                </a:lnTo>
                <a:lnTo>
                  <a:pt x="5129" y="492"/>
                </a:lnTo>
                <a:lnTo>
                  <a:pt x="5131" y="483"/>
                </a:lnTo>
                <a:lnTo>
                  <a:pt x="5132" y="474"/>
                </a:lnTo>
                <a:lnTo>
                  <a:pt x="5132" y="464"/>
                </a:lnTo>
                <a:lnTo>
                  <a:pt x="5132" y="454"/>
                </a:lnTo>
                <a:lnTo>
                  <a:pt x="5132" y="444"/>
                </a:lnTo>
                <a:lnTo>
                  <a:pt x="5132" y="434"/>
                </a:lnTo>
                <a:lnTo>
                  <a:pt x="5131" y="425"/>
                </a:lnTo>
                <a:lnTo>
                  <a:pt x="5129" y="416"/>
                </a:lnTo>
                <a:lnTo>
                  <a:pt x="5126" y="399"/>
                </a:lnTo>
                <a:lnTo>
                  <a:pt x="5124" y="391"/>
                </a:lnTo>
                <a:lnTo>
                  <a:pt x="5121" y="384"/>
                </a:lnTo>
                <a:lnTo>
                  <a:pt x="5118" y="376"/>
                </a:lnTo>
                <a:lnTo>
                  <a:pt x="5115" y="369"/>
                </a:lnTo>
                <a:lnTo>
                  <a:pt x="5111" y="363"/>
                </a:lnTo>
                <a:lnTo>
                  <a:pt x="5108" y="356"/>
                </a:lnTo>
                <a:lnTo>
                  <a:pt x="5104" y="351"/>
                </a:lnTo>
                <a:lnTo>
                  <a:pt x="5100" y="345"/>
                </a:lnTo>
                <a:lnTo>
                  <a:pt x="5090" y="335"/>
                </a:lnTo>
                <a:lnTo>
                  <a:pt x="5081" y="326"/>
                </a:lnTo>
                <a:lnTo>
                  <a:pt x="5070" y="318"/>
                </a:lnTo>
                <a:lnTo>
                  <a:pt x="5064" y="314"/>
                </a:lnTo>
                <a:lnTo>
                  <a:pt x="5059" y="311"/>
                </a:lnTo>
                <a:lnTo>
                  <a:pt x="5053" y="308"/>
                </a:lnTo>
                <a:lnTo>
                  <a:pt x="5047" y="306"/>
                </a:lnTo>
                <a:lnTo>
                  <a:pt x="5041" y="304"/>
                </a:lnTo>
                <a:lnTo>
                  <a:pt x="5035" y="302"/>
                </a:lnTo>
                <a:lnTo>
                  <a:pt x="5029" y="300"/>
                </a:lnTo>
                <a:lnTo>
                  <a:pt x="5022" y="299"/>
                </a:lnTo>
                <a:lnTo>
                  <a:pt x="5010" y="297"/>
                </a:lnTo>
                <a:lnTo>
                  <a:pt x="5003" y="297"/>
                </a:lnTo>
                <a:lnTo>
                  <a:pt x="4997" y="297"/>
                </a:lnTo>
                <a:close/>
              </a:path>
            </a:pathLst>
          </a:custGeom>
          <a:solidFill>
            <a:srgbClr val="1C66F9"/>
          </a:solidFill>
          <a:ln>
            <a:noFill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defTabSz="686374"/>
            <a:endParaRPr lang="fi-FI" sz="1400">
              <a:solidFill>
                <a:srgbClr val="1C66F9"/>
              </a:solidFill>
            </a:endParaRPr>
          </a:p>
        </p:txBody>
      </p:sp>
      <p:sp>
        <p:nvSpPr>
          <p:cNvPr id="5" name="Titel 2"/>
          <p:cNvSpPr txBox="1">
            <a:spLocks/>
          </p:cNvSpPr>
          <p:nvPr/>
        </p:nvSpPr>
        <p:spPr>
          <a:xfrm>
            <a:off x="326922" y="1767988"/>
            <a:ext cx="8490160" cy="72149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27028" tIns="27028" rIns="27028" bIns="27028" rtlCol="0" anchor="b" anchorCtr="0">
            <a:noAutofit/>
          </a:bodyPr>
          <a:lstStyle>
            <a:lvl1pPr algn="ctr" defTabSz="68717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7700" b="1" kern="1200" spc="-3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4000" dirty="0">
                <a:solidFill>
                  <a:srgbClr val="F77D82"/>
                </a:solidFill>
              </a:rPr>
              <a:t>HUH? JIJ? HOE DAN?</a:t>
            </a:r>
          </a:p>
        </p:txBody>
      </p:sp>
    </p:spTree>
    <p:extLst>
      <p:ext uri="{BB962C8B-B14F-4D97-AF65-F5344CB8AC3E}">
        <p14:creationId xmlns:p14="http://schemas.microsoft.com/office/powerpoint/2010/main" val="20363656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he_DOT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Rechthoek 2"/>
          <p:cNvSpPr/>
          <p:nvPr/>
        </p:nvSpPr>
        <p:spPr>
          <a:xfrm>
            <a:off x="278868" y="311964"/>
            <a:ext cx="8611132" cy="389343"/>
          </a:xfrm>
          <a:prstGeom prst="rect">
            <a:avLst/>
          </a:prstGeom>
        </p:spPr>
        <p:txBody>
          <a:bodyPr wrap="square" lIns="68690" tIns="34346" rIns="68690" bIns="34346">
            <a:spAutoFit/>
          </a:bodyPr>
          <a:lstStyle/>
          <a:p>
            <a:pPr defTabSz="686640"/>
            <a:r>
              <a:rPr lang="nl-NL" sz="2100" b="1" dirty="0">
                <a:solidFill>
                  <a:srgbClr val="4D4D4D"/>
                </a:solidFill>
              </a:rPr>
              <a:t>The Dot</a:t>
            </a:r>
          </a:p>
        </p:txBody>
      </p:sp>
    </p:spTree>
    <p:extLst>
      <p:ext uri="{BB962C8B-B14F-4D97-AF65-F5344CB8AC3E}">
        <p14:creationId xmlns:p14="http://schemas.microsoft.com/office/powerpoint/2010/main" val="34343062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32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61" y="3425"/>
            <a:ext cx="9229038" cy="4381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vaal 4"/>
          <p:cNvSpPr/>
          <p:nvPr/>
        </p:nvSpPr>
        <p:spPr>
          <a:xfrm>
            <a:off x="2041839" y="-232306"/>
            <a:ext cx="5033670" cy="4955994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99" tIns="34350" rIns="68699" bIns="343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nl-NL" sz="1400">
              <a:solidFill>
                <a:prstClr val="white"/>
              </a:solidFill>
            </a:endParaRPr>
          </a:p>
        </p:txBody>
      </p:sp>
      <p:sp>
        <p:nvSpPr>
          <p:cNvPr id="6" name="Rechthoek 5"/>
          <p:cNvSpPr/>
          <p:nvPr/>
        </p:nvSpPr>
        <p:spPr>
          <a:xfrm>
            <a:off x="2286190" y="4375941"/>
            <a:ext cx="4680473" cy="535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699" tIns="34350" rIns="68699" bIns="343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nl-NL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0588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C:\Users\meike\Desktop\Presentatie BlueLine2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kstvak 9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Trends</a:t>
            </a:r>
          </a:p>
        </p:txBody>
      </p:sp>
      <p:pic>
        <p:nvPicPr>
          <p:cNvPr id="13" name="Picture 2" descr="C:\Users\meike\Desktop\BlueLine\Presentatie BlueLine1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7000" y="1048965"/>
            <a:ext cx="2967880" cy="166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C:\Users\meike\Desktop\BlueLine\Presentatie BlueLine1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09" y="2715766"/>
            <a:ext cx="2962285" cy="1667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C:\Users\meike\Desktop\BlueLine\Presentatie BlueLine2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6999" y="2714977"/>
            <a:ext cx="2962285" cy="1668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284" y="2711472"/>
            <a:ext cx="2990168" cy="167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4880" y="1048966"/>
            <a:ext cx="2984572" cy="16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73" y="1048966"/>
            <a:ext cx="2959597" cy="16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542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469" y="971844"/>
            <a:ext cx="5539273" cy="3695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el 11"/>
          <p:cNvSpPr txBox="1">
            <a:spLocks/>
          </p:cNvSpPr>
          <p:nvPr/>
        </p:nvSpPr>
        <p:spPr>
          <a:xfrm>
            <a:off x="266446" y="268162"/>
            <a:ext cx="8490160" cy="793644"/>
          </a:xfrm>
          <a:prstGeom prst="rect">
            <a:avLst/>
          </a:prstGeom>
        </p:spPr>
        <p:txBody>
          <a:bodyPr lIns="91392" tIns="45696" rIns="91392" bIns="45696"/>
          <a:lstStyle>
            <a:lvl1pPr algn="l" defTabSz="687172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300" b="1" kern="1200" spc="-3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100" dirty="0">
                <a:solidFill>
                  <a:srgbClr val="4D4D4D"/>
                </a:solidFill>
              </a:rPr>
              <a:t>Een voorbeeld van lokaal adverteren op Smartphone</a:t>
            </a:r>
            <a:endParaRPr lang="nl-NL" sz="2100" b="0" dirty="0">
              <a:solidFill>
                <a:srgbClr val="A6A6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1077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necting_the_DOT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Rechthoek 2"/>
          <p:cNvSpPr/>
          <p:nvPr/>
        </p:nvSpPr>
        <p:spPr>
          <a:xfrm>
            <a:off x="278868" y="311964"/>
            <a:ext cx="8611132" cy="389343"/>
          </a:xfrm>
          <a:prstGeom prst="rect">
            <a:avLst/>
          </a:prstGeom>
        </p:spPr>
        <p:txBody>
          <a:bodyPr wrap="square" lIns="68690" tIns="34346" rIns="68690" bIns="34346">
            <a:spAutoFit/>
          </a:bodyPr>
          <a:lstStyle/>
          <a:p>
            <a:pPr defTabSz="686640"/>
            <a:r>
              <a:rPr lang="nl-NL" sz="2100" b="1" dirty="0" err="1">
                <a:solidFill>
                  <a:srgbClr val="4D4D4D"/>
                </a:solidFill>
              </a:rPr>
              <a:t>Connecting</a:t>
            </a:r>
            <a:r>
              <a:rPr lang="nl-NL" sz="2100" b="1" dirty="0">
                <a:solidFill>
                  <a:srgbClr val="4D4D4D"/>
                </a:solidFill>
              </a:rPr>
              <a:t> the </a:t>
            </a:r>
            <a:r>
              <a:rPr lang="nl-NL" sz="2100" b="1" dirty="0" err="1">
                <a:solidFill>
                  <a:srgbClr val="4D4D4D"/>
                </a:solidFill>
              </a:rPr>
              <a:t>dots</a:t>
            </a:r>
            <a:endParaRPr lang="nl-NL" sz="2100" b="1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1485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32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descr="iStock_000057660678_XXXLarge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42262"/>
            <a:ext cx="9165278" cy="6110185"/>
          </a:xfrm>
          <a:prstGeom prst="rect">
            <a:avLst/>
          </a:prstGeom>
        </p:spPr>
      </p:pic>
      <p:pic>
        <p:nvPicPr>
          <p:cNvPr id="61" name="Afbeelding 60" descr="blu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75" y="2263093"/>
            <a:ext cx="947133" cy="1260000"/>
          </a:xfrm>
          <a:prstGeom prst="rect">
            <a:avLst/>
          </a:prstGeom>
        </p:spPr>
      </p:pic>
      <p:pic>
        <p:nvPicPr>
          <p:cNvPr id="65" name="Afbeelding 64" descr="blu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0762" y="2273072"/>
            <a:ext cx="947133" cy="1260000"/>
          </a:xfrm>
          <a:prstGeom prst="rect">
            <a:avLst/>
          </a:prstGeom>
        </p:spPr>
      </p:pic>
      <p:pic>
        <p:nvPicPr>
          <p:cNvPr id="84" name="Afbeelding 83" descr="blu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854" y="2283051"/>
            <a:ext cx="947133" cy="1260000"/>
          </a:xfrm>
          <a:prstGeom prst="rect">
            <a:avLst/>
          </a:prstGeom>
        </p:spPr>
      </p:pic>
      <p:pic>
        <p:nvPicPr>
          <p:cNvPr id="85" name="Afbeelding 84" descr="blu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555" y="2269292"/>
            <a:ext cx="947133" cy="1260000"/>
          </a:xfrm>
          <a:prstGeom prst="rect">
            <a:avLst/>
          </a:prstGeom>
        </p:spPr>
      </p:pic>
      <p:pic>
        <p:nvPicPr>
          <p:cNvPr id="83" name="Afbeelding 82" descr="gree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8820" y="2266758"/>
            <a:ext cx="947133" cy="1260000"/>
          </a:xfrm>
          <a:prstGeom prst="rect">
            <a:avLst/>
          </a:prstGeom>
        </p:spPr>
      </p:pic>
      <p:pic>
        <p:nvPicPr>
          <p:cNvPr id="3" name="Afbeelding 2" descr="gree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55" y="915644"/>
            <a:ext cx="947133" cy="1260000"/>
          </a:xfrm>
          <a:prstGeom prst="rect">
            <a:avLst/>
          </a:prstGeom>
        </p:spPr>
      </p:pic>
      <p:pic>
        <p:nvPicPr>
          <p:cNvPr id="22" name="Afbeelding 21" descr="blu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850" y="913870"/>
            <a:ext cx="947133" cy="1260000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100" dirty="0" err="1"/>
              <a:t>Bereik</a:t>
            </a:r>
            <a:r>
              <a:rPr lang="en-GB" sz="2100" dirty="0"/>
              <a:t> op </a:t>
            </a:r>
            <a:r>
              <a:rPr lang="en-GB" sz="2100" dirty="0" err="1"/>
              <a:t>leesgedrag</a:t>
            </a:r>
            <a:endParaRPr lang="en-GB" sz="2100" dirty="0"/>
          </a:p>
        </p:txBody>
      </p:sp>
      <p:sp>
        <p:nvSpPr>
          <p:cNvPr id="5" name="Rechthoek 4"/>
          <p:cNvSpPr/>
          <p:nvPr/>
        </p:nvSpPr>
        <p:spPr>
          <a:xfrm>
            <a:off x="857781" y="1607501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nl-NL" sz="1400" b="1" dirty="0">
                <a:solidFill>
                  <a:prstClr val="white"/>
                </a:solidFill>
              </a:rPr>
              <a:t>240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18" name="Rechthoek 17"/>
          <p:cNvSpPr/>
          <p:nvPr/>
        </p:nvSpPr>
        <p:spPr>
          <a:xfrm>
            <a:off x="1953769" y="1614109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290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23" name="Afbeelding 22" descr="events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103" y="1269926"/>
            <a:ext cx="406166" cy="406166"/>
          </a:xfrm>
          <a:prstGeom prst="rect">
            <a:avLst/>
          </a:prstGeom>
        </p:spPr>
      </p:pic>
      <p:pic>
        <p:nvPicPr>
          <p:cNvPr id="24" name="Afbeelding 23" descr="gamin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7936" y="1341133"/>
            <a:ext cx="647637" cy="308580"/>
          </a:xfrm>
          <a:prstGeom prst="rect">
            <a:avLst/>
          </a:prstGeom>
        </p:spPr>
      </p:pic>
      <p:pic>
        <p:nvPicPr>
          <p:cNvPr id="40" name="Afbeelding 39" descr="gree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2707" y="913753"/>
            <a:ext cx="947133" cy="1260000"/>
          </a:xfrm>
          <a:prstGeom prst="rect">
            <a:avLst/>
          </a:prstGeom>
        </p:spPr>
      </p:pic>
      <p:pic>
        <p:nvPicPr>
          <p:cNvPr id="41" name="Afbeelding 40" descr="blu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702" y="911979"/>
            <a:ext cx="947133" cy="1260000"/>
          </a:xfrm>
          <a:prstGeom prst="rect">
            <a:avLst/>
          </a:prstGeom>
        </p:spPr>
      </p:pic>
      <p:sp>
        <p:nvSpPr>
          <p:cNvPr id="42" name="Rechthoek 41"/>
          <p:cNvSpPr/>
          <p:nvPr/>
        </p:nvSpPr>
        <p:spPr>
          <a:xfrm>
            <a:off x="3063632" y="1605611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nl-NL" sz="1400" b="1" dirty="0">
                <a:solidFill>
                  <a:prstClr val="white"/>
                </a:solidFill>
              </a:rPr>
              <a:t>200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43" name="Rechthoek 42"/>
          <p:cNvSpPr/>
          <p:nvPr/>
        </p:nvSpPr>
        <p:spPr>
          <a:xfrm>
            <a:off x="4195233" y="1612219"/>
            <a:ext cx="751499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56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44" name="Afbeelding 43" descr="gree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4794" y="923732"/>
            <a:ext cx="947133" cy="1260000"/>
          </a:xfrm>
          <a:prstGeom prst="rect">
            <a:avLst/>
          </a:prstGeom>
        </p:spPr>
      </p:pic>
      <p:pic>
        <p:nvPicPr>
          <p:cNvPr id="45" name="Afbeelding 44" descr="blu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6789" y="921958"/>
            <a:ext cx="947133" cy="1260000"/>
          </a:xfrm>
          <a:prstGeom prst="rect">
            <a:avLst/>
          </a:prstGeom>
        </p:spPr>
      </p:pic>
      <p:sp>
        <p:nvSpPr>
          <p:cNvPr id="46" name="Rechthoek 45"/>
          <p:cNvSpPr/>
          <p:nvPr/>
        </p:nvSpPr>
        <p:spPr>
          <a:xfrm>
            <a:off x="5245718" y="1615590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nl-NL" sz="1400" b="1" dirty="0">
                <a:solidFill>
                  <a:prstClr val="white"/>
                </a:solidFill>
              </a:rPr>
              <a:t>130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47" name="Rechthoek 46"/>
          <p:cNvSpPr/>
          <p:nvPr/>
        </p:nvSpPr>
        <p:spPr>
          <a:xfrm>
            <a:off x="6341709" y="1622198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it-IT" sz="1400" b="1" dirty="0">
                <a:solidFill>
                  <a:prstClr val="white"/>
                </a:solidFill>
              </a:rPr>
              <a:t>270</a:t>
            </a:r>
            <a:r>
              <a:rPr lang="en-US" sz="1400" b="1" dirty="0">
                <a:solidFill>
                  <a:prstClr val="white"/>
                </a:solidFill>
              </a:rPr>
              <a:t>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48" name="Afbeelding 47" descr="gree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391" y="921842"/>
            <a:ext cx="947133" cy="1260000"/>
          </a:xfrm>
          <a:prstGeom prst="rect">
            <a:avLst/>
          </a:prstGeom>
        </p:spPr>
      </p:pic>
      <p:sp>
        <p:nvSpPr>
          <p:cNvPr id="49" name="Rechthoek 48"/>
          <p:cNvSpPr/>
          <p:nvPr/>
        </p:nvSpPr>
        <p:spPr>
          <a:xfrm>
            <a:off x="7475315" y="1613699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nl-NL" sz="1400" b="1" dirty="0">
                <a:solidFill>
                  <a:prstClr val="white"/>
                </a:solidFill>
              </a:rPr>
              <a:t>920.000</a:t>
            </a:r>
            <a:endParaRPr lang="nl-NL" sz="1400" dirty="0">
              <a:solidFill>
                <a:prstClr val="white"/>
              </a:solidFill>
            </a:endParaRPr>
          </a:p>
        </p:txBody>
      </p:sp>
      <p:pic>
        <p:nvPicPr>
          <p:cNvPr id="26" name="Afbeelding 25" descr="arts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653" y="1246186"/>
            <a:ext cx="445255" cy="445255"/>
          </a:xfrm>
          <a:prstGeom prst="rect">
            <a:avLst/>
          </a:prstGeom>
        </p:spPr>
      </p:pic>
      <p:pic>
        <p:nvPicPr>
          <p:cNvPr id="27" name="Afbeelding 26" descr="economy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5235" y="1260465"/>
            <a:ext cx="257124" cy="423131"/>
          </a:xfrm>
          <a:prstGeom prst="rect">
            <a:avLst/>
          </a:prstGeom>
        </p:spPr>
      </p:pic>
      <p:pic>
        <p:nvPicPr>
          <p:cNvPr id="28" name="Afbeelding 27" descr="travel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410" y="1293662"/>
            <a:ext cx="379411" cy="379411"/>
          </a:xfrm>
          <a:prstGeom prst="rect">
            <a:avLst/>
          </a:prstGeom>
        </p:spPr>
      </p:pic>
      <p:pic>
        <p:nvPicPr>
          <p:cNvPr id="29" name="Afbeelding 28" descr="sex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7247" y="1289930"/>
            <a:ext cx="276586" cy="393476"/>
          </a:xfrm>
          <a:prstGeom prst="rect">
            <a:avLst/>
          </a:prstGeom>
        </p:spPr>
      </p:pic>
      <p:pic>
        <p:nvPicPr>
          <p:cNvPr id="30" name="Afbeelding 29" descr="motor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3617" y="1293663"/>
            <a:ext cx="431304" cy="348637"/>
          </a:xfrm>
          <a:prstGeom prst="rect">
            <a:avLst/>
          </a:prstGeom>
        </p:spPr>
      </p:pic>
      <p:sp>
        <p:nvSpPr>
          <p:cNvPr id="58" name="Rechthoek 57"/>
          <p:cNvSpPr/>
          <p:nvPr/>
        </p:nvSpPr>
        <p:spPr>
          <a:xfrm>
            <a:off x="867747" y="2958616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290</a:t>
            </a:r>
            <a:r>
              <a:rPr lang="nl-NL" sz="1400" b="1" dirty="0">
                <a:solidFill>
                  <a:prstClr val="white"/>
                </a:solidFill>
              </a:rPr>
              <a:t>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59" name="Rechthoek 58"/>
          <p:cNvSpPr/>
          <p:nvPr/>
        </p:nvSpPr>
        <p:spPr>
          <a:xfrm>
            <a:off x="1963735" y="2965224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340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60" name="Afbeelding 59" descr="gree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2802" y="2264867"/>
            <a:ext cx="947133" cy="1260000"/>
          </a:xfrm>
          <a:prstGeom prst="rect">
            <a:avLst/>
          </a:prstGeom>
        </p:spPr>
      </p:pic>
      <p:sp>
        <p:nvSpPr>
          <p:cNvPr id="62" name="Rechthoek 61"/>
          <p:cNvSpPr/>
          <p:nvPr/>
        </p:nvSpPr>
        <p:spPr>
          <a:xfrm>
            <a:off x="3073598" y="2956726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400</a:t>
            </a:r>
            <a:r>
              <a:rPr lang="nl-NL" sz="1400" b="1" dirty="0">
                <a:solidFill>
                  <a:prstClr val="white"/>
                </a:solidFill>
              </a:rPr>
              <a:t>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63" name="Rechthoek 62"/>
          <p:cNvSpPr/>
          <p:nvPr/>
        </p:nvSpPr>
        <p:spPr>
          <a:xfrm>
            <a:off x="4169588" y="2963331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640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64" name="Afbeelding 63" descr="gree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759" y="2274846"/>
            <a:ext cx="947133" cy="1260000"/>
          </a:xfrm>
          <a:prstGeom prst="rect">
            <a:avLst/>
          </a:prstGeom>
        </p:spPr>
      </p:pic>
      <p:sp>
        <p:nvSpPr>
          <p:cNvPr id="66" name="Rechthoek 65"/>
          <p:cNvSpPr/>
          <p:nvPr/>
        </p:nvSpPr>
        <p:spPr>
          <a:xfrm>
            <a:off x="5255685" y="2966704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280</a:t>
            </a:r>
            <a:r>
              <a:rPr lang="nl-NL" sz="1400" b="1" dirty="0">
                <a:solidFill>
                  <a:prstClr val="white"/>
                </a:solidFill>
              </a:rPr>
              <a:t>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67" name="Rechthoek 66"/>
          <p:cNvSpPr/>
          <p:nvPr/>
        </p:nvSpPr>
        <p:spPr>
          <a:xfrm>
            <a:off x="6351675" y="2973310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130.000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69" name="Rechthoek 68"/>
          <p:cNvSpPr/>
          <p:nvPr/>
        </p:nvSpPr>
        <p:spPr>
          <a:xfrm>
            <a:off x="7485283" y="2964814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550</a:t>
            </a:r>
            <a:r>
              <a:rPr lang="nl-NL" sz="1400" b="1" dirty="0">
                <a:solidFill>
                  <a:prstClr val="white"/>
                </a:solidFill>
              </a:rPr>
              <a:t>.000</a:t>
            </a:r>
            <a:endParaRPr lang="nl-NL" sz="1400" dirty="0">
              <a:solidFill>
                <a:prstClr val="white"/>
              </a:solidFill>
            </a:endParaRPr>
          </a:p>
        </p:txBody>
      </p:sp>
      <p:pic>
        <p:nvPicPr>
          <p:cNvPr id="31" name="Afbeelding 30" descr="house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229" y="2646671"/>
            <a:ext cx="343203" cy="324899"/>
          </a:xfrm>
          <a:prstGeom prst="rect">
            <a:avLst/>
          </a:prstGeom>
        </p:spPr>
      </p:pic>
      <p:pic>
        <p:nvPicPr>
          <p:cNvPr id="32" name="Afbeelding 31" descr="food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2668" y="2563591"/>
            <a:ext cx="508095" cy="503462"/>
          </a:xfrm>
          <a:prstGeom prst="rect">
            <a:avLst/>
          </a:prstGeom>
        </p:spPr>
      </p:pic>
      <p:pic>
        <p:nvPicPr>
          <p:cNvPr id="33" name="Afbeelding 32" descr="family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7416" y="2658539"/>
            <a:ext cx="328406" cy="328406"/>
          </a:xfrm>
          <a:prstGeom prst="rect">
            <a:avLst/>
          </a:prstGeom>
        </p:spPr>
      </p:pic>
      <p:pic>
        <p:nvPicPr>
          <p:cNvPr id="34" name="Afbeelding 33" descr="beauty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1357" y="2587331"/>
            <a:ext cx="477677" cy="477677"/>
          </a:xfrm>
          <a:prstGeom prst="rect">
            <a:avLst/>
          </a:prstGeom>
        </p:spPr>
      </p:pic>
      <p:pic>
        <p:nvPicPr>
          <p:cNvPr id="35" name="Afbeelding 34" descr="science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2428" y="2587329"/>
            <a:ext cx="693657" cy="442760"/>
          </a:xfrm>
          <a:prstGeom prst="rect">
            <a:avLst/>
          </a:prstGeom>
        </p:spPr>
      </p:pic>
      <p:pic>
        <p:nvPicPr>
          <p:cNvPr id="36" name="Afbeelding 35" descr="healthy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6453" y="2615346"/>
            <a:ext cx="470454" cy="470454"/>
          </a:xfrm>
          <a:prstGeom prst="rect">
            <a:avLst/>
          </a:prstGeom>
        </p:spPr>
      </p:pic>
      <p:pic>
        <p:nvPicPr>
          <p:cNvPr id="37" name="Afbeelding 36" descr="consumer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709" y="2433039"/>
            <a:ext cx="764032" cy="764032"/>
          </a:xfrm>
          <a:prstGeom prst="rect">
            <a:avLst/>
          </a:prstGeom>
        </p:spPr>
      </p:pic>
      <p:pic>
        <p:nvPicPr>
          <p:cNvPr id="77" name="Afbeelding 76" descr="gree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27" y="3582266"/>
            <a:ext cx="947133" cy="1260000"/>
          </a:xfrm>
          <a:prstGeom prst="rect">
            <a:avLst/>
          </a:prstGeom>
        </p:spPr>
      </p:pic>
      <p:pic>
        <p:nvPicPr>
          <p:cNvPr id="78" name="Afbeelding 77" descr="blu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2522" y="3580492"/>
            <a:ext cx="947133" cy="1260000"/>
          </a:xfrm>
          <a:prstGeom prst="rect">
            <a:avLst/>
          </a:prstGeom>
        </p:spPr>
      </p:pic>
      <p:sp>
        <p:nvSpPr>
          <p:cNvPr id="79" name="Rechthoek 78"/>
          <p:cNvSpPr/>
          <p:nvPr/>
        </p:nvSpPr>
        <p:spPr>
          <a:xfrm>
            <a:off x="901453" y="4274123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640</a:t>
            </a:r>
            <a:r>
              <a:rPr lang="nl-NL" sz="1400" b="1" dirty="0">
                <a:solidFill>
                  <a:prstClr val="white"/>
                </a:solidFill>
              </a:rPr>
              <a:t>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80" name="Rechthoek 79"/>
          <p:cNvSpPr/>
          <p:nvPr/>
        </p:nvSpPr>
        <p:spPr>
          <a:xfrm>
            <a:off x="2080532" y="4280731"/>
            <a:ext cx="648516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4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38" name="Afbeelding 37" descr="sports.pn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147" y="3964077"/>
            <a:ext cx="359837" cy="357111"/>
          </a:xfrm>
          <a:prstGeom prst="rect">
            <a:avLst/>
          </a:prstGeom>
        </p:spPr>
      </p:pic>
      <p:pic>
        <p:nvPicPr>
          <p:cNvPr id="39" name="Afbeelding 38" descr="jobs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788" y="3738575"/>
            <a:ext cx="776910" cy="75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639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descr="iStock_000062480350_XXXLarge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268620"/>
            <a:ext cx="9183005" cy="5509803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100" dirty="0" err="1">
                <a:solidFill>
                  <a:srgbClr val="FFFFFF"/>
                </a:solidFill>
              </a:rPr>
              <a:t>Bereik</a:t>
            </a:r>
            <a:r>
              <a:rPr lang="en-GB" sz="2100" dirty="0">
                <a:solidFill>
                  <a:srgbClr val="FFFFFF"/>
                </a:solidFill>
              </a:rPr>
              <a:t> op </a:t>
            </a:r>
            <a:r>
              <a:rPr lang="en-GB" sz="2100" dirty="0" err="1">
                <a:solidFill>
                  <a:srgbClr val="FFFFFF"/>
                </a:solidFill>
              </a:rPr>
              <a:t>locatiegedrag</a:t>
            </a:r>
            <a:endParaRPr lang="en-GB" sz="2100" dirty="0">
              <a:solidFill>
                <a:srgbClr val="FFFFFF"/>
              </a:solidFill>
            </a:endParaRPr>
          </a:p>
        </p:txBody>
      </p:sp>
      <p:pic>
        <p:nvPicPr>
          <p:cNvPr id="28" name="Afbeelding 27" descr="green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984" y="915644"/>
            <a:ext cx="947133" cy="1260000"/>
          </a:xfrm>
          <a:prstGeom prst="rect">
            <a:avLst/>
          </a:prstGeom>
        </p:spPr>
      </p:pic>
      <p:pic>
        <p:nvPicPr>
          <p:cNvPr id="29" name="Afbeelding 28" descr="blu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979" y="913870"/>
            <a:ext cx="947133" cy="1260000"/>
          </a:xfrm>
          <a:prstGeom prst="rect">
            <a:avLst/>
          </a:prstGeom>
        </p:spPr>
      </p:pic>
      <p:sp>
        <p:nvSpPr>
          <p:cNvPr id="30" name="Rechthoek 29"/>
          <p:cNvSpPr/>
          <p:nvPr/>
        </p:nvSpPr>
        <p:spPr>
          <a:xfrm>
            <a:off x="1439391" y="1607501"/>
            <a:ext cx="751499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nl-NL" sz="1400" b="1" dirty="0">
                <a:solidFill>
                  <a:prstClr val="white"/>
                </a:solidFill>
              </a:rPr>
              <a:t>30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1" name="Rechthoek 30"/>
          <p:cNvSpPr/>
          <p:nvPr/>
        </p:nvSpPr>
        <p:spPr>
          <a:xfrm>
            <a:off x="2535380" y="1614109"/>
            <a:ext cx="751499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36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32" name="Afbeelding 31" descr="green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836" y="913753"/>
            <a:ext cx="947133" cy="1260000"/>
          </a:xfrm>
          <a:prstGeom prst="rect">
            <a:avLst/>
          </a:prstGeom>
        </p:spPr>
      </p:pic>
      <p:pic>
        <p:nvPicPr>
          <p:cNvPr id="33" name="Afbeelding 32" descr="blu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8831" y="911979"/>
            <a:ext cx="947133" cy="1260000"/>
          </a:xfrm>
          <a:prstGeom prst="rect">
            <a:avLst/>
          </a:prstGeom>
        </p:spPr>
      </p:pic>
      <p:sp>
        <p:nvSpPr>
          <p:cNvPr id="34" name="Rechthoek 33"/>
          <p:cNvSpPr/>
          <p:nvPr/>
        </p:nvSpPr>
        <p:spPr>
          <a:xfrm>
            <a:off x="3657113" y="1605611"/>
            <a:ext cx="751499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nl-NL" sz="1400" b="1" dirty="0">
                <a:solidFill>
                  <a:prstClr val="white"/>
                </a:solidFill>
              </a:rPr>
              <a:t>89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5" name="Rechthoek 34"/>
          <p:cNvSpPr/>
          <p:nvPr/>
        </p:nvSpPr>
        <p:spPr>
          <a:xfrm>
            <a:off x="4681879" y="1612219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101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36" name="Afbeelding 35" descr="green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923" y="923732"/>
            <a:ext cx="947133" cy="1260000"/>
          </a:xfrm>
          <a:prstGeom prst="rect">
            <a:avLst/>
          </a:prstGeom>
        </p:spPr>
      </p:pic>
      <p:pic>
        <p:nvPicPr>
          <p:cNvPr id="37" name="Afbeelding 36" descr="blu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918" y="921958"/>
            <a:ext cx="947133" cy="1260000"/>
          </a:xfrm>
          <a:prstGeom prst="rect">
            <a:avLst/>
          </a:prstGeom>
        </p:spPr>
      </p:pic>
      <p:sp>
        <p:nvSpPr>
          <p:cNvPr id="38" name="Rechthoek 37"/>
          <p:cNvSpPr/>
          <p:nvPr/>
        </p:nvSpPr>
        <p:spPr>
          <a:xfrm>
            <a:off x="5839200" y="1615590"/>
            <a:ext cx="751499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nl-NL" sz="1400" b="1" dirty="0">
                <a:solidFill>
                  <a:prstClr val="white"/>
                </a:solidFill>
              </a:rPr>
              <a:t>71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39" name="Rechthoek 38"/>
          <p:cNvSpPr/>
          <p:nvPr/>
        </p:nvSpPr>
        <p:spPr>
          <a:xfrm>
            <a:off x="6935189" y="1622198"/>
            <a:ext cx="751499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it-IT" sz="1400" b="1" dirty="0">
                <a:solidFill>
                  <a:prstClr val="white"/>
                </a:solidFill>
              </a:rPr>
              <a:t>58</a:t>
            </a:r>
            <a:r>
              <a:rPr lang="en-US" sz="1400" b="1" dirty="0">
                <a:solidFill>
                  <a:prstClr val="white"/>
                </a:solidFill>
              </a:rPr>
              <a:t>.000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40" name="Rechthoek 39"/>
          <p:cNvSpPr/>
          <p:nvPr/>
        </p:nvSpPr>
        <p:spPr>
          <a:xfrm>
            <a:off x="1536420" y="1240372"/>
            <a:ext cx="518141" cy="46166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algn="ctr" defTabSz="686640"/>
            <a:r>
              <a:rPr lang="en-US" sz="1200" dirty="0">
                <a:solidFill>
                  <a:prstClr val="white"/>
                </a:solidFill>
              </a:rPr>
              <a:t>HBO</a:t>
            </a:r>
            <a:br>
              <a:rPr lang="en-US" sz="1200" dirty="0">
                <a:solidFill>
                  <a:prstClr val="white"/>
                </a:solidFill>
              </a:rPr>
            </a:br>
            <a:r>
              <a:rPr lang="en-US" sz="1200" dirty="0">
                <a:solidFill>
                  <a:prstClr val="white"/>
                </a:solidFill>
              </a:rPr>
              <a:t>WO</a:t>
            </a:r>
          </a:p>
        </p:txBody>
      </p:sp>
      <p:sp>
        <p:nvSpPr>
          <p:cNvPr id="41" name="Rechthoek 40"/>
          <p:cNvSpPr/>
          <p:nvPr/>
        </p:nvSpPr>
        <p:spPr>
          <a:xfrm>
            <a:off x="2626511" y="1345297"/>
            <a:ext cx="535198" cy="276999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200" dirty="0">
                <a:solidFill>
                  <a:prstClr val="white"/>
                </a:solidFill>
              </a:rPr>
              <a:t>MBO</a:t>
            </a:r>
          </a:p>
        </p:txBody>
      </p:sp>
      <p:sp>
        <p:nvSpPr>
          <p:cNvPr id="42" name="Rechthoek 41"/>
          <p:cNvSpPr/>
          <p:nvPr/>
        </p:nvSpPr>
        <p:spPr>
          <a:xfrm>
            <a:off x="3740345" y="1355275"/>
            <a:ext cx="569387" cy="276999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200" dirty="0">
                <a:solidFill>
                  <a:prstClr val="white"/>
                </a:solidFill>
              </a:rPr>
              <a:t>HIGH</a:t>
            </a:r>
          </a:p>
        </p:txBody>
      </p:sp>
      <p:pic>
        <p:nvPicPr>
          <p:cNvPr id="3" name="Afbeelding 2" descr="QSR_icon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3842" y="1270236"/>
            <a:ext cx="356238" cy="392139"/>
          </a:xfrm>
          <a:prstGeom prst="rect">
            <a:avLst/>
          </a:prstGeom>
        </p:spPr>
      </p:pic>
      <p:pic>
        <p:nvPicPr>
          <p:cNvPr id="6" name="Afbeelding 5" descr="mcdonalds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20" y="1329269"/>
            <a:ext cx="385726" cy="308581"/>
          </a:xfrm>
          <a:prstGeom prst="rect">
            <a:avLst/>
          </a:prstGeom>
        </p:spPr>
      </p:pic>
      <p:pic>
        <p:nvPicPr>
          <p:cNvPr id="9" name="Afbeelding 8" descr="subway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8200" y="1364873"/>
            <a:ext cx="750943" cy="344182"/>
          </a:xfrm>
          <a:prstGeom prst="rect">
            <a:avLst/>
          </a:prstGeom>
        </p:spPr>
      </p:pic>
      <p:pic>
        <p:nvPicPr>
          <p:cNvPr id="46" name="Afbeelding 45" descr="blu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9077" y="2253117"/>
            <a:ext cx="947133" cy="1260000"/>
          </a:xfrm>
          <a:prstGeom prst="rect">
            <a:avLst/>
          </a:prstGeom>
        </p:spPr>
      </p:pic>
      <p:sp>
        <p:nvSpPr>
          <p:cNvPr id="47" name="Rechthoek 46"/>
          <p:cNvSpPr/>
          <p:nvPr/>
        </p:nvSpPr>
        <p:spPr>
          <a:xfrm>
            <a:off x="1393996" y="2953355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550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48" name="Afbeelding 47" descr="green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2934" y="2253000"/>
            <a:ext cx="947133" cy="1260000"/>
          </a:xfrm>
          <a:prstGeom prst="rect">
            <a:avLst/>
          </a:prstGeom>
        </p:spPr>
      </p:pic>
      <p:pic>
        <p:nvPicPr>
          <p:cNvPr id="49" name="Afbeelding 48" descr="blu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929" y="2251226"/>
            <a:ext cx="947133" cy="1260000"/>
          </a:xfrm>
          <a:prstGeom prst="rect">
            <a:avLst/>
          </a:prstGeom>
        </p:spPr>
      </p:pic>
      <p:sp>
        <p:nvSpPr>
          <p:cNvPr id="50" name="Rechthoek 49"/>
          <p:cNvSpPr/>
          <p:nvPr/>
        </p:nvSpPr>
        <p:spPr>
          <a:xfrm>
            <a:off x="2503859" y="2944859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nl-NL" sz="1400" b="1" dirty="0">
                <a:solidFill>
                  <a:prstClr val="white"/>
                </a:solidFill>
              </a:rPr>
              <a:t>232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51" name="Rechthoek 50"/>
          <p:cNvSpPr/>
          <p:nvPr/>
        </p:nvSpPr>
        <p:spPr>
          <a:xfrm>
            <a:off x="3599847" y="2951464"/>
            <a:ext cx="854481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en-US" sz="1400" b="1" dirty="0">
                <a:solidFill>
                  <a:prstClr val="white"/>
                </a:solidFill>
              </a:rPr>
              <a:t>240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52" name="Afbeelding 51" descr="green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5021" y="2262979"/>
            <a:ext cx="947133" cy="1260000"/>
          </a:xfrm>
          <a:prstGeom prst="rect">
            <a:avLst/>
          </a:prstGeom>
        </p:spPr>
      </p:pic>
      <p:pic>
        <p:nvPicPr>
          <p:cNvPr id="53" name="Afbeelding 52" descr="blu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7016" y="2261205"/>
            <a:ext cx="947133" cy="1260000"/>
          </a:xfrm>
          <a:prstGeom prst="rect">
            <a:avLst/>
          </a:prstGeom>
        </p:spPr>
      </p:pic>
      <p:sp>
        <p:nvSpPr>
          <p:cNvPr id="54" name="Rechthoek 53"/>
          <p:cNvSpPr/>
          <p:nvPr/>
        </p:nvSpPr>
        <p:spPr>
          <a:xfrm>
            <a:off x="4745298" y="2954838"/>
            <a:ext cx="751499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nl-NL" sz="1400" b="1" dirty="0">
                <a:solidFill>
                  <a:prstClr val="white"/>
                </a:solidFill>
              </a:rPr>
              <a:t>54.000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55" name="Rechthoek 54"/>
          <p:cNvSpPr/>
          <p:nvPr/>
        </p:nvSpPr>
        <p:spPr>
          <a:xfrm>
            <a:off x="5841287" y="2961443"/>
            <a:ext cx="751499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it-IT" sz="1400" b="1" dirty="0">
                <a:solidFill>
                  <a:prstClr val="white"/>
                </a:solidFill>
              </a:rPr>
              <a:t>76</a:t>
            </a:r>
            <a:r>
              <a:rPr lang="en-US" sz="1400" b="1" dirty="0">
                <a:solidFill>
                  <a:prstClr val="white"/>
                </a:solidFill>
              </a:rPr>
              <a:t>.0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56" name="Afbeelding 55" descr="green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982" y="2261089"/>
            <a:ext cx="947133" cy="1260000"/>
          </a:xfrm>
          <a:prstGeom prst="rect">
            <a:avLst/>
          </a:prstGeom>
        </p:spPr>
      </p:pic>
      <p:sp>
        <p:nvSpPr>
          <p:cNvPr id="57" name="Rechthoek 56"/>
          <p:cNvSpPr/>
          <p:nvPr/>
        </p:nvSpPr>
        <p:spPr>
          <a:xfrm>
            <a:off x="6990729" y="2971422"/>
            <a:ext cx="648516" cy="308995"/>
          </a:xfrm>
          <a:prstGeom prst="rect">
            <a:avLst/>
          </a:prstGeom>
        </p:spPr>
        <p:txBody>
          <a:bodyPr wrap="none" lIns="91404" tIns="45702" rIns="91404" bIns="45702">
            <a:spAutoFit/>
          </a:bodyPr>
          <a:lstStyle/>
          <a:p>
            <a:pPr defTabSz="686640"/>
            <a:r>
              <a:rPr lang="it-IT" sz="1400" b="1" dirty="0">
                <a:solidFill>
                  <a:prstClr val="white"/>
                </a:solidFill>
              </a:rPr>
              <a:t>5</a:t>
            </a:r>
            <a:r>
              <a:rPr lang="en-US" sz="1400" b="1" dirty="0">
                <a:solidFill>
                  <a:prstClr val="white"/>
                </a:solidFill>
              </a:rPr>
              <a:t>.500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14" name="Afbeelding 13" descr="groceries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588" y="2658540"/>
            <a:ext cx="355598" cy="332314"/>
          </a:xfrm>
          <a:prstGeom prst="rect">
            <a:avLst/>
          </a:prstGeom>
        </p:spPr>
      </p:pic>
      <p:pic>
        <p:nvPicPr>
          <p:cNvPr id="15" name="Afbeelding 14" descr="cars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523" y="2634804"/>
            <a:ext cx="384241" cy="384241"/>
          </a:xfrm>
          <a:prstGeom prst="rect">
            <a:avLst/>
          </a:prstGeom>
        </p:spPr>
      </p:pic>
      <p:pic>
        <p:nvPicPr>
          <p:cNvPr id="23" name="Afbeelding 22" descr="hospital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852628" y="2625170"/>
            <a:ext cx="508595" cy="381446"/>
          </a:xfrm>
          <a:prstGeom prst="rect">
            <a:avLst/>
          </a:prstGeom>
        </p:spPr>
      </p:pic>
      <p:pic>
        <p:nvPicPr>
          <p:cNvPr id="62" name="Afbeelding 61" descr="jobs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5043" y="2409306"/>
            <a:ext cx="776910" cy="759050"/>
          </a:xfrm>
          <a:prstGeom prst="rect">
            <a:avLst/>
          </a:prstGeom>
        </p:spPr>
      </p:pic>
      <p:pic>
        <p:nvPicPr>
          <p:cNvPr id="24" name="Afbeelding 23" descr="movie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05" y="2670408"/>
            <a:ext cx="334786" cy="296709"/>
          </a:xfrm>
          <a:prstGeom prst="rect">
            <a:avLst/>
          </a:prstGeom>
        </p:spPr>
      </p:pic>
      <p:pic>
        <p:nvPicPr>
          <p:cNvPr id="25" name="Afbeelding 24" descr="wijn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718" y="2480512"/>
            <a:ext cx="514798" cy="514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7020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al 2"/>
          <p:cNvSpPr/>
          <p:nvPr/>
        </p:nvSpPr>
        <p:spPr>
          <a:xfrm>
            <a:off x="2771107" y="679812"/>
            <a:ext cx="3592171" cy="3617124"/>
          </a:xfrm>
          <a:prstGeom prst="ellipse">
            <a:avLst/>
          </a:prstGeom>
          <a:solidFill>
            <a:srgbClr val="1C6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2" rIns="91404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6640"/>
            <a:endParaRPr lang="nl-NL" sz="1400">
              <a:solidFill>
                <a:srgbClr val="55FF72"/>
              </a:solidFill>
            </a:endParaRPr>
          </a:p>
        </p:txBody>
      </p:sp>
      <p:sp>
        <p:nvSpPr>
          <p:cNvPr id="4" name="Tekstvak 3"/>
          <p:cNvSpPr txBox="1"/>
          <p:nvPr/>
        </p:nvSpPr>
        <p:spPr>
          <a:xfrm>
            <a:off x="3030008" y="2054053"/>
            <a:ext cx="3124836" cy="1171325"/>
          </a:xfrm>
          <a:prstGeom prst="rect">
            <a:avLst/>
          </a:prstGeom>
          <a:noFill/>
        </p:spPr>
        <p:txBody>
          <a:bodyPr wrap="none" lIns="35986" tIns="35986" rIns="35986" bIns="35986" rtlCol="0">
            <a:spAutoFit/>
          </a:bodyPr>
          <a:lstStyle/>
          <a:p>
            <a:pPr algn="ctr" defTabSz="686640" fontAlgn="base"/>
            <a:r>
              <a:rPr lang="en-US" sz="2400" b="1" cap="all" dirty="0">
                <a:solidFill>
                  <a:prstClr val="white"/>
                </a:solidFill>
              </a:rPr>
              <a:t>Touchscreen </a:t>
            </a:r>
          </a:p>
          <a:p>
            <a:pPr algn="ctr" defTabSz="686640" fontAlgn="base"/>
            <a:r>
              <a:rPr lang="en-US" sz="2400" b="1" cap="all" dirty="0">
                <a:solidFill>
                  <a:prstClr val="white"/>
                </a:solidFill>
              </a:rPr>
              <a:t>Changed display </a:t>
            </a:r>
          </a:p>
          <a:p>
            <a:pPr algn="ctr" defTabSz="686640" fontAlgn="base"/>
            <a:r>
              <a:rPr lang="en-US" sz="2400" b="1" cap="all" dirty="0">
                <a:solidFill>
                  <a:prstClr val="white"/>
                </a:solidFill>
              </a:rPr>
              <a:t>advertising </a:t>
            </a:r>
          </a:p>
        </p:txBody>
      </p:sp>
      <p:sp>
        <p:nvSpPr>
          <p:cNvPr id="6" name="Rechthoek 5"/>
          <p:cNvSpPr/>
          <p:nvPr/>
        </p:nvSpPr>
        <p:spPr>
          <a:xfrm>
            <a:off x="1801154" y="290223"/>
            <a:ext cx="3630057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dirty="0">
                <a:solidFill>
                  <a:srgbClr val="47B5F9"/>
                </a:solidFill>
              </a:rPr>
              <a:t>Impressions </a:t>
            </a:r>
            <a:r>
              <a:rPr lang="en-US" b="1" dirty="0">
                <a:solidFill>
                  <a:srgbClr val="47B5F9"/>
                </a:solidFill>
              </a:rPr>
              <a:t>1</a:t>
            </a:r>
            <a:r>
              <a:rPr lang="en-US" dirty="0">
                <a:solidFill>
                  <a:srgbClr val="47B5F9"/>
                </a:solidFill>
              </a:rPr>
              <a:t> </a:t>
            </a:r>
          </a:p>
        </p:txBody>
      </p:sp>
      <p:sp>
        <p:nvSpPr>
          <p:cNvPr id="20" name="Rechthoek 19"/>
          <p:cNvSpPr/>
          <p:nvPr/>
        </p:nvSpPr>
        <p:spPr>
          <a:xfrm>
            <a:off x="2273172" y="5158431"/>
            <a:ext cx="4572000" cy="618185"/>
          </a:xfrm>
          <a:prstGeom prst="rect">
            <a:avLst/>
          </a:prstGeom>
        </p:spPr>
        <p:txBody>
          <a:bodyPr lIns="91404" tIns="45702" rIns="91404" bIns="45702">
            <a:spAutoFit/>
          </a:bodyPr>
          <a:lstStyle/>
          <a:p>
            <a:pPr algn="ctr" defTabSz="686640" fontAlgn="base"/>
            <a:r>
              <a:rPr lang="en-US" sz="1700" cap="all" dirty="0">
                <a:solidFill>
                  <a:prstClr val="white"/>
                </a:solidFill>
              </a:rPr>
              <a:t>so measurement </a:t>
            </a:r>
          </a:p>
          <a:p>
            <a:pPr algn="ctr" defTabSz="686640" fontAlgn="base"/>
            <a:r>
              <a:rPr lang="en-US" sz="1700" cap="all" dirty="0">
                <a:solidFill>
                  <a:prstClr val="white"/>
                </a:solidFill>
              </a:rPr>
              <a:t>changed as well</a:t>
            </a:r>
          </a:p>
        </p:txBody>
      </p:sp>
      <p:sp>
        <p:nvSpPr>
          <p:cNvPr id="21" name="Rechthoek 20"/>
          <p:cNvSpPr/>
          <p:nvPr/>
        </p:nvSpPr>
        <p:spPr>
          <a:xfrm>
            <a:off x="1164071" y="1007003"/>
            <a:ext cx="4503990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dirty="0">
                <a:solidFill>
                  <a:srgbClr val="47B5F9"/>
                </a:solidFill>
              </a:rPr>
              <a:t>Engagement </a:t>
            </a:r>
            <a:r>
              <a:rPr lang="en-US" b="1" dirty="0">
                <a:solidFill>
                  <a:srgbClr val="47B5F9"/>
                </a:solidFill>
              </a:rPr>
              <a:t>2</a:t>
            </a:r>
          </a:p>
        </p:txBody>
      </p:sp>
      <p:sp>
        <p:nvSpPr>
          <p:cNvPr id="22" name="Rechthoek 21"/>
          <p:cNvSpPr/>
          <p:nvPr/>
        </p:nvSpPr>
        <p:spPr>
          <a:xfrm>
            <a:off x="1207913" y="1839223"/>
            <a:ext cx="4864757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dirty="0">
                <a:solidFill>
                  <a:srgbClr val="47B5F9"/>
                </a:solidFill>
              </a:rPr>
              <a:t>Swipes</a:t>
            </a:r>
            <a:r>
              <a:rPr lang="en-US" b="1" dirty="0">
                <a:solidFill>
                  <a:srgbClr val="47B5F9"/>
                </a:solidFill>
              </a:rPr>
              <a:t> 3</a:t>
            </a:r>
            <a:endParaRPr lang="en-US" dirty="0">
              <a:solidFill>
                <a:srgbClr val="47B5F9"/>
              </a:solidFill>
            </a:endParaRPr>
          </a:p>
        </p:txBody>
      </p:sp>
      <p:sp>
        <p:nvSpPr>
          <p:cNvPr id="25" name="Rechthoek 24"/>
          <p:cNvSpPr/>
          <p:nvPr/>
        </p:nvSpPr>
        <p:spPr>
          <a:xfrm>
            <a:off x="863893" y="2709913"/>
            <a:ext cx="8087589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dirty="0">
                <a:solidFill>
                  <a:srgbClr val="47B5F9"/>
                </a:solidFill>
              </a:rPr>
              <a:t>Dwell time</a:t>
            </a:r>
            <a:r>
              <a:rPr lang="en-US" b="1" dirty="0">
                <a:solidFill>
                  <a:srgbClr val="47B5F9"/>
                </a:solidFill>
              </a:rPr>
              <a:t> 4</a:t>
            </a:r>
            <a:endParaRPr lang="en-US" dirty="0">
              <a:solidFill>
                <a:srgbClr val="47B5F9"/>
              </a:solidFill>
            </a:endParaRPr>
          </a:p>
        </p:txBody>
      </p:sp>
      <p:sp>
        <p:nvSpPr>
          <p:cNvPr id="26" name="Rechthoek 25"/>
          <p:cNvSpPr/>
          <p:nvPr/>
        </p:nvSpPr>
        <p:spPr>
          <a:xfrm>
            <a:off x="1561331" y="3631917"/>
            <a:ext cx="8087589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dirty="0">
                <a:solidFill>
                  <a:srgbClr val="47B5F9"/>
                </a:solidFill>
              </a:rPr>
              <a:t>Events</a:t>
            </a:r>
            <a:r>
              <a:rPr lang="en-US" b="1" dirty="0">
                <a:solidFill>
                  <a:srgbClr val="47B5F9"/>
                </a:solidFill>
              </a:rPr>
              <a:t> 5</a:t>
            </a:r>
            <a:endParaRPr lang="en-US" dirty="0">
              <a:solidFill>
                <a:srgbClr val="47B5F9"/>
              </a:solidFill>
            </a:endParaRPr>
          </a:p>
        </p:txBody>
      </p:sp>
      <p:sp>
        <p:nvSpPr>
          <p:cNvPr id="27" name="Rechthoek 26"/>
          <p:cNvSpPr/>
          <p:nvPr/>
        </p:nvSpPr>
        <p:spPr>
          <a:xfrm>
            <a:off x="1826109" y="4348691"/>
            <a:ext cx="8087589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dirty="0">
                <a:solidFill>
                  <a:srgbClr val="47B5F9"/>
                </a:solidFill>
              </a:rPr>
              <a:t>Expands </a:t>
            </a:r>
            <a:r>
              <a:rPr lang="en-US" b="1" dirty="0">
                <a:solidFill>
                  <a:srgbClr val="47B5F9"/>
                </a:solidFill>
              </a:rPr>
              <a:t>6</a:t>
            </a:r>
            <a:endParaRPr lang="en-US" dirty="0">
              <a:solidFill>
                <a:srgbClr val="47B5F9"/>
              </a:solidFill>
            </a:endParaRPr>
          </a:p>
        </p:txBody>
      </p:sp>
      <p:sp>
        <p:nvSpPr>
          <p:cNvPr id="28" name="Rechthoek 27"/>
          <p:cNvSpPr/>
          <p:nvPr/>
        </p:nvSpPr>
        <p:spPr>
          <a:xfrm>
            <a:off x="5949250" y="288704"/>
            <a:ext cx="8087589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b="1" dirty="0">
                <a:solidFill>
                  <a:srgbClr val="47B5F9"/>
                </a:solidFill>
              </a:rPr>
              <a:t>7 </a:t>
            </a:r>
            <a:r>
              <a:rPr lang="en-US" dirty="0">
                <a:solidFill>
                  <a:srgbClr val="47B5F9"/>
                </a:solidFill>
              </a:rPr>
              <a:t>Closes</a:t>
            </a:r>
          </a:p>
        </p:txBody>
      </p:sp>
      <p:sp>
        <p:nvSpPr>
          <p:cNvPr id="34" name="Rechthoek 33"/>
          <p:cNvSpPr/>
          <p:nvPr/>
        </p:nvSpPr>
        <p:spPr>
          <a:xfrm>
            <a:off x="6473049" y="992660"/>
            <a:ext cx="8087589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b="1" dirty="0">
                <a:solidFill>
                  <a:srgbClr val="47B5F9"/>
                </a:solidFill>
              </a:rPr>
              <a:t>8 </a:t>
            </a:r>
            <a:r>
              <a:rPr lang="en-US" dirty="0">
                <a:solidFill>
                  <a:srgbClr val="47B5F9"/>
                </a:solidFill>
              </a:rPr>
              <a:t>Interaction window</a:t>
            </a:r>
          </a:p>
        </p:txBody>
      </p:sp>
      <p:sp>
        <p:nvSpPr>
          <p:cNvPr id="35" name="Rechthoek 34"/>
          <p:cNvSpPr/>
          <p:nvPr/>
        </p:nvSpPr>
        <p:spPr>
          <a:xfrm>
            <a:off x="6805056" y="1837701"/>
            <a:ext cx="8087589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b="1" dirty="0">
                <a:solidFill>
                  <a:srgbClr val="47B5F9"/>
                </a:solidFill>
              </a:rPr>
              <a:t>9 </a:t>
            </a:r>
            <a:r>
              <a:rPr lang="en-US" dirty="0">
                <a:solidFill>
                  <a:srgbClr val="47B5F9"/>
                </a:solidFill>
              </a:rPr>
              <a:t>Video</a:t>
            </a:r>
          </a:p>
        </p:txBody>
      </p:sp>
      <p:sp>
        <p:nvSpPr>
          <p:cNvPr id="36" name="Rechthoek 35"/>
          <p:cNvSpPr/>
          <p:nvPr/>
        </p:nvSpPr>
        <p:spPr>
          <a:xfrm>
            <a:off x="6765021" y="2708395"/>
            <a:ext cx="8087589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b="1" dirty="0">
                <a:solidFill>
                  <a:srgbClr val="47B5F9"/>
                </a:solidFill>
              </a:rPr>
              <a:t>10 </a:t>
            </a:r>
            <a:r>
              <a:rPr lang="en-US" dirty="0">
                <a:solidFill>
                  <a:srgbClr val="47B5F9"/>
                </a:solidFill>
              </a:rPr>
              <a:t>Device</a:t>
            </a:r>
          </a:p>
        </p:txBody>
      </p:sp>
      <p:sp>
        <p:nvSpPr>
          <p:cNvPr id="37" name="Rechthoek 36"/>
          <p:cNvSpPr/>
          <p:nvPr/>
        </p:nvSpPr>
        <p:spPr>
          <a:xfrm>
            <a:off x="6494054" y="3643223"/>
            <a:ext cx="8087589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b="1" dirty="0">
                <a:solidFill>
                  <a:srgbClr val="47B5F9"/>
                </a:solidFill>
              </a:rPr>
              <a:t>11 </a:t>
            </a:r>
            <a:r>
              <a:rPr lang="en-US" dirty="0">
                <a:solidFill>
                  <a:srgbClr val="47B5F9"/>
                </a:solidFill>
              </a:rPr>
              <a:t>Location</a:t>
            </a:r>
          </a:p>
        </p:txBody>
      </p:sp>
      <p:sp>
        <p:nvSpPr>
          <p:cNvPr id="38" name="Rechthoek 37"/>
          <p:cNvSpPr/>
          <p:nvPr/>
        </p:nvSpPr>
        <p:spPr>
          <a:xfrm>
            <a:off x="5774069" y="4338463"/>
            <a:ext cx="8087589" cy="36933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 defTabSz="686640" fontAlgn="base"/>
            <a:r>
              <a:rPr lang="en-US" b="1" dirty="0">
                <a:solidFill>
                  <a:srgbClr val="47B5F9"/>
                </a:solidFill>
              </a:rPr>
              <a:t>12 </a:t>
            </a:r>
            <a:r>
              <a:rPr lang="en-US" dirty="0">
                <a:solidFill>
                  <a:srgbClr val="47B5F9"/>
                </a:solidFill>
              </a:rPr>
              <a:t>Custom</a:t>
            </a:r>
          </a:p>
        </p:txBody>
      </p:sp>
      <p:grpSp>
        <p:nvGrpSpPr>
          <p:cNvPr id="17" name="Group 23"/>
          <p:cNvGrpSpPr>
            <a:grpSpLocks noChangeAspect="1"/>
          </p:cNvGrpSpPr>
          <p:nvPr/>
        </p:nvGrpSpPr>
        <p:grpSpPr>
          <a:xfrm>
            <a:off x="7293207" y="4803552"/>
            <a:ext cx="1495851" cy="125909"/>
            <a:chOff x="425958" y="6336331"/>
            <a:chExt cx="2526569" cy="216000"/>
          </a:xfrm>
          <a:solidFill>
            <a:schemeClr val="accent1"/>
          </a:solidFill>
        </p:grpSpPr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425958" y="6336331"/>
              <a:ext cx="1295526" cy="216000"/>
            </a:xfrm>
            <a:custGeom>
              <a:avLst/>
              <a:gdLst>
                <a:gd name="T0" fmla="*/ 4989 w 5446"/>
                <a:gd name="T1" fmla="*/ 686 h 908"/>
                <a:gd name="T2" fmla="*/ 4808 w 5446"/>
                <a:gd name="T3" fmla="*/ 593 h 908"/>
                <a:gd name="T4" fmla="*/ 4773 w 5446"/>
                <a:gd name="T5" fmla="*/ 389 h 908"/>
                <a:gd name="T6" fmla="*/ 4890 w 5446"/>
                <a:gd name="T7" fmla="*/ 244 h 908"/>
                <a:gd name="T8" fmla="*/ 5087 w 5446"/>
                <a:gd name="T9" fmla="*/ 246 h 908"/>
                <a:gd name="T10" fmla="*/ 4275 w 5446"/>
                <a:gd name="T11" fmla="*/ 348 h 908"/>
                <a:gd name="T12" fmla="*/ 4169 w 5446"/>
                <a:gd name="T13" fmla="*/ 308 h 908"/>
                <a:gd name="T14" fmla="*/ 4039 w 5446"/>
                <a:gd name="T15" fmla="*/ 382 h 908"/>
                <a:gd name="T16" fmla="*/ 3947 w 5446"/>
                <a:gd name="T17" fmla="*/ 299 h 908"/>
                <a:gd name="T18" fmla="*/ 3885 w 5446"/>
                <a:gd name="T19" fmla="*/ 230 h 908"/>
                <a:gd name="T20" fmla="*/ 4026 w 5446"/>
                <a:gd name="T21" fmla="*/ 225 h 908"/>
                <a:gd name="T22" fmla="*/ 4157 w 5446"/>
                <a:gd name="T23" fmla="*/ 240 h 908"/>
                <a:gd name="T24" fmla="*/ 4327 w 5446"/>
                <a:gd name="T25" fmla="*/ 258 h 908"/>
                <a:gd name="T26" fmla="*/ 3153 w 5446"/>
                <a:gd name="T27" fmla="*/ 684 h 908"/>
                <a:gd name="T28" fmla="*/ 2979 w 5446"/>
                <a:gd name="T29" fmla="*/ 574 h 908"/>
                <a:gd name="T30" fmla="*/ 2963 w 5446"/>
                <a:gd name="T31" fmla="*/ 362 h 908"/>
                <a:gd name="T32" fmla="*/ 3119 w 5446"/>
                <a:gd name="T33" fmla="*/ 228 h 908"/>
                <a:gd name="T34" fmla="*/ 3325 w 5446"/>
                <a:gd name="T35" fmla="*/ 274 h 908"/>
                <a:gd name="T36" fmla="*/ 3408 w 5446"/>
                <a:gd name="T37" fmla="*/ 466 h 908"/>
                <a:gd name="T38" fmla="*/ 3307 w 5446"/>
                <a:gd name="T39" fmla="*/ 646 h 908"/>
                <a:gd name="T40" fmla="*/ 2400 w 5446"/>
                <a:gd name="T41" fmla="*/ 420 h 908"/>
                <a:gd name="T42" fmla="*/ 2307 w 5446"/>
                <a:gd name="T43" fmla="*/ 305 h 908"/>
                <a:gd name="T44" fmla="*/ 2173 w 5446"/>
                <a:gd name="T45" fmla="*/ 348 h 908"/>
                <a:gd name="T46" fmla="*/ 2144 w 5446"/>
                <a:gd name="T47" fmla="*/ 287 h 908"/>
                <a:gd name="T48" fmla="*/ 2344 w 5446"/>
                <a:gd name="T49" fmla="*/ 228 h 908"/>
                <a:gd name="T50" fmla="*/ 2478 w 5446"/>
                <a:gd name="T51" fmla="*/ 349 h 908"/>
                <a:gd name="T52" fmla="*/ 1440 w 5446"/>
                <a:gd name="T53" fmla="*/ 669 h 908"/>
                <a:gd name="T54" fmla="*/ 1240 w 5446"/>
                <a:gd name="T55" fmla="*/ 653 h 908"/>
                <a:gd name="T56" fmla="*/ 1136 w 5446"/>
                <a:gd name="T57" fmla="*/ 478 h 908"/>
                <a:gd name="T58" fmla="*/ 1199 w 5446"/>
                <a:gd name="T59" fmla="*/ 289 h 908"/>
                <a:gd name="T60" fmla="*/ 1381 w 5446"/>
                <a:gd name="T61" fmla="*/ 222 h 908"/>
                <a:gd name="T62" fmla="*/ 466 w 5446"/>
                <a:gd name="T63" fmla="*/ 686 h 908"/>
                <a:gd name="T64" fmla="*/ 258 w 5446"/>
                <a:gd name="T65" fmla="*/ 567 h 908"/>
                <a:gd name="T66" fmla="*/ 460 w 5446"/>
                <a:gd name="T67" fmla="*/ 606 h 908"/>
                <a:gd name="T68" fmla="*/ 583 w 5446"/>
                <a:gd name="T69" fmla="*/ 540 h 908"/>
                <a:gd name="T70" fmla="*/ 341 w 5446"/>
                <a:gd name="T71" fmla="*/ 472 h 908"/>
                <a:gd name="T72" fmla="*/ 239 w 5446"/>
                <a:gd name="T73" fmla="*/ 342 h 908"/>
                <a:gd name="T74" fmla="*/ 365 w 5446"/>
                <a:gd name="T75" fmla="*/ 232 h 908"/>
                <a:gd name="T76" fmla="*/ 641 w 5446"/>
                <a:gd name="T77" fmla="*/ 283 h 908"/>
                <a:gd name="T78" fmla="*/ 462 w 5446"/>
                <a:gd name="T79" fmla="*/ 302 h 908"/>
                <a:gd name="T80" fmla="*/ 327 w 5446"/>
                <a:gd name="T81" fmla="*/ 363 h 908"/>
                <a:gd name="T82" fmla="*/ 584 w 5446"/>
                <a:gd name="T83" fmla="*/ 433 h 908"/>
                <a:gd name="T84" fmla="*/ 674 w 5446"/>
                <a:gd name="T85" fmla="*/ 553 h 908"/>
                <a:gd name="T86" fmla="*/ 569 w 5446"/>
                <a:gd name="T87" fmla="*/ 669 h 908"/>
                <a:gd name="T88" fmla="*/ 5446 w 5446"/>
                <a:gd name="T89" fmla="*/ 453 h 908"/>
                <a:gd name="T90" fmla="*/ 1291 w 5446"/>
                <a:gd name="T91" fmla="*/ 318 h 908"/>
                <a:gd name="T92" fmla="*/ 1231 w 5446"/>
                <a:gd name="T93" fmla="*/ 504 h 908"/>
                <a:gd name="T94" fmla="*/ 1318 w 5446"/>
                <a:gd name="T95" fmla="*/ 603 h 908"/>
                <a:gd name="T96" fmla="*/ 1469 w 5446"/>
                <a:gd name="T97" fmla="*/ 562 h 908"/>
                <a:gd name="T98" fmla="*/ 1491 w 5446"/>
                <a:gd name="T99" fmla="*/ 384 h 908"/>
                <a:gd name="T100" fmla="*/ 1373 w 5446"/>
                <a:gd name="T101" fmla="*/ 297 h 908"/>
                <a:gd name="T102" fmla="*/ 3063 w 5446"/>
                <a:gd name="T103" fmla="*/ 359 h 908"/>
                <a:gd name="T104" fmla="*/ 3059 w 5446"/>
                <a:gd name="T105" fmla="*/ 541 h 908"/>
                <a:gd name="T106" fmla="*/ 3213 w 5446"/>
                <a:gd name="T107" fmla="*/ 601 h 908"/>
                <a:gd name="T108" fmla="*/ 3311 w 5446"/>
                <a:gd name="T109" fmla="*/ 508 h 908"/>
                <a:gd name="T110" fmla="*/ 3273 w 5446"/>
                <a:gd name="T111" fmla="*/ 338 h 908"/>
                <a:gd name="T112" fmla="*/ 4941 w 5446"/>
                <a:gd name="T113" fmla="*/ 307 h 908"/>
                <a:gd name="T114" fmla="*/ 4856 w 5446"/>
                <a:gd name="T115" fmla="*/ 483 h 908"/>
                <a:gd name="T116" fmla="*/ 4934 w 5446"/>
                <a:gd name="T117" fmla="*/ 597 h 908"/>
                <a:gd name="T118" fmla="*/ 5090 w 5446"/>
                <a:gd name="T119" fmla="*/ 573 h 908"/>
                <a:gd name="T120" fmla="*/ 5126 w 5446"/>
                <a:gd name="T121" fmla="*/ 399 h 908"/>
                <a:gd name="T122" fmla="*/ 5022 w 5446"/>
                <a:gd name="T123" fmla="*/ 299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6" h="908">
                  <a:moveTo>
                    <a:pt x="5219" y="677"/>
                  </a:moveTo>
                  <a:lnTo>
                    <a:pt x="5130" y="677"/>
                  </a:lnTo>
                  <a:lnTo>
                    <a:pt x="5130" y="624"/>
                  </a:lnTo>
                  <a:lnTo>
                    <a:pt x="5127" y="627"/>
                  </a:lnTo>
                  <a:lnTo>
                    <a:pt x="5124" y="631"/>
                  </a:lnTo>
                  <a:lnTo>
                    <a:pt x="5117" y="637"/>
                  </a:lnTo>
                  <a:lnTo>
                    <a:pt x="5110" y="644"/>
                  </a:lnTo>
                  <a:lnTo>
                    <a:pt x="5103" y="649"/>
                  </a:lnTo>
                  <a:lnTo>
                    <a:pt x="5087" y="660"/>
                  </a:lnTo>
                  <a:lnTo>
                    <a:pt x="5079" y="665"/>
                  </a:lnTo>
                  <a:lnTo>
                    <a:pt x="5070" y="669"/>
                  </a:lnTo>
                  <a:lnTo>
                    <a:pt x="5061" y="673"/>
                  </a:lnTo>
                  <a:lnTo>
                    <a:pt x="5052" y="676"/>
                  </a:lnTo>
                  <a:lnTo>
                    <a:pt x="5042" y="679"/>
                  </a:lnTo>
                  <a:lnTo>
                    <a:pt x="5032" y="682"/>
                  </a:lnTo>
                  <a:lnTo>
                    <a:pt x="5022" y="684"/>
                  </a:lnTo>
                  <a:lnTo>
                    <a:pt x="5011" y="685"/>
                  </a:lnTo>
                  <a:lnTo>
                    <a:pt x="5000" y="686"/>
                  </a:lnTo>
                  <a:lnTo>
                    <a:pt x="4989" y="686"/>
                  </a:lnTo>
                  <a:lnTo>
                    <a:pt x="4977" y="686"/>
                  </a:lnTo>
                  <a:lnTo>
                    <a:pt x="4965" y="685"/>
                  </a:lnTo>
                  <a:lnTo>
                    <a:pt x="4954" y="684"/>
                  </a:lnTo>
                  <a:lnTo>
                    <a:pt x="4942" y="682"/>
                  </a:lnTo>
                  <a:lnTo>
                    <a:pt x="4931" y="679"/>
                  </a:lnTo>
                  <a:lnTo>
                    <a:pt x="4921" y="676"/>
                  </a:lnTo>
                  <a:lnTo>
                    <a:pt x="4910" y="672"/>
                  </a:lnTo>
                  <a:lnTo>
                    <a:pt x="4900" y="668"/>
                  </a:lnTo>
                  <a:lnTo>
                    <a:pt x="4890" y="663"/>
                  </a:lnTo>
                  <a:lnTo>
                    <a:pt x="4880" y="658"/>
                  </a:lnTo>
                  <a:lnTo>
                    <a:pt x="4871" y="653"/>
                  </a:lnTo>
                  <a:lnTo>
                    <a:pt x="4862" y="647"/>
                  </a:lnTo>
                  <a:lnTo>
                    <a:pt x="4853" y="640"/>
                  </a:lnTo>
                  <a:lnTo>
                    <a:pt x="4845" y="633"/>
                  </a:lnTo>
                  <a:lnTo>
                    <a:pt x="4837" y="626"/>
                  </a:lnTo>
                  <a:lnTo>
                    <a:pt x="4829" y="618"/>
                  </a:lnTo>
                  <a:lnTo>
                    <a:pt x="4822" y="610"/>
                  </a:lnTo>
                  <a:lnTo>
                    <a:pt x="4815" y="602"/>
                  </a:lnTo>
                  <a:lnTo>
                    <a:pt x="4808" y="593"/>
                  </a:lnTo>
                  <a:lnTo>
                    <a:pt x="4802" y="584"/>
                  </a:lnTo>
                  <a:lnTo>
                    <a:pt x="4796" y="575"/>
                  </a:lnTo>
                  <a:lnTo>
                    <a:pt x="4791" y="565"/>
                  </a:lnTo>
                  <a:lnTo>
                    <a:pt x="4786" y="555"/>
                  </a:lnTo>
                  <a:lnTo>
                    <a:pt x="4782" y="545"/>
                  </a:lnTo>
                  <a:lnTo>
                    <a:pt x="4778" y="534"/>
                  </a:lnTo>
                  <a:lnTo>
                    <a:pt x="4775" y="523"/>
                  </a:lnTo>
                  <a:lnTo>
                    <a:pt x="4772" y="512"/>
                  </a:lnTo>
                  <a:lnTo>
                    <a:pt x="4770" y="501"/>
                  </a:lnTo>
                  <a:lnTo>
                    <a:pt x="4768" y="489"/>
                  </a:lnTo>
                  <a:lnTo>
                    <a:pt x="4766" y="478"/>
                  </a:lnTo>
                  <a:lnTo>
                    <a:pt x="4765" y="466"/>
                  </a:lnTo>
                  <a:lnTo>
                    <a:pt x="4765" y="453"/>
                  </a:lnTo>
                  <a:lnTo>
                    <a:pt x="4765" y="441"/>
                  </a:lnTo>
                  <a:lnTo>
                    <a:pt x="4766" y="429"/>
                  </a:lnTo>
                  <a:lnTo>
                    <a:pt x="4768" y="417"/>
                  </a:lnTo>
                  <a:lnTo>
                    <a:pt x="4770" y="406"/>
                  </a:lnTo>
                  <a:lnTo>
                    <a:pt x="4772" y="395"/>
                  </a:lnTo>
                  <a:lnTo>
                    <a:pt x="4773" y="389"/>
                  </a:lnTo>
                  <a:lnTo>
                    <a:pt x="4775" y="384"/>
                  </a:lnTo>
                  <a:lnTo>
                    <a:pt x="4778" y="373"/>
                  </a:lnTo>
                  <a:lnTo>
                    <a:pt x="4782" y="362"/>
                  </a:lnTo>
                  <a:lnTo>
                    <a:pt x="4786" y="352"/>
                  </a:lnTo>
                  <a:lnTo>
                    <a:pt x="4791" y="342"/>
                  </a:lnTo>
                  <a:lnTo>
                    <a:pt x="4796" y="332"/>
                  </a:lnTo>
                  <a:lnTo>
                    <a:pt x="4802" y="323"/>
                  </a:lnTo>
                  <a:lnTo>
                    <a:pt x="4808" y="314"/>
                  </a:lnTo>
                  <a:lnTo>
                    <a:pt x="4815" y="305"/>
                  </a:lnTo>
                  <a:lnTo>
                    <a:pt x="4822" y="297"/>
                  </a:lnTo>
                  <a:lnTo>
                    <a:pt x="4829" y="289"/>
                  </a:lnTo>
                  <a:lnTo>
                    <a:pt x="4837" y="281"/>
                  </a:lnTo>
                  <a:lnTo>
                    <a:pt x="4845" y="274"/>
                  </a:lnTo>
                  <a:lnTo>
                    <a:pt x="4849" y="270"/>
                  </a:lnTo>
                  <a:lnTo>
                    <a:pt x="4853" y="267"/>
                  </a:lnTo>
                  <a:lnTo>
                    <a:pt x="4862" y="260"/>
                  </a:lnTo>
                  <a:lnTo>
                    <a:pt x="4871" y="254"/>
                  </a:lnTo>
                  <a:lnTo>
                    <a:pt x="4880" y="249"/>
                  </a:lnTo>
                  <a:lnTo>
                    <a:pt x="4890" y="244"/>
                  </a:lnTo>
                  <a:lnTo>
                    <a:pt x="4900" y="239"/>
                  </a:lnTo>
                  <a:lnTo>
                    <a:pt x="4910" y="235"/>
                  </a:lnTo>
                  <a:lnTo>
                    <a:pt x="4921" y="231"/>
                  </a:lnTo>
                  <a:lnTo>
                    <a:pt x="4931" y="228"/>
                  </a:lnTo>
                  <a:lnTo>
                    <a:pt x="4942" y="226"/>
                  </a:lnTo>
                  <a:lnTo>
                    <a:pt x="4954" y="224"/>
                  </a:lnTo>
                  <a:lnTo>
                    <a:pt x="4965" y="222"/>
                  </a:lnTo>
                  <a:lnTo>
                    <a:pt x="4977" y="221"/>
                  </a:lnTo>
                  <a:lnTo>
                    <a:pt x="4989" y="221"/>
                  </a:lnTo>
                  <a:lnTo>
                    <a:pt x="5000" y="221"/>
                  </a:lnTo>
                  <a:lnTo>
                    <a:pt x="5011" y="222"/>
                  </a:lnTo>
                  <a:lnTo>
                    <a:pt x="5022" y="223"/>
                  </a:lnTo>
                  <a:lnTo>
                    <a:pt x="5032" y="225"/>
                  </a:lnTo>
                  <a:lnTo>
                    <a:pt x="5042" y="228"/>
                  </a:lnTo>
                  <a:lnTo>
                    <a:pt x="5052" y="230"/>
                  </a:lnTo>
                  <a:lnTo>
                    <a:pt x="5061" y="234"/>
                  </a:lnTo>
                  <a:lnTo>
                    <a:pt x="5070" y="238"/>
                  </a:lnTo>
                  <a:lnTo>
                    <a:pt x="5079" y="242"/>
                  </a:lnTo>
                  <a:lnTo>
                    <a:pt x="5087" y="246"/>
                  </a:lnTo>
                  <a:lnTo>
                    <a:pt x="5095" y="251"/>
                  </a:lnTo>
                  <a:lnTo>
                    <a:pt x="5099" y="254"/>
                  </a:lnTo>
                  <a:lnTo>
                    <a:pt x="5102" y="257"/>
                  </a:lnTo>
                  <a:lnTo>
                    <a:pt x="5110" y="263"/>
                  </a:lnTo>
                  <a:lnTo>
                    <a:pt x="5117" y="269"/>
                  </a:lnTo>
                  <a:lnTo>
                    <a:pt x="5123" y="275"/>
                  </a:lnTo>
                  <a:lnTo>
                    <a:pt x="5130" y="282"/>
                  </a:lnTo>
                  <a:lnTo>
                    <a:pt x="5130" y="230"/>
                  </a:lnTo>
                  <a:lnTo>
                    <a:pt x="5219" y="230"/>
                  </a:lnTo>
                  <a:lnTo>
                    <a:pt x="5219" y="677"/>
                  </a:lnTo>
                  <a:close/>
                  <a:moveTo>
                    <a:pt x="4372" y="408"/>
                  </a:moveTo>
                  <a:lnTo>
                    <a:pt x="4372" y="676"/>
                  </a:lnTo>
                  <a:lnTo>
                    <a:pt x="4283" y="676"/>
                  </a:lnTo>
                  <a:lnTo>
                    <a:pt x="4283" y="409"/>
                  </a:lnTo>
                  <a:lnTo>
                    <a:pt x="4282" y="391"/>
                  </a:lnTo>
                  <a:lnTo>
                    <a:pt x="4282" y="382"/>
                  </a:lnTo>
                  <a:lnTo>
                    <a:pt x="4281" y="374"/>
                  </a:lnTo>
                  <a:lnTo>
                    <a:pt x="4278" y="360"/>
                  </a:lnTo>
                  <a:lnTo>
                    <a:pt x="4275" y="348"/>
                  </a:lnTo>
                  <a:lnTo>
                    <a:pt x="4271" y="337"/>
                  </a:lnTo>
                  <a:lnTo>
                    <a:pt x="4266" y="328"/>
                  </a:lnTo>
                  <a:lnTo>
                    <a:pt x="4261" y="320"/>
                  </a:lnTo>
                  <a:lnTo>
                    <a:pt x="4255" y="314"/>
                  </a:lnTo>
                  <a:lnTo>
                    <a:pt x="4249" y="309"/>
                  </a:lnTo>
                  <a:lnTo>
                    <a:pt x="4243" y="305"/>
                  </a:lnTo>
                  <a:lnTo>
                    <a:pt x="4237" y="302"/>
                  </a:lnTo>
                  <a:lnTo>
                    <a:pt x="4231" y="300"/>
                  </a:lnTo>
                  <a:lnTo>
                    <a:pt x="4225" y="298"/>
                  </a:lnTo>
                  <a:lnTo>
                    <a:pt x="4220" y="297"/>
                  </a:lnTo>
                  <a:lnTo>
                    <a:pt x="4214" y="297"/>
                  </a:lnTo>
                  <a:lnTo>
                    <a:pt x="4210" y="297"/>
                  </a:lnTo>
                  <a:lnTo>
                    <a:pt x="4206" y="297"/>
                  </a:lnTo>
                  <a:lnTo>
                    <a:pt x="4201" y="297"/>
                  </a:lnTo>
                  <a:lnTo>
                    <a:pt x="4195" y="298"/>
                  </a:lnTo>
                  <a:lnTo>
                    <a:pt x="4189" y="299"/>
                  </a:lnTo>
                  <a:lnTo>
                    <a:pt x="4183" y="301"/>
                  </a:lnTo>
                  <a:lnTo>
                    <a:pt x="4176" y="304"/>
                  </a:lnTo>
                  <a:lnTo>
                    <a:pt x="4169" y="308"/>
                  </a:lnTo>
                  <a:lnTo>
                    <a:pt x="4163" y="313"/>
                  </a:lnTo>
                  <a:lnTo>
                    <a:pt x="4156" y="320"/>
                  </a:lnTo>
                  <a:lnTo>
                    <a:pt x="4150" y="327"/>
                  </a:lnTo>
                  <a:lnTo>
                    <a:pt x="4147" y="332"/>
                  </a:lnTo>
                  <a:lnTo>
                    <a:pt x="4144" y="337"/>
                  </a:lnTo>
                  <a:lnTo>
                    <a:pt x="4142" y="342"/>
                  </a:lnTo>
                  <a:lnTo>
                    <a:pt x="4139" y="348"/>
                  </a:lnTo>
                  <a:lnTo>
                    <a:pt x="4137" y="354"/>
                  </a:lnTo>
                  <a:lnTo>
                    <a:pt x="4135" y="361"/>
                  </a:lnTo>
                  <a:lnTo>
                    <a:pt x="4134" y="368"/>
                  </a:lnTo>
                  <a:lnTo>
                    <a:pt x="4132" y="375"/>
                  </a:lnTo>
                  <a:lnTo>
                    <a:pt x="4130" y="392"/>
                  </a:lnTo>
                  <a:lnTo>
                    <a:pt x="4130" y="402"/>
                  </a:lnTo>
                  <a:lnTo>
                    <a:pt x="4129" y="412"/>
                  </a:lnTo>
                  <a:lnTo>
                    <a:pt x="4129" y="676"/>
                  </a:lnTo>
                  <a:lnTo>
                    <a:pt x="4040" y="676"/>
                  </a:lnTo>
                  <a:lnTo>
                    <a:pt x="4040" y="409"/>
                  </a:lnTo>
                  <a:lnTo>
                    <a:pt x="4040" y="391"/>
                  </a:lnTo>
                  <a:lnTo>
                    <a:pt x="4039" y="382"/>
                  </a:lnTo>
                  <a:lnTo>
                    <a:pt x="4038" y="374"/>
                  </a:lnTo>
                  <a:lnTo>
                    <a:pt x="4036" y="360"/>
                  </a:lnTo>
                  <a:lnTo>
                    <a:pt x="4032" y="348"/>
                  </a:lnTo>
                  <a:lnTo>
                    <a:pt x="4028" y="337"/>
                  </a:lnTo>
                  <a:lnTo>
                    <a:pt x="4023" y="328"/>
                  </a:lnTo>
                  <a:lnTo>
                    <a:pt x="4018" y="320"/>
                  </a:lnTo>
                  <a:lnTo>
                    <a:pt x="4012" y="314"/>
                  </a:lnTo>
                  <a:lnTo>
                    <a:pt x="4007" y="309"/>
                  </a:lnTo>
                  <a:lnTo>
                    <a:pt x="4001" y="305"/>
                  </a:lnTo>
                  <a:lnTo>
                    <a:pt x="3994" y="302"/>
                  </a:lnTo>
                  <a:lnTo>
                    <a:pt x="3988" y="300"/>
                  </a:lnTo>
                  <a:lnTo>
                    <a:pt x="3983" y="298"/>
                  </a:lnTo>
                  <a:lnTo>
                    <a:pt x="3977" y="297"/>
                  </a:lnTo>
                  <a:lnTo>
                    <a:pt x="3972" y="297"/>
                  </a:lnTo>
                  <a:lnTo>
                    <a:pt x="3967" y="297"/>
                  </a:lnTo>
                  <a:lnTo>
                    <a:pt x="3963" y="297"/>
                  </a:lnTo>
                  <a:lnTo>
                    <a:pt x="3959" y="297"/>
                  </a:lnTo>
                  <a:lnTo>
                    <a:pt x="3953" y="298"/>
                  </a:lnTo>
                  <a:lnTo>
                    <a:pt x="3947" y="299"/>
                  </a:lnTo>
                  <a:lnTo>
                    <a:pt x="3941" y="301"/>
                  </a:lnTo>
                  <a:lnTo>
                    <a:pt x="3934" y="304"/>
                  </a:lnTo>
                  <a:lnTo>
                    <a:pt x="3928" y="308"/>
                  </a:lnTo>
                  <a:lnTo>
                    <a:pt x="3921" y="313"/>
                  </a:lnTo>
                  <a:lnTo>
                    <a:pt x="3915" y="320"/>
                  </a:lnTo>
                  <a:lnTo>
                    <a:pt x="3909" y="327"/>
                  </a:lnTo>
                  <a:lnTo>
                    <a:pt x="3906" y="332"/>
                  </a:lnTo>
                  <a:lnTo>
                    <a:pt x="3903" y="337"/>
                  </a:lnTo>
                  <a:lnTo>
                    <a:pt x="3898" y="348"/>
                  </a:lnTo>
                  <a:lnTo>
                    <a:pt x="3894" y="361"/>
                  </a:lnTo>
                  <a:lnTo>
                    <a:pt x="3893" y="368"/>
                  </a:lnTo>
                  <a:lnTo>
                    <a:pt x="3891" y="375"/>
                  </a:lnTo>
                  <a:lnTo>
                    <a:pt x="3889" y="392"/>
                  </a:lnTo>
                  <a:lnTo>
                    <a:pt x="3889" y="402"/>
                  </a:lnTo>
                  <a:lnTo>
                    <a:pt x="3889" y="412"/>
                  </a:lnTo>
                  <a:lnTo>
                    <a:pt x="3889" y="676"/>
                  </a:lnTo>
                  <a:lnTo>
                    <a:pt x="3800" y="676"/>
                  </a:lnTo>
                  <a:lnTo>
                    <a:pt x="3800" y="230"/>
                  </a:lnTo>
                  <a:lnTo>
                    <a:pt x="3885" y="230"/>
                  </a:lnTo>
                  <a:lnTo>
                    <a:pt x="3885" y="281"/>
                  </a:lnTo>
                  <a:lnTo>
                    <a:pt x="3890" y="272"/>
                  </a:lnTo>
                  <a:lnTo>
                    <a:pt x="3895" y="264"/>
                  </a:lnTo>
                  <a:lnTo>
                    <a:pt x="3901" y="258"/>
                  </a:lnTo>
                  <a:lnTo>
                    <a:pt x="3907" y="251"/>
                  </a:lnTo>
                  <a:lnTo>
                    <a:pt x="3914" y="246"/>
                  </a:lnTo>
                  <a:lnTo>
                    <a:pt x="3921" y="241"/>
                  </a:lnTo>
                  <a:lnTo>
                    <a:pt x="3928" y="237"/>
                  </a:lnTo>
                  <a:lnTo>
                    <a:pt x="3935" y="233"/>
                  </a:lnTo>
                  <a:lnTo>
                    <a:pt x="3942" y="230"/>
                  </a:lnTo>
                  <a:lnTo>
                    <a:pt x="3950" y="227"/>
                  </a:lnTo>
                  <a:lnTo>
                    <a:pt x="3964" y="224"/>
                  </a:lnTo>
                  <a:lnTo>
                    <a:pt x="3971" y="222"/>
                  </a:lnTo>
                  <a:lnTo>
                    <a:pt x="3978" y="221"/>
                  </a:lnTo>
                  <a:lnTo>
                    <a:pt x="3990" y="221"/>
                  </a:lnTo>
                  <a:lnTo>
                    <a:pt x="4000" y="221"/>
                  </a:lnTo>
                  <a:lnTo>
                    <a:pt x="4008" y="222"/>
                  </a:lnTo>
                  <a:lnTo>
                    <a:pt x="4017" y="223"/>
                  </a:lnTo>
                  <a:lnTo>
                    <a:pt x="4026" y="225"/>
                  </a:lnTo>
                  <a:lnTo>
                    <a:pt x="4034" y="228"/>
                  </a:lnTo>
                  <a:lnTo>
                    <a:pt x="4042" y="231"/>
                  </a:lnTo>
                  <a:lnTo>
                    <a:pt x="4050" y="234"/>
                  </a:lnTo>
                  <a:lnTo>
                    <a:pt x="4057" y="238"/>
                  </a:lnTo>
                  <a:lnTo>
                    <a:pt x="4064" y="243"/>
                  </a:lnTo>
                  <a:lnTo>
                    <a:pt x="4071" y="248"/>
                  </a:lnTo>
                  <a:lnTo>
                    <a:pt x="4078" y="254"/>
                  </a:lnTo>
                  <a:lnTo>
                    <a:pt x="4084" y="261"/>
                  </a:lnTo>
                  <a:lnTo>
                    <a:pt x="4090" y="268"/>
                  </a:lnTo>
                  <a:lnTo>
                    <a:pt x="4096" y="275"/>
                  </a:lnTo>
                  <a:lnTo>
                    <a:pt x="4101" y="283"/>
                  </a:lnTo>
                  <a:lnTo>
                    <a:pt x="4105" y="292"/>
                  </a:lnTo>
                  <a:lnTo>
                    <a:pt x="4111" y="282"/>
                  </a:lnTo>
                  <a:lnTo>
                    <a:pt x="4118" y="273"/>
                  </a:lnTo>
                  <a:lnTo>
                    <a:pt x="4125" y="265"/>
                  </a:lnTo>
                  <a:lnTo>
                    <a:pt x="4133" y="257"/>
                  </a:lnTo>
                  <a:lnTo>
                    <a:pt x="4140" y="251"/>
                  </a:lnTo>
                  <a:lnTo>
                    <a:pt x="4148" y="245"/>
                  </a:lnTo>
                  <a:lnTo>
                    <a:pt x="4157" y="240"/>
                  </a:lnTo>
                  <a:lnTo>
                    <a:pt x="4165" y="235"/>
                  </a:lnTo>
                  <a:lnTo>
                    <a:pt x="4174" y="232"/>
                  </a:lnTo>
                  <a:lnTo>
                    <a:pt x="4182" y="229"/>
                  </a:lnTo>
                  <a:lnTo>
                    <a:pt x="4191" y="226"/>
                  </a:lnTo>
                  <a:lnTo>
                    <a:pt x="4199" y="224"/>
                  </a:lnTo>
                  <a:lnTo>
                    <a:pt x="4207" y="223"/>
                  </a:lnTo>
                  <a:lnTo>
                    <a:pt x="4214" y="222"/>
                  </a:lnTo>
                  <a:lnTo>
                    <a:pt x="4228" y="221"/>
                  </a:lnTo>
                  <a:lnTo>
                    <a:pt x="4241" y="221"/>
                  </a:lnTo>
                  <a:lnTo>
                    <a:pt x="4254" y="223"/>
                  </a:lnTo>
                  <a:lnTo>
                    <a:pt x="4267" y="225"/>
                  </a:lnTo>
                  <a:lnTo>
                    <a:pt x="4280" y="229"/>
                  </a:lnTo>
                  <a:lnTo>
                    <a:pt x="4292" y="234"/>
                  </a:lnTo>
                  <a:lnTo>
                    <a:pt x="4298" y="237"/>
                  </a:lnTo>
                  <a:lnTo>
                    <a:pt x="4304" y="241"/>
                  </a:lnTo>
                  <a:lnTo>
                    <a:pt x="4310" y="244"/>
                  </a:lnTo>
                  <a:lnTo>
                    <a:pt x="4316" y="249"/>
                  </a:lnTo>
                  <a:lnTo>
                    <a:pt x="4321" y="253"/>
                  </a:lnTo>
                  <a:lnTo>
                    <a:pt x="4327" y="258"/>
                  </a:lnTo>
                  <a:lnTo>
                    <a:pt x="4332" y="264"/>
                  </a:lnTo>
                  <a:lnTo>
                    <a:pt x="4337" y="270"/>
                  </a:lnTo>
                  <a:lnTo>
                    <a:pt x="4341" y="276"/>
                  </a:lnTo>
                  <a:lnTo>
                    <a:pt x="4346" y="283"/>
                  </a:lnTo>
                  <a:lnTo>
                    <a:pt x="4350" y="290"/>
                  </a:lnTo>
                  <a:lnTo>
                    <a:pt x="4354" y="298"/>
                  </a:lnTo>
                  <a:lnTo>
                    <a:pt x="4357" y="307"/>
                  </a:lnTo>
                  <a:lnTo>
                    <a:pt x="4360" y="316"/>
                  </a:lnTo>
                  <a:lnTo>
                    <a:pt x="4363" y="325"/>
                  </a:lnTo>
                  <a:lnTo>
                    <a:pt x="4366" y="335"/>
                  </a:lnTo>
                  <a:lnTo>
                    <a:pt x="4368" y="346"/>
                  </a:lnTo>
                  <a:lnTo>
                    <a:pt x="4370" y="357"/>
                  </a:lnTo>
                  <a:lnTo>
                    <a:pt x="4371" y="369"/>
                  </a:lnTo>
                  <a:lnTo>
                    <a:pt x="4372" y="381"/>
                  </a:lnTo>
                  <a:lnTo>
                    <a:pt x="4372" y="394"/>
                  </a:lnTo>
                  <a:lnTo>
                    <a:pt x="4372" y="408"/>
                  </a:lnTo>
                  <a:close/>
                  <a:moveTo>
                    <a:pt x="3177" y="685"/>
                  </a:moveTo>
                  <a:lnTo>
                    <a:pt x="3165" y="685"/>
                  </a:lnTo>
                  <a:lnTo>
                    <a:pt x="3153" y="684"/>
                  </a:lnTo>
                  <a:lnTo>
                    <a:pt x="3142" y="683"/>
                  </a:lnTo>
                  <a:lnTo>
                    <a:pt x="3130" y="681"/>
                  </a:lnTo>
                  <a:lnTo>
                    <a:pt x="3119" y="678"/>
                  </a:lnTo>
                  <a:lnTo>
                    <a:pt x="3108" y="675"/>
                  </a:lnTo>
                  <a:lnTo>
                    <a:pt x="3097" y="671"/>
                  </a:lnTo>
                  <a:lnTo>
                    <a:pt x="3087" y="667"/>
                  </a:lnTo>
                  <a:lnTo>
                    <a:pt x="3076" y="663"/>
                  </a:lnTo>
                  <a:lnTo>
                    <a:pt x="3066" y="658"/>
                  </a:lnTo>
                  <a:lnTo>
                    <a:pt x="3057" y="652"/>
                  </a:lnTo>
                  <a:lnTo>
                    <a:pt x="3047" y="646"/>
                  </a:lnTo>
                  <a:lnTo>
                    <a:pt x="3038" y="639"/>
                  </a:lnTo>
                  <a:lnTo>
                    <a:pt x="3029" y="633"/>
                  </a:lnTo>
                  <a:lnTo>
                    <a:pt x="3021" y="625"/>
                  </a:lnTo>
                  <a:lnTo>
                    <a:pt x="3013" y="618"/>
                  </a:lnTo>
                  <a:lnTo>
                    <a:pt x="3005" y="610"/>
                  </a:lnTo>
                  <a:lnTo>
                    <a:pt x="2998" y="601"/>
                  </a:lnTo>
                  <a:lnTo>
                    <a:pt x="2991" y="592"/>
                  </a:lnTo>
                  <a:lnTo>
                    <a:pt x="2985" y="583"/>
                  </a:lnTo>
                  <a:lnTo>
                    <a:pt x="2979" y="574"/>
                  </a:lnTo>
                  <a:lnTo>
                    <a:pt x="2973" y="564"/>
                  </a:lnTo>
                  <a:lnTo>
                    <a:pt x="2968" y="554"/>
                  </a:lnTo>
                  <a:lnTo>
                    <a:pt x="2963" y="544"/>
                  </a:lnTo>
                  <a:lnTo>
                    <a:pt x="2959" y="533"/>
                  </a:lnTo>
                  <a:lnTo>
                    <a:pt x="2956" y="523"/>
                  </a:lnTo>
                  <a:lnTo>
                    <a:pt x="2952" y="512"/>
                  </a:lnTo>
                  <a:lnTo>
                    <a:pt x="2950" y="500"/>
                  </a:lnTo>
                  <a:lnTo>
                    <a:pt x="2948" y="489"/>
                  </a:lnTo>
                  <a:lnTo>
                    <a:pt x="2946" y="477"/>
                  </a:lnTo>
                  <a:lnTo>
                    <a:pt x="2945" y="466"/>
                  </a:lnTo>
                  <a:lnTo>
                    <a:pt x="2945" y="453"/>
                  </a:lnTo>
                  <a:lnTo>
                    <a:pt x="2945" y="441"/>
                  </a:lnTo>
                  <a:lnTo>
                    <a:pt x="2946" y="429"/>
                  </a:lnTo>
                  <a:lnTo>
                    <a:pt x="2948" y="417"/>
                  </a:lnTo>
                  <a:lnTo>
                    <a:pt x="2950" y="406"/>
                  </a:lnTo>
                  <a:lnTo>
                    <a:pt x="2952" y="395"/>
                  </a:lnTo>
                  <a:lnTo>
                    <a:pt x="2956" y="384"/>
                  </a:lnTo>
                  <a:lnTo>
                    <a:pt x="2959" y="373"/>
                  </a:lnTo>
                  <a:lnTo>
                    <a:pt x="2963" y="362"/>
                  </a:lnTo>
                  <a:lnTo>
                    <a:pt x="2968" y="352"/>
                  </a:lnTo>
                  <a:lnTo>
                    <a:pt x="2973" y="342"/>
                  </a:lnTo>
                  <a:lnTo>
                    <a:pt x="2979" y="332"/>
                  </a:lnTo>
                  <a:lnTo>
                    <a:pt x="2985" y="323"/>
                  </a:lnTo>
                  <a:lnTo>
                    <a:pt x="2991" y="314"/>
                  </a:lnTo>
                  <a:lnTo>
                    <a:pt x="2998" y="305"/>
                  </a:lnTo>
                  <a:lnTo>
                    <a:pt x="3005" y="297"/>
                  </a:lnTo>
                  <a:lnTo>
                    <a:pt x="3013" y="289"/>
                  </a:lnTo>
                  <a:lnTo>
                    <a:pt x="3021" y="281"/>
                  </a:lnTo>
                  <a:lnTo>
                    <a:pt x="3029" y="274"/>
                  </a:lnTo>
                  <a:lnTo>
                    <a:pt x="3038" y="267"/>
                  </a:lnTo>
                  <a:lnTo>
                    <a:pt x="3047" y="260"/>
                  </a:lnTo>
                  <a:lnTo>
                    <a:pt x="3057" y="254"/>
                  </a:lnTo>
                  <a:lnTo>
                    <a:pt x="3066" y="249"/>
                  </a:lnTo>
                  <a:lnTo>
                    <a:pt x="3076" y="244"/>
                  </a:lnTo>
                  <a:lnTo>
                    <a:pt x="3087" y="239"/>
                  </a:lnTo>
                  <a:lnTo>
                    <a:pt x="3097" y="235"/>
                  </a:lnTo>
                  <a:lnTo>
                    <a:pt x="3108" y="231"/>
                  </a:lnTo>
                  <a:lnTo>
                    <a:pt x="3119" y="228"/>
                  </a:lnTo>
                  <a:lnTo>
                    <a:pt x="3130" y="226"/>
                  </a:lnTo>
                  <a:lnTo>
                    <a:pt x="3142" y="224"/>
                  </a:lnTo>
                  <a:lnTo>
                    <a:pt x="3153" y="222"/>
                  </a:lnTo>
                  <a:lnTo>
                    <a:pt x="3165" y="221"/>
                  </a:lnTo>
                  <a:lnTo>
                    <a:pt x="3177" y="221"/>
                  </a:lnTo>
                  <a:lnTo>
                    <a:pt x="3189" y="221"/>
                  </a:lnTo>
                  <a:lnTo>
                    <a:pt x="3201" y="222"/>
                  </a:lnTo>
                  <a:lnTo>
                    <a:pt x="3212" y="224"/>
                  </a:lnTo>
                  <a:lnTo>
                    <a:pt x="3224" y="226"/>
                  </a:lnTo>
                  <a:lnTo>
                    <a:pt x="3235" y="228"/>
                  </a:lnTo>
                  <a:lnTo>
                    <a:pt x="3246" y="231"/>
                  </a:lnTo>
                  <a:lnTo>
                    <a:pt x="3257" y="235"/>
                  </a:lnTo>
                  <a:lnTo>
                    <a:pt x="3267" y="239"/>
                  </a:lnTo>
                  <a:lnTo>
                    <a:pt x="3278" y="244"/>
                  </a:lnTo>
                  <a:lnTo>
                    <a:pt x="3288" y="249"/>
                  </a:lnTo>
                  <a:lnTo>
                    <a:pt x="3297" y="254"/>
                  </a:lnTo>
                  <a:lnTo>
                    <a:pt x="3307" y="260"/>
                  </a:lnTo>
                  <a:lnTo>
                    <a:pt x="3316" y="267"/>
                  </a:lnTo>
                  <a:lnTo>
                    <a:pt x="3325" y="274"/>
                  </a:lnTo>
                  <a:lnTo>
                    <a:pt x="3333" y="281"/>
                  </a:lnTo>
                  <a:lnTo>
                    <a:pt x="3341" y="289"/>
                  </a:lnTo>
                  <a:lnTo>
                    <a:pt x="3349" y="297"/>
                  </a:lnTo>
                  <a:lnTo>
                    <a:pt x="3356" y="305"/>
                  </a:lnTo>
                  <a:lnTo>
                    <a:pt x="3363" y="314"/>
                  </a:lnTo>
                  <a:lnTo>
                    <a:pt x="3369" y="323"/>
                  </a:lnTo>
                  <a:lnTo>
                    <a:pt x="3375" y="332"/>
                  </a:lnTo>
                  <a:lnTo>
                    <a:pt x="3381" y="342"/>
                  </a:lnTo>
                  <a:lnTo>
                    <a:pt x="3386" y="352"/>
                  </a:lnTo>
                  <a:lnTo>
                    <a:pt x="3391" y="362"/>
                  </a:lnTo>
                  <a:lnTo>
                    <a:pt x="3395" y="373"/>
                  </a:lnTo>
                  <a:lnTo>
                    <a:pt x="3398" y="384"/>
                  </a:lnTo>
                  <a:lnTo>
                    <a:pt x="3401" y="395"/>
                  </a:lnTo>
                  <a:lnTo>
                    <a:pt x="3404" y="406"/>
                  </a:lnTo>
                  <a:lnTo>
                    <a:pt x="3406" y="417"/>
                  </a:lnTo>
                  <a:lnTo>
                    <a:pt x="3408" y="429"/>
                  </a:lnTo>
                  <a:lnTo>
                    <a:pt x="3408" y="441"/>
                  </a:lnTo>
                  <a:lnTo>
                    <a:pt x="3409" y="453"/>
                  </a:lnTo>
                  <a:lnTo>
                    <a:pt x="3408" y="466"/>
                  </a:lnTo>
                  <a:lnTo>
                    <a:pt x="3408" y="477"/>
                  </a:lnTo>
                  <a:lnTo>
                    <a:pt x="3406" y="489"/>
                  </a:lnTo>
                  <a:lnTo>
                    <a:pt x="3404" y="500"/>
                  </a:lnTo>
                  <a:lnTo>
                    <a:pt x="3401" y="512"/>
                  </a:lnTo>
                  <a:lnTo>
                    <a:pt x="3398" y="523"/>
                  </a:lnTo>
                  <a:lnTo>
                    <a:pt x="3395" y="533"/>
                  </a:lnTo>
                  <a:lnTo>
                    <a:pt x="3391" y="544"/>
                  </a:lnTo>
                  <a:lnTo>
                    <a:pt x="3386" y="554"/>
                  </a:lnTo>
                  <a:lnTo>
                    <a:pt x="3381" y="564"/>
                  </a:lnTo>
                  <a:lnTo>
                    <a:pt x="3375" y="574"/>
                  </a:lnTo>
                  <a:lnTo>
                    <a:pt x="3369" y="583"/>
                  </a:lnTo>
                  <a:lnTo>
                    <a:pt x="3363" y="592"/>
                  </a:lnTo>
                  <a:lnTo>
                    <a:pt x="3356" y="601"/>
                  </a:lnTo>
                  <a:lnTo>
                    <a:pt x="3349" y="610"/>
                  </a:lnTo>
                  <a:lnTo>
                    <a:pt x="3341" y="618"/>
                  </a:lnTo>
                  <a:lnTo>
                    <a:pt x="3333" y="625"/>
                  </a:lnTo>
                  <a:lnTo>
                    <a:pt x="3325" y="633"/>
                  </a:lnTo>
                  <a:lnTo>
                    <a:pt x="3316" y="639"/>
                  </a:lnTo>
                  <a:lnTo>
                    <a:pt x="3307" y="646"/>
                  </a:lnTo>
                  <a:lnTo>
                    <a:pt x="3297" y="652"/>
                  </a:lnTo>
                  <a:lnTo>
                    <a:pt x="3288" y="658"/>
                  </a:lnTo>
                  <a:lnTo>
                    <a:pt x="3278" y="663"/>
                  </a:lnTo>
                  <a:lnTo>
                    <a:pt x="3267" y="667"/>
                  </a:lnTo>
                  <a:lnTo>
                    <a:pt x="3257" y="671"/>
                  </a:lnTo>
                  <a:lnTo>
                    <a:pt x="3246" y="675"/>
                  </a:lnTo>
                  <a:lnTo>
                    <a:pt x="3235" y="678"/>
                  </a:lnTo>
                  <a:lnTo>
                    <a:pt x="3224" y="681"/>
                  </a:lnTo>
                  <a:lnTo>
                    <a:pt x="3212" y="683"/>
                  </a:lnTo>
                  <a:lnTo>
                    <a:pt x="3201" y="684"/>
                  </a:lnTo>
                  <a:lnTo>
                    <a:pt x="3189" y="685"/>
                  </a:lnTo>
                  <a:lnTo>
                    <a:pt x="3177" y="685"/>
                  </a:lnTo>
                  <a:close/>
                  <a:moveTo>
                    <a:pt x="2491" y="677"/>
                  </a:moveTo>
                  <a:lnTo>
                    <a:pt x="2402" y="677"/>
                  </a:lnTo>
                  <a:lnTo>
                    <a:pt x="2402" y="453"/>
                  </a:lnTo>
                  <a:lnTo>
                    <a:pt x="2402" y="444"/>
                  </a:lnTo>
                  <a:lnTo>
                    <a:pt x="2402" y="436"/>
                  </a:lnTo>
                  <a:lnTo>
                    <a:pt x="2401" y="428"/>
                  </a:lnTo>
                  <a:lnTo>
                    <a:pt x="2400" y="420"/>
                  </a:lnTo>
                  <a:lnTo>
                    <a:pt x="2398" y="412"/>
                  </a:lnTo>
                  <a:lnTo>
                    <a:pt x="2397" y="404"/>
                  </a:lnTo>
                  <a:lnTo>
                    <a:pt x="2395" y="397"/>
                  </a:lnTo>
                  <a:lnTo>
                    <a:pt x="2392" y="390"/>
                  </a:lnTo>
                  <a:lnTo>
                    <a:pt x="2390" y="383"/>
                  </a:lnTo>
                  <a:lnTo>
                    <a:pt x="2387" y="377"/>
                  </a:lnTo>
                  <a:lnTo>
                    <a:pt x="2381" y="364"/>
                  </a:lnTo>
                  <a:lnTo>
                    <a:pt x="2374" y="353"/>
                  </a:lnTo>
                  <a:lnTo>
                    <a:pt x="2370" y="347"/>
                  </a:lnTo>
                  <a:lnTo>
                    <a:pt x="2365" y="342"/>
                  </a:lnTo>
                  <a:lnTo>
                    <a:pt x="2361" y="337"/>
                  </a:lnTo>
                  <a:lnTo>
                    <a:pt x="2357" y="333"/>
                  </a:lnTo>
                  <a:lnTo>
                    <a:pt x="2347" y="325"/>
                  </a:lnTo>
                  <a:lnTo>
                    <a:pt x="2336" y="318"/>
                  </a:lnTo>
                  <a:lnTo>
                    <a:pt x="2331" y="314"/>
                  </a:lnTo>
                  <a:lnTo>
                    <a:pt x="2325" y="312"/>
                  </a:lnTo>
                  <a:lnTo>
                    <a:pt x="2319" y="309"/>
                  </a:lnTo>
                  <a:lnTo>
                    <a:pt x="2313" y="307"/>
                  </a:lnTo>
                  <a:lnTo>
                    <a:pt x="2307" y="305"/>
                  </a:lnTo>
                  <a:lnTo>
                    <a:pt x="2301" y="304"/>
                  </a:lnTo>
                  <a:lnTo>
                    <a:pt x="2295" y="303"/>
                  </a:lnTo>
                  <a:lnTo>
                    <a:pt x="2288" y="302"/>
                  </a:lnTo>
                  <a:lnTo>
                    <a:pt x="2275" y="301"/>
                  </a:lnTo>
                  <a:lnTo>
                    <a:pt x="2261" y="302"/>
                  </a:lnTo>
                  <a:lnTo>
                    <a:pt x="2254" y="303"/>
                  </a:lnTo>
                  <a:lnTo>
                    <a:pt x="2247" y="304"/>
                  </a:lnTo>
                  <a:lnTo>
                    <a:pt x="2234" y="307"/>
                  </a:lnTo>
                  <a:lnTo>
                    <a:pt x="2228" y="309"/>
                  </a:lnTo>
                  <a:lnTo>
                    <a:pt x="2222" y="312"/>
                  </a:lnTo>
                  <a:lnTo>
                    <a:pt x="2216" y="314"/>
                  </a:lnTo>
                  <a:lnTo>
                    <a:pt x="2210" y="318"/>
                  </a:lnTo>
                  <a:lnTo>
                    <a:pt x="2204" y="321"/>
                  </a:lnTo>
                  <a:lnTo>
                    <a:pt x="2198" y="325"/>
                  </a:lnTo>
                  <a:lnTo>
                    <a:pt x="2193" y="329"/>
                  </a:lnTo>
                  <a:lnTo>
                    <a:pt x="2188" y="333"/>
                  </a:lnTo>
                  <a:lnTo>
                    <a:pt x="2183" y="338"/>
                  </a:lnTo>
                  <a:lnTo>
                    <a:pt x="2178" y="343"/>
                  </a:lnTo>
                  <a:lnTo>
                    <a:pt x="2173" y="348"/>
                  </a:lnTo>
                  <a:lnTo>
                    <a:pt x="2169" y="354"/>
                  </a:lnTo>
                  <a:lnTo>
                    <a:pt x="2164" y="360"/>
                  </a:lnTo>
                  <a:lnTo>
                    <a:pt x="2160" y="366"/>
                  </a:lnTo>
                  <a:lnTo>
                    <a:pt x="2153" y="380"/>
                  </a:lnTo>
                  <a:lnTo>
                    <a:pt x="2150" y="387"/>
                  </a:lnTo>
                  <a:lnTo>
                    <a:pt x="2147" y="394"/>
                  </a:lnTo>
                  <a:lnTo>
                    <a:pt x="2142" y="410"/>
                  </a:lnTo>
                  <a:lnTo>
                    <a:pt x="2140" y="419"/>
                  </a:lnTo>
                  <a:lnTo>
                    <a:pt x="2139" y="427"/>
                  </a:lnTo>
                  <a:lnTo>
                    <a:pt x="2137" y="436"/>
                  </a:lnTo>
                  <a:lnTo>
                    <a:pt x="2137" y="446"/>
                  </a:lnTo>
                  <a:lnTo>
                    <a:pt x="2136" y="466"/>
                  </a:lnTo>
                  <a:lnTo>
                    <a:pt x="2136" y="677"/>
                  </a:lnTo>
                  <a:lnTo>
                    <a:pt x="2046" y="677"/>
                  </a:lnTo>
                  <a:lnTo>
                    <a:pt x="2046" y="230"/>
                  </a:lnTo>
                  <a:lnTo>
                    <a:pt x="2133" y="230"/>
                  </a:lnTo>
                  <a:lnTo>
                    <a:pt x="2133" y="306"/>
                  </a:lnTo>
                  <a:lnTo>
                    <a:pt x="2138" y="296"/>
                  </a:lnTo>
                  <a:lnTo>
                    <a:pt x="2144" y="287"/>
                  </a:lnTo>
                  <a:lnTo>
                    <a:pt x="2151" y="278"/>
                  </a:lnTo>
                  <a:lnTo>
                    <a:pt x="2159" y="270"/>
                  </a:lnTo>
                  <a:lnTo>
                    <a:pt x="2163" y="266"/>
                  </a:lnTo>
                  <a:lnTo>
                    <a:pt x="2167" y="262"/>
                  </a:lnTo>
                  <a:lnTo>
                    <a:pt x="2177" y="255"/>
                  </a:lnTo>
                  <a:lnTo>
                    <a:pt x="2186" y="249"/>
                  </a:lnTo>
                  <a:lnTo>
                    <a:pt x="2196" y="243"/>
                  </a:lnTo>
                  <a:lnTo>
                    <a:pt x="2207" y="238"/>
                  </a:lnTo>
                  <a:lnTo>
                    <a:pt x="2218" y="234"/>
                  </a:lnTo>
                  <a:lnTo>
                    <a:pt x="2229" y="230"/>
                  </a:lnTo>
                  <a:lnTo>
                    <a:pt x="2241" y="227"/>
                  </a:lnTo>
                  <a:lnTo>
                    <a:pt x="2253" y="224"/>
                  </a:lnTo>
                  <a:lnTo>
                    <a:pt x="2264" y="222"/>
                  </a:lnTo>
                  <a:lnTo>
                    <a:pt x="2276" y="221"/>
                  </a:lnTo>
                  <a:lnTo>
                    <a:pt x="2288" y="221"/>
                  </a:lnTo>
                  <a:lnTo>
                    <a:pt x="2307" y="222"/>
                  </a:lnTo>
                  <a:lnTo>
                    <a:pt x="2326" y="224"/>
                  </a:lnTo>
                  <a:lnTo>
                    <a:pt x="2335" y="225"/>
                  </a:lnTo>
                  <a:lnTo>
                    <a:pt x="2344" y="228"/>
                  </a:lnTo>
                  <a:lnTo>
                    <a:pt x="2353" y="230"/>
                  </a:lnTo>
                  <a:lnTo>
                    <a:pt x="2362" y="233"/>
                  </a:lnTo>
                  <a:lnTo>
                    <a:pt x="2371" y="236"/>
                  </a:lnTo>
                  <a:lnTo>
                    <a:pt x="2380" y="240"/>
                  </a:lnTo>
                  <a:lnTo>
                    <a:pt x="2388" y="244"/>
                  </a:lnTo>
                  <a:lnTo>
                    <a:pt x="2397" y="249"/>
                  </a:lnTo>
                  <a:lnTo>
                    <a:pt x="2405" y="254"/>
                  </a:lnTo>
                  <a:lnTo>
                    <a:pt x="2413" y="259"/>
                  </a:lnTo>
                  <a:lnTo>
                    <a:pt x="2420" y="265"/>
                  </a:lnTo>
                  <a:lnTo>
                    <a:pt x="2427" y="271"/>
                  </a:lnTo>
                  <a:lnTo>
                    <a:pt x="2434" y="278"/>
                  </a:lnTo>
                  <a:lnTo>
                    <a:pt x="2441" y="285"/>
                  </a:lnTo>
                  <a:lnTo>
                    <a:pt x="2448" y="293"/>
                  </a:lnTo>
                  <a:lnTo>
                    <a:pt x="2454" y="301"/>
                  </a:lnTo>
                  <a:lnTo>
                    <a:pt x="2459" y="310"/>
                  </a:lnTo>
                  <a:lnTo>
                    <a:pt x="2464" y="319"/>
                  </a:lnTo>
                  <a:lnTo>
                    <a:pt x="2469" y="328"/>
                  </a:lnTo>
                  <a:lnTo>
                    <a:pt x="2474" y="339"/>
                  </a:lnTo>
                  <a:lnTo>
                    <a:pt x="2478" y="349"/>
                  </a:lnTo>
                  <a:lnTo>
                    <a:pt x="2481" y="360"/>
                  </a:lnTo>
                  <a:lnTo>
                    <a:pt x="2484" y="372"/>
                  </a:lnTo>
                  <a:lnTo>
                    <a:pt x="2487" y="384"/>
                  </a:lnTo>
                  <a:lnTo>
                    <a:pt x="2489" y="397"/>
                  </a:lnTo>
                  <a:lnTo>
                    <a:pt x="2490" y="410"/>
                  </a:lnTo>
                  <a:lnTo>
                    <a:pt x="2491" y="424"/>
                  </a:lnTo>
                  <a:lnTo>
                    <a:pt x="2491" y="438"/>
                  </a:lnTo>
                  <a:lnTo>
                    <a:pt x="2491" y="677"/>
                  </a:lnTo>
                  <a:close/>
                  <a:moveTo>
                    <a:pt x="1589" y="677"/>
                  </a:moveTo>
                  <a:lnTo>
                    <a:pt x="1499" y="677"/>
                  </a:lnTo>
                  <a:lnTo>
                    <a:pt x="1499" y="624"/>
                  </a:lnTo>
                  <a:lnTo>
                    <a:pt x="1496" y="627"/>
                  </a:lnTo>
                  <a:lnTo>
                    <a:pt x="1493" y="631"/>
                  </a:lnTo>
                  <a:lnTo>
                    <a:pt x="1487" y="637"/>
                  </a:lnTo>
                  <a:lnTo>
                    <a:pt x="1480" y="644"/>
                  </a:lnTo>
                  <a:lnTo>
                    <a:pt x="1473" y="649"/>
                  </a:lnTo>
                  <a:lnTo>
                    <a:pt x="1457" y="660"/>
                  </a:lnTo>
                  <a:lnTo>
                    <a:pt x="1449" y="665"/>
                  </a:lnTo>
                  <a:lnTo>
                    <a:pt x="1440" y="669"/>
                  </a:lnTo>
                  <a:lnTo>
                    <a:pt x="1431" y="673"/>
                  </a:lnTo>
                  <a:lnTo>
                    <a:pt x="1422" y="676"/>
                  </a:lnTo>
                  <a:lnTo>
                    <a:pt x="1412" y="679"/>
                  </a:lnTo>
                  <a:lnTo>
                    <a:pt x="1402" y="682"/>
                  </a:lnTo>
                  <a:lnTo>
                    <a:pt x="1392" y="684"/>
                  </a:lnTo>
                  <a:lnTo>
                    <a:pt x="1381" y="685"/>
                  </a:lnTo>
                  <a:lnTo>
                    <a:pt x="1370" y="686"/>
                  </a:lnTo>
                  <a:lnTo>
                    <a:pt x="1359" y="686"/>
                  </a:lnTo>
                  <a:lnTo>
                    <a:pt x="1347" y="686"/>
                  </a:lnTo>
                  <a:lnTo>
                    <a:pt x="1335" y="685"/>
                  </a:lnTo>
                  <a:lnTo>
                    <a:pt x="1323" y="684"/>
                  </a:lnTo>
                  <a:lnTo>
                    <a:pt x="1312" y="682"/>
                  </a:lnTo>
                  <a:lnTo>
                    <a:pt x="1301" y="679"/>
                  </a:lnTo>
                  <a:lnTo>
                    <a:pt x="1290" y="676"/>
                  </a:lnTo>
                  <a:lnTo>
                    <a:pt x="1280" y="672"/>
                  </a:lnTo>
                  <a:lnTo>
                    <a:pt x="1269" y="668"/>
                  </a:lnTo>
                  <a:lnTo>
                    <a:pt x="1259" y="663"/>
                  </a:lnTo>
                  <a:lnTo>
                    <a:pt x="1250" y="658"/>
                  </a:lnTo>
                  <a:lnTo>
                    <a:pt x="1240" y="653"/>
                  </a:lnTo>
                  <a:lnTo>
                    <a:pt x="1231" y="647"/>
                  </a:lnTo>
                  <a:lnTo>
                    <a:pt x="1223" y="640"/>
                  </a:lnTo>
                  <a:lnTo>
                    <a:pt x="1214" y="633"/>
                  </a:lnTo>
                  <a:lnTo>
                    <a:pt x="1206" y="626"/>
                  </a:lnTo>
                  <a:lnTo>
                    <a:pt x="1199" y="618"/>
                  </a:lnTo>
                  <a:lnTo>
                    <a:pt x="1191" y="610"/>
                  </a:lnTo>
                  <a:lnTo>
                    <a:pt x="1184" y="602"/>
                  </a:lnTo>
                  <a:lnTo>
                    <a:pt x="1178" y="593"/>
                  </a:lnTo>
                  <a:lnTo>
                    <a:pt x="1172" y="584"/>
                  </a:lnTo>
                  <a:lnTo>
                    <a:pt x="1166" y="575"/>
                  </a:lnTo>
                  <a:lnTo>
                    <a:pt x="1161" y="565"/>
                  </a:lnTo>
                  <a:lnTo>
                    <a:pt x="1156" y="555"/>
                  </a:lnTo>
                  <a:lnTo>
                    <a:pt x="1152" y="545"/>
                  </a:lnTo>
                  <a:lnTo>
                    <a:pt x="1148" y="534"/>
                  </a:lnTo>
                  <a:lnTo>
                    <a:pt x="1144" y="523"/>
                  </a:lnTo>
                  <a:lnTo>
                    <a:pt x="1142" y="512"/>
                  </a:lnTo>
                  <a:lnTo>
                    <a:pt x="1139" y="501"/>
                  </a:lnTo>
                  <a:lnTo>
                    <a:pt x="1137" y="489"/>
                  </a:lnTo>
                  <a:lnTo>
                    <a:pt x="1136" y="478"/>
                  </a:lnTo>
                  <a:lnTo>
                    <a:pt x="1135" y="466"/>
                  </a:lnTo>
                  <a:lnTo>
                    <a:pt x="1135" y="453"/>
                  </a:lnTo>
                  <a:lnTo>
                    <a:pt x="1135" y="441"/>
                  </a:lnTo>
                  <a:lnTo>
                    <a:pt x="1136" y="429"/>
                  </a:lnTo>
                  <a:lnTo>
                    <a:pt x="1137" y="417"/>
                  </a:lnTo>
                  <a:lnTo>
                    <a:pt x="1139" y="406"/>
                  </a:lnTo>
                  <a:lnTo>
                    <a:pt x="1142" y="395"/>
                  </a:lnTo>
                  <a:lnTo>
                    <a:pt x="1143" y="389"/>
                  </a:lnTo>
                  <a:lnTo>
                    <a:pt x="1144" y="384"/>
                  </a:lnTo>
                  <a:lnTo>
                    <a:pt x="1148" y="373"/>
                  </a:lnTo>
                  <a:lnTo>
                    <a:pt x="1152" y="362"/>
                  </a:lnTo>
                  <a:lnTo>
                    <a:pt x="1156" y="352"/>
                  </a:lnTo>
                  <a:lnTo>
                    <a:pt x="1161" y="342"/>
                  </a:lnTo>
                  <a:lnTo>
                    <a:pt x="1166" y="332"/>
                  </a:lnTo>
                  <a:lnTo>
                    <a:pt x="1172" y="323"/>
                  </a:lnTo>
                  <a:lnTo>
                    <a:pt x="1178" y="314"/>
                  </a:lnTo>
                  <a:lnTo>
                    <a:pt x="1184" y="305"/>
                  </a:lnTo>
                  <a:lnTo>
                    <a:pt x="1191" y="297"/>
                  </a:lnTo>
                  <a:lnTo>
                    <a:pt x="1199" y="289"/>
                  </a:lnTo>
                  <a:lnTo>
                    <a:pt x="1206" y="281"/>
                  </a:lnTo>
                  <a:lnTo>
                    <a:pt x="1214" y="274"/>
                  </a:lnTo>
                  <a:lnTo>
                    <a:pt x="1218" y="270"/>
                  </a:lnTo>
                  <a:lnTo>
                    <a:pt x="1223" y="267"/>
                  </a:lnTo>
                  <a:lnTo>
                    <a:pt x="1231" y="260"/>
                  </a:lnTo>
                  <a:lnTo>
                    <a:pt x="1240" y="254"/>
                  </a:lnTo>
                  <a:lnTo>
                    <a:pt x="1250" y="249"/>
                  </a:lnTo>
                  <a:lnTo>
                    <a:pt x="1259" y="244"/>
                  </a:lnTo>
                  <a:lnTo>
                    <a:pt x="1269" y="239"/>
                  </a:lnTo>
                  <a:lnTo>
                    <a:pt x="1280" y="235"/>
                  </a:lnTo>
                  <a:lnTo>
                    <a:pt x="1290" y="231"/>
                  </a:lnTo>
                  <a:lnTo>
                    <a:pt x="1301" y="228"/>
                  </a:lnTo>
                  <a:lnTo>
                    <a:pt x="1312" y="226"/>
                  </a:lnTo>
                  <a:lnTo>
                    <a:pt x="1323" y="224"/>
                  </a:lnTo>
                  <a:lnTo>
                    <a:pt x="1335" y="222"/>
                  </a:lnTo>
                  <a:lnTo>
                    <a:pt x="1347" y="221"/>
                  </a:lnTo>
                  <a:lnTo>
                    <a:pt x="1359" y="221"/>
                  </a:lnTo>
                  <a:lnTo>
                    <a:pt x="1370" y="221"/>
                  </a:lnTo>
                  <a:lnTo>
                    <a:pt x="1381" y="222"/>
                  </a:lnTo>
                  <a:lnTo>
                    <a:pt x="1392" y="223"/>
                  </a:lnTo>
                  <a:lnTo>
                    <a:pt x="1402" y="225"/>
                  </a:lnTo>
                  <a:lnTo>
                    <a:pt x="1412" y="228"/>
                  </a:lnTo>
                  <a:lnTo>
                    <a:pt x="1421" y="230"/>
                  </a:lnTo>
                  <a:lnTo>
                    <a:pt x="1431" y="234"/>
                  </a:lnTo>
                  <a:lnTo>
                    <a:pt x="1440" y="238"/>
                  </a:lnTo>
                  <a:lnTo>
                    <a:pt x="1448" y="242"/>
                  </a:lnTo>
                  <a:lnTo>
                    <a:pt x="1457" y="246"/>
                  </a:lnTo>
                  <a:lnTo>
                    <a:pt x="1465" y="251"/>
                  </a:lnTo>
                  <a:lnTo>
                    <a:pt x="1468" y="254"/>
                  </a:lnTo>
                  <a:lnTo>
                    <a:pt x="1472" y="257"/>
                  </a:lnTo>
                  <a:lnTo>
                    <a:pt x="1479" y="263"/>
                  </a:lnTo>
                  <a:lnTo>
                    <a:pt x="1486" y="269"/>
                  </a:lnTo>
                  <a:lnTo>
                    <a:pt x="1493" y="275"/>
                  </a:lnTo>
                  <a:lnTo>
                    <a:pt x="1499" y="282"/>
                  </a:lnTo>
                  <a:lnTo>
                    <a:pt x="1499" y="230"/>
                  </a:lnTo>
                  <a:lnTo>
                    <a:pt x="1589" y="230"/>
                  </a:lnTo>
                  <a:lnTo>
                    <a:pt x="1589" y="677"/>
                  </a:lnTo>
                  <a:close/>
                  <a:moveTo>
                    <a:pt x="466" y="686"/>
                  </a:moveTo>
                  <a:lnTo>
                    <a:pt x="452" y="686"/>
                  </a:lnTo>
                  <a:lnTo>
                    <a:pt x="438" y="685"/>
                  </a:lnTo>
                  <a:lnTo>
                    <a:pt x="424" y="684"/>
                  </a:lnTo>
                  <a:lnTo>
                    <a:pt x="410" y="682"/>
                  </a:lnTo>
                  <a:lnTo>
                    <a:pt x="395" y="679"/>
                  </a:lnTo>
                  <a:lnTo>
                    <a:pt x="380" y="676"/>
                  </a:lnTo>
                  <a:lnTo>
                    <a:pt x="365" y="672"/>
                  </a:lnTo>
                  <a:lnTo>
                    <a:pt x="350" y="667"/>
                  </a:lnTo>
                  <a:lnTo>
                    <a:pt x="335" y="662"/>
                  </a:lnTo>
                  <a:lnTo>
                    <a:pt x="319" y="655"/>
                  </a:lnTo>
                  <a:lnTo>
                    <a:pt x="304" y="648"/>
                  </a:lnTo>
                  <a:lnTo>
                    <a:pt x="290" y="640"/>
                  </a:lnTo>
                  <a:lnTo>
                    <a:pt x="275" y="632"/>
                  </a:lnTo>
                  <a:lnTo>
                    <a:pt x="261" y="622"/>
                  </a:lnTo>
                  <a:lnTo>
                    <a:pt x="247" y="611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41" y="590"/>
                  </a:lnTo>
                  <a:lnTo>
                    <a:pt x="258" y="567"/>
                  </a:lnTo>
                  <a:lnTo>
                    <a:pt x="283" y="534"/>
                  </a:lnTo>
                  <a:lnTo>
                    <a:pt x="286" y="537"/>
                  </a:lnTo>
                  <a:lnTo>
                    <a:pt x="296" y="545"/>
                  </a:lnTo>
                  <a:lnTo>
                    <a:pt x="303" y="551"/>
                  </a:lnTo>
                  <a:lnTo>
                    <a:pt x="311" y="557"/>
                  </a:lnTo>
                  <a:lnTo>
                    <a:pt x="321" y="563"/>
                  </a:lnTo>
                  <a:lnTo>
                    <a:pt x="332" y="570"/>
                  </a:lnTo>
                  <a:lnTo>
                    <a:pt x="345" y="577"/>
                  </a:lnTo>
                  <a:lnTo>
                    <a:pt x="358" y="583"/>
                  </a:lnTo>
                  <a:lnTo>
                    <a:pt x="365" y="586"/>
                  </a:lnTo>
                  <a:lnTo>
                    <a:pt x="373" y="589"/>
                  </a:lnTo>
                  <a:lnTo>
                    <a:pt x="388" y="595"/>
                  </a:lnTo>
                  <a:lnTo>
                    <a:pt x="396" y="597"/>
                  </a:lnTo>
                  <a:lnTo>
                    <a:pt x="405" y="599"/>
                  </a:lnTo>
                  <a:lnTo>
                    <a:pt x="414" y="601"/>
                  </a:lnTo>
                  <a:lnTo>
                    <a:pt x="423" y="603"/>
                  </a:lnTo>
                  <a:lnTo>
                    <a:pt x="432" y="604"/>
                  </a:lnTo>
                  <a:lnTo>
                    <a:pt x="441" y="605"/>
                  </a:lnTo>
                  <a:lnTo>
                    <a:pt x="460" y="606"/>
                  </a:lnTo>
                  <a:lnTo>
                    <a:pt x="478" y="606"/>
                  </a:lnTo>
                  <a:lnTo>
                    <a:pt x="494" y="605"/>
                  </a:lnTo>
                  <a:lnTo>
                    <a:pt x="508" y="603"/>
                  </a:lnTo>
                  <a:lnTo>
                    <a:pt x="521" y="600"/>
                  </a:lnTo>
                  <a:lnTo>
                    <a:pt x="533" y="597"/>
                  </a:lnTo>
                  <a:lnTo>
                    <a:pt x="543" y="594"/>
                  </a:lnTo>
                  <a:lnTo>
                    <a:pt x="551" y="590"/>
                  </a:lnTo>
                  <a:lnTo>
                    <a:pt x="559" y="585"/>
                  </a:lnTo>
                  <a:lnTo>
                    <a:pt x="565" y="581"/>
                  </a:lnTo>
                  <a:lnTo>
                    <a:pt x="568" y="579"/>
                  </a:lnTo>
                  <a:lnTo>
                    <a:pt x="571" y="576"/>
                  </a:lnTo>
                  <a:lnTo>
                    <a:pt x="575" y="571"/>
                  </a:lnTo>
                  <a:lnTo>
                    <a:pt x="578" y="567"/>
                  </a:lnTo>
                  <a:lnTo>
                    <a:pt x="580" y="562"/>
                  </a:lnTo>
                  <a:lnTo>
                    <a:pt x="582" y="557"/>
                  </a:lnTo>
                  <a:lnTo>
                    <a:pt x="583" y="552"/>
                  </a:lnTo>
                  <a:lnTo>
                    <a:pt x="583" y="548"/>
                  </a:lnTo>
                  <a:lnTo>
                    <a:pt x="583" y="544"/>
                  </a:lnTo>
                  <a:lnTo>
                    <a:pt x="583" y="540"/>
                  </a:lnTo>
                  <a:lnTo>
                    <a:pt x="582" y="537"/>
                  </a:lnTo>
                  <a:lnTo>
                    <a:pt x="580" y="534"/>
                  </a:lnTo>
                  <a:lnTo>
                    <a:pt x="577" y="527"/>
                  </a:lnTo>
                  <a:lnTo>
                    <a:pt x="575" y="525"/>
                  </a:lnTo>
                  <a:lnTo>
                    <a:pt x="572" y="522"/>
                  </a:lnTo>
                  <a:lnTo>
                    <a:pt x="569" y="520"/>
                  </a:lnTo>
                  <a:lnTo>
                    <a:pt x="566" y="517"/>
                  </a:lnTo>
                  <a:lnTo>
                    <a:pt x="559" y="513"/>
                  </a:lnTo>
                  <a:lnTo>
                    <a:pt x="551" y="510"/>
                  </a:lnTo>
                  <a:lnTo>
                    <a:pt x="542" y="507"/>
                  </a:lnTo>
                  <a:lnTo>
                    <a:pt x="532" y="504"/>
                  </a:lnTo>
                  <a:lnTo>
                    <a:pt x="521" y="502"/>
                  </a:lnTo>
                  <a:lnTo>
                    <a:pt x="498" y="498"/>
                  </a:lnTo>
                  <a:lnTo>
                    <a:pt x="447" y="491"/>
                  </a:lnTo>
                  <a:lnTo>
                    <a:pt x="412" y="486"/>
                  </a:lnTo>
                  <a:lnTo>
                    <a:pt x="394" y="484"/>
                  </a:lnTo>
                  <a:lnTo>
                    <a:pt x="376" y="480"/>
                  </a:lnTo>
                  <a:lnTo>
                    <a:pt x="358" y="476"/>
                  </a:lnTo>
                  <a:lnTo>
                    <a:pt x="341" y="472"/>
                  </a:lnTo>
                  <a:lnTo>
                    <a:pt x="324" y="466"/>
                  </a:lnTo>
                  <a:lnTo>
                    <a:pt x="308" y="460"/>
                  </a:lnTo>
                  <a:lnTo>
                    <a:pt x="301" y="456"/>
                  </a:lnTo>
                  <a:lnTo>
                    <a:pt x="293" y="451"/>
                  </a:lnTo>
                  <a:lnTo>
                    <a:pt x="280" y="442"/>
                  </a:lnTo>
                  <a:lnTo>
                    <a:pt x="274" y="437"/>
                  </a:lnTo>
                  <a:lnTo>
                    <a:pt x="268" y="432"/>
                  </a:lnTo>
                  <a:lnTo>
                    <a:pt x="262" y="426"/>
                  </a:lnTo>
                  <a:lnTo>
                    <a:pt x="257" y="420"/>
                  </a:lnTo>
                  <a:lnTo>
                    <a:pt x="253" y="414"/>
                  </a:lnTo>
                  <a:lnTo>
                    <a:pt x="249" y="407"/>
                  </a:lnTo>
                  <a:lnTo>
                    <a:pt x="246" y="400"/>
                  </a:lnTo>
                  <a:lnTo>
                    <a:pt x="243" y="392"/>
                  </a:lnTo>
                  <a:lnTo>
                    <a:pt x="240" y="384"/>
                  </a:lnTo>
                  <a:lnTo>
                    <a:pt x="239" y="375"/>
                  </a:lnTo>
                  <a:lnTo>
                    <a:pt x="238" y="366"/>
                  </a:lnTo>
                  <a:lnTo>
                    <a:pt x="237" y="356"/>
                  </a:lnTo>
                  <a:lnTo>
                    <a:pt x="238" y="349"/>
                  </a:lnTo>
                  <a:lnTo>
                    <a:pt x="239" y="342"/>
                  </a:lnTo>
                  <a:lnTo>
                    <a:pt x="240" y="335"/>
                  </a:lnTo>
                  <a:lnTo>
                    <a:pt x="242" y="328"/>
                  </a:lnTo>
                  <a:lnTo>
                    <a:pt x="244" y="321"/>
                  </a:lnTo>
                  <a:lnTo>
                    <a:pt x="247" y="315"/>
                  </a:lnTo>
                  <a:lnTo>
                    <a:pt x="250" y="308"/>
                  </a:lnTo>
                  <a:lnTo>
                    <a:pt x="254" y="302"/>
                  </a:lnTo>
                  <a:lnTo>
                    <a:pt x="258" y="296"/>
                  </a:lnTo>
                  <a:lnTo>
                    <a:pt x="263" y="290"/>
                  </a:lnTo>
                  <a:lnTo>
                    <a:pt x="268" y="285"/>
                  </a:lnTo>
                  <a:lnTo>
                    <a:pt x="274" y="279"/>
                  </a:lnTo>
                  <a:lnTo>
                    <a:pt x="280" y="274"/>
                  </a:lnTo>
                  <a:lnTo>
                    <a:pt x="286" y="269"/>
                  </a:lnTo>
                  <a:lnTo>
                    <a:pt x="292" y="264"/>
                  </a:lnTo>
                  <a:lnTo>
                    <a:pt x="299" y="260"/>
                  </a:lnTo>
                  <a:lnTo>
                    <a:pt x="314" y="251"/>
                  </a:lnTo>
                  <a:lnTo>
                    <a:pt x="322" y="247"/>
                  </a:lnTo>
                  <a:lnTo>
                    <a:pt x="330" y="244"/>
                  </a:lnTo>
                  <a:lnTo>
                    <a:pt x="347" y="237"/>
                  </a:lnTo>
                  <a:lnTo>
                    <a:pt x="365" y="232"/>
                  </a:lnTo>
                  <a:lnTo>
                    <a:pt x="383" y="227"/>
                  </a:lnTo>
                  <a:lnTo>
                    <a:pt x="402" y="224"/>
                  </a:lnTo>
                  <a:lnTo>
                    <a:pt x="422" y="222"/>
                  </a:lnTo>
                  <a:lnTo>
                    <a:pt x="443" y="222"/>
                  </a:lnTo>
                  <a:lnTo>
                    <a:pt x="459" y="222"/>
                  </a:lnTo>
                  <a:lnTo>
                    <a:pt x="474" y="223"/>
                  </a:lnTo>
                  <a:lnTo>
                    <a:pt x="489" y="224"/>
                  </a:lnTo>
                  <a:lnTo>
                    <a:pt x="504" y="226"/>
                  </a:lnTo>
                  <a:lnTo>
                    <a:pt x="518" y="229"/>
                  </a:lnTo>
                  <a:lnTo>
                    <a:pt x="532" y="232"/>
                  </a:lnTo>
                  <a:lnTo>
                    <a:pt x="545" y="235"/>
                  </a:lnTo>
                  <a:lnTo>
                    <a:pt x="559" y="239"/>
                  </a:lnTo>
                  <a:lnTo>
                    <a:pt x="571" y="244"/>
                  </a:lnTo>
                  <a:lnTo>
                    <a:pt x="584" y="249"/>
                  </a:lnTo>
                  <a:lnTo>
                    <a:pt x="596" y="255"/>
                  </a:lnTo>
                  <a:lnTo>
                    <a:pt x="607" y="261"/>
                  </a:lnTo>
                  <a:lnTo>
                    <a:pt x="619" y="268"/>
                  </a:lnTo>
                  <a:lnTo>
                    <a:pt x="630" y="275"/>
                  </a:lnTo>
                  <a:lnTo>
                    <a:pt x="641" y="283"/>
                  </a:lnTo>
                  <a:lnTo>
                    <a:pt x="651" y="291"/>
                  </a:lnTo>
                  <a:lnTo>
                    <a:pt x="649" y="294"/>
                  </a:lnTo>
                  <a:lnTo>
                    <a:pt x="644" y="302"/>
                  </a:lnTo>
                  <a:lnTo>
                    <a:pt x="627" y="326"/>
                  </a:lnTo>
                  <a:lnTo>
                    <a:pt x="602" y="360"/>
                  </a:lnTo>
                  <a:lnTo>
                    <a:pt x="599" y="357"/>
                  </a:lnTo>
                  <a:lnTo>
                    <a:pt x="591" y="351"/>
                  </a:lnTo>
                  <a:lnTo>
                    <a:pt x="578" y="341"/>
                  </a:lnTo>
                  <a:lnTo>
                    <a:pt x="570" y="336"/>
                  </a:lnTo>
                  <a:lnTo>
                    <a:pt x="560" y="330"/>
                  </a:lnTo>
                  <a:lnTo>
                    <a:pt x="550" y="325"/>
                  </a:lnTo>
                  <a:lnTo>
                    <a:pt x="538" y="320"/>
                  </a:lnTo>
                  <a:lnTo>
                    <a:pt x="525" y="315"/>
                  </a:lnTo>
                  <a:lnTo>
                    <a:pt x="511" y="310"/>
                  </a:lnTo>
                  <a:lnTo>
                    <a:pt x="503" y="308"/>
                  </a:lnTo>
                  <a:lnTo>
                    <a:pt x="496" y="307"/>
                  </a:lnTo>
                  <a:lnTo>
                    <a:pt x="479" y="304"/>
                  </a:lnTo>
                  <a:lnTo>
                    <a:pt x="471" y="303"/>
                  </a:lnTo>
                  <a:lnTo>
                    <a:pt x="462" y="302"/>
                  </a:lnTo>
                  <a:lnTo>
                    <a:pt x="453" y="301"/>
                  </a:lnTo>
                  <a:lnTo>
                    <a:pt x="444" y="301"/>
                  </a:lnTo>
                  <a:lnTo>
                    <a:pt x="430" y="301"/>
                  </a:lnTo>
                  <a:lnTo>
                    <a:pt x="416" y="303"/>
                  </a:lnTo>
                  <a:lnTo>
                    <a:pt x="404" y="304"/>
                  </a:lnTo>
                  <a:lnTo>
                    <a:pt x="392" y="307"/>
                  </a:lnTo>
                  <a:lnTo>
                    <a:pt x="382" y="310"/>
                  </a:lnTo>
                  <a:lnTo>
                    <a:pt x="372" y="313"/>
                  </a:lnTo>
                  <a:lnTo>
                    <a:pt x="363" y="317"/>
                  </a:lnTo>
                  <a:lnTo>
                    <a:pt x="356" y="321"/>
                  </a:lnTo>
                  <a:lnTo>
                    <a:pt x="349" y="325"/>
                  </a:lnTo>
                  <a:lnTo>
                    <a:pt x="343" y="329"/>
                  </a:lnTo>
                  <a:lnTo>
                    <a:pt x="338" y="334"/>
                  </a:lnTo>
                  <a:lnTo>
                    <a:pt x="334" y="338"/>
                  </a:lnTo>
                  <a:lnTo>
                    <a:pt x="331" y="343"/>
                  </a:lnTo>
                  <a:lnTo>
                    <a:pt x="328" y="347"/>
                  </a:lnTo>
                  <a:lnTo>
                    <a:pt x="327" y="351"/>
                  </a:lnTo>
                  <a:lnTo>
                    <a:pt x="327" y="355"/>
                  </a:lnTo>
                  <a:lnTo>
                    <a:pt x="327" y="363"/>
                  </a:lnTo>
                  <a:lnTo>
                    <a:pt x="328" y="366"/>
                  </a:lnTo>
                  <a:lnTo>
                    <a:pt x="330" y="369"/>
                  </a:lnTo>
                  <a:lnTo>
                    <a:pt x="333" y="375"/>
                  </a:lnTo>
                  <a:lnTo>
                    <a:pt x="335" y="378"/>
                  </a:lnTo>
                  <a:lnTo>
                    <a:pt x="338" y="380"/>
                  </a:lnTo>
                  <a:lnTo>
                    <a:pt x="344" y="385"/>
                  </a:lnTo>
                  <a:lnTo>
                    <a:pt x="351" y="389"/>
                  </a:lnTo>
                  <a:lnTo>
                    <a:pt x="360" y="392"/>
                  </a:lnTo>
                  <a:lnTo>
                    <a:pt x="369" y="395"/>
                  </a:lnTo>
                  <a:lnTo>
                    <a:pt x="380" y="397"/>
                  </a:lnTo>
                  <a:lnTo>
                    <a:pt x="391" y="400"/>
                  </a:lnTo>
                  <a:lnTo>
                    <a:pt x="416" y="403"/>
                  </a:lnTo>
                  <a:lnTo>
                    <a:pt x="443" y="407"/>
                  </a:lnTo>
                  <a:lnTo>
                    <a:pt x="473" y="411"/>
                  </a:lnTo>
                  <a:lnTo>
                    <a:pt x="513" y="416"/>
                  </a:lnTo>
                  <a:lnTo>
                    <a:pt x="532" y="420"/>
                  </a:lnTo>
                  <a:lnTo>
                    <a:pt x="550" y="424"/>
                  </a:lnTo>
                  <a:lnTo>
                    <a:pt x="568" y="428"/>
                  </a:lnTo>
                  <a:lnTo>
                    <a:pt x="584" y="433"/>
                  </a:lnTo>
                  <a:lnTo>
                    <a:pt x="600" y="439"/>
                  </a:lnTo>
                  <a:lnTo>
                    <a:pt x="607" y="442"/>
                  </a:lnTo>
                  <a:lnTo>
                    <a:pt x="614" y="446"/>
                  </a:lnTo>
                  <a:lnTo>
                    <a:pt x="627" y="453"/>
                  </a:lnTo>
                  <a:lnTo>
                    <a:pt x="634" y="458"/>
                  </a:lnTo>
                  <a:lnTo>
                    <a:pt x="639" y="463"/>
                  </a:lnTo>
                  <a:lnTo>
                    <a:pt x="645" y="468"/>
                  </a:lnTo>
                  <a:lnTo>
                    <a:pt x="649" y="473"/>
                  </a:lnTo>
                  <a:lnTo>
                    <a:pt x="654" y="479"/>
                  </a:lnTo>
                  <a:lnTo>
                    <a:pt x="658" y="484"/>
                  </a:lnTo>
                  <a:lnTo>
                    <a:pt x="662" y="491"/>
                  </a:lnTo>
                  <a:lnTo>
                    <a:pt x="665" y="497"/>
                  </a:lnTo>
                  <a:lnTo>
                    <a:pt x="668" y="504"/>
                  </a:lnTo>
                  <a:lnTo>
                    <a:pt x="670" y="512"/>
                  </a:lnTo>
                  <a:lnTo>
                    <a:pt x="672" y="519"/>
                  </a:lnTo>
                  <a:lnTo>
                    <a:pt x="673" y="528"/>
                  </a:lnTo>
                  <a:lnTo>
                    <a:pt x="674" y="536"/>
                  </a:lnTo>
                  <a:lnTo>
                    <a:pt x="674" y="545"/>
                  </a:lnTo>
                  <a:lnTo>
                    <a:pt x="674" y="553"/>
                  </a:lnTo>
                  <a:lnTo>
                    <a:pt x="673" y="560"/>
                  </a:lnTo>
                  <a:lnTo>
                    <a:pt x="672" y="567"/>
                  </a:lnTo>
                  <a:lnTo>
                    <a:pt x="670" y="574"/>
                  </a:lnTo>
                  <a:lnTo>
                    <a:pt x="668" y="581"/>
                  </a:lnTo>
                  <a:lnTo>
                    <a:pt x="666" y="588"/>
                  </a:lnTo>
                  <a:lnTo>
                    <a:pt x="663" y="594"/>
                  </a:lnTo>
                  <a:lnTo>
                    <a:pt x="659" y="601"/>
                  </a:lnTo>
                  <a:lnTo>
                    <a:pt x="655" y="607"/>
                  </a:lnTo>
                  <a:lnTo>
                    <a:pt x="651" y="613"/>
                  </a:lnTo>
                  <a:lnTo>
                    <a:pt x="646" y="619"/>
                  </a:lnTo>
                  <a:lnTo>
                    <a:pt x="641" y="625"/>
                  </a:lnTo>
                  <a:lnTo>
                    <a:pt x="635" y="630"/>
                  </a:lnTo>
                  <a:lnTo>
                    <a:pt x="629" y="635"/>
                  </a:lnTo>
                  <a:lnTo>
                    <a:pt x="623" y="640"/>
                  </a:lnTo>
                  <a:lnTo>
                    <a:pt x="616" y="645"/>
                  </a:lnTo>
                  <a:lnTo>
                    <a:pt x="609" y="650"/>
                  </a:lnTo>
                  <a:lnTo>
                    <a:pt x="602" y="654"/>
                  </a:lnTo>
                  <a:lnTo>
                    <a:pt x="586" y="662"/>
                  </a:lnTo>
                  <a:lnTo>
                    <a:pt x="569" y="669"/>
                  </a:lnTo>
                  <a:lnTo>
                    <a:pt x="560" y="673"/>
                  </a:lnTo>
                  <a:lnTo>
                    <a:pt x="550" y="675"/>
                  </a:lnTo>
                  <a:lnTo>
                    <a:pt x="531" y="680"/>
                  </a:lnTo>
                  <a:lnTo>
                    <a:pt x="510" y="683"/>
                  </a:lnTo>
                  <a:lnTo>
                    <a:pt x="499" y="685"/>
                  </a:lnTo>
                  <a:lnTo>
                    <a:pt x="488" y="686"/>
                  </a:lnTo>
                  <a:lnTo>
                    <a:pt x="466" y="686"/>
                  </a:lnTo>
                  <a:close/>
                  <a:moveTo>
                    <a:pt x="0" y="0"/>
                  </a:moveTo>
                  <a:lnTo>
                    <a:pt x="0" y="453"/>
                  </a:lnTo>
                  <a:lnTo>
                    <a:pt x="0" y="908"/>
                  </a:lnTo>
                  <a:lnTo>
                    <a:pt x="680" y="908"/>
                  </a:lnTo>
                  <a:lnTo>
                    <a:pt x="1361" y="908"/>
                  </a:lnTo>
                  <a:lnTo>
                    <a:pt x="2041" y="908"/>
                  </a:lnTo>
                  <a:lnTo>
                    <a:pt x="2723" y="908"/>
                  </a:lnTo>
                  <a:lnTo>
                    <a:pt x="3403" y="908"/>
                  </a:lnTo>
                  <a:lnTo>
                    <a:pt x="4084" y="908"/>
                  </a:lnTo>
                  <a:lnTo>
                    <a:pt x="4765" y="908"/>
                  </a:lnTo>
                  <a:lnTo>
                    <a:pt x="5446" y="908"/>
                  </a:lnTo>
                  <a:lnTo>
                    <a:pt x="5446" y="453"/>
                  </a:lnTo>
                  <a:lnTo>
                    <a:pt x="5446" y="0"/>
                  </a:lnTo>
                  <a:lnTo>
                    <a:pt x="4765" y="0"/>
                  </a:lnTo>
                  <a:lnTo>
                    <a:pt x="4084" y="0"/>
                  </a:lnTo>
                  <a:lnTo>
                    <a:pt x="3403" y="0"/>
                  </a:lnTo>
                  <a:lnTo>
                    <a:pt x="2723" y="0"/>
                  </a:lnTo>
                  <a:lnTo>
                    <a:pt x="2041" y="0"/>
                  </a:lnTo>
                  <a:lnTo>
                    <a:pt x="1361" y="0"/>
                  </a:lnTo>
                  <a:lnTo>
                    <a:pt x="680" y="0"/>
                  </a:lnTo>
                  <a:lnTo>
                    <a:pt x="0" y="0"/>
                  </a:lnTo>
                  <a:close/>
                  <a:moveTo>
                    <a:pt x="1367" y="297"/>
                  </a:moveTo>
                  <a:lnTo>
                    <a:pt x="1358" y="297"/>
                  </a:lnTo>
                  <a:lnTo>
                    <a:pt x="1349" y="298"/>
                  </a:lnTo>
                  <a:lnTo>
                    <a:pt x="1341" y="299"/>
                  </a:lnTo>
                  <a:lnTo>
                    <a:pt x="1333" y="300"/>
                  </a:lnTo>
                  <a:lnTo>
                    <a:pt x="1325" y="302"/>
                  </a:lnTo>
                  <a:lnTo>
                    <a:pt x="1318" y="305"/>
                  </a:lnTo>
                  <a:lnTo>
                    <a:pt x="1311" y="307"/>
                  </a:lnTo>
                  <a:lnTo>
                    <a:pt x="1304" y="311"/>
                  </a:lnTo>
                  <a:lnTo>
                    <a:pt x="1291" y="318"/>
                  </a:lnTo>
                  <a:lnTo>
                    <a:pt x="1279" y="327"/>
                  </a:lnTo>
                  <a:lnTo>
                    <a:pt x="1274" y="331"/>
                  </a:lnTo>
                  <a:lnTo>
                    <a:pt x="1269" y="336"/>
                  </a:lnTo>
                  <a:lnTo>
                    <a:pt x="1259" y="347"/>
                  </a:lnTo>
                  <a:lnTo>
                    <a:pt x="1255" y="353"/>
                  </a:lnTo>
                  <a:lnTo>
                    <a:pt x="1251" y="359"/>
                  </a:lnTo>
                  <a:lnTo>
                    <a:pt x="1244" y="371"/>
                  </a:lnTo>
                  <a:lnTo>
                    <a:pt x="1241" y="377"/>
                  </a:lnTo>
                  <a:lnTo>
                    <a:pt x="1238" y="384"/>
                  </a:lnTo>
                  <a:lnTo>
                    <a:pt x="1233" y="397"/>
                  </a:lnTo>
                  <a:lnTo>
                    <a:pt x="1229" y="411"/>
                  </a:lnTo>
                  <a:lnTo>
                    <a:pt x="1226" y="425"/>
                  </a:lnTo>
                  <a:lnTo>
                    <a:pt x="1225" y="439"/>
                  </a:lnTo>
                  <a:lnTo>
                    <a:pt x="1224" y="454"/>
                  </a:lnTo>
                  <a:lnTo>
                    <a:pt x="1225" y="469"/>
                  </a:lnTo>
                  <a:lnTo>
                    <a:pt x="1225" y="476"/>
                  </a:lnTo>
                  <a:lnTo>
                    <a:pt x="1226" y="483"/>
                  </a:lnTo>
                  <a:lnTo>
                    <a:pt x="1229" y="497"/>
                  </a:lnTo>
                  <a:lnTo>
                    <a:pt x="1231" y="504"/>
                  </a:lnTo>
                  <a:lnTo>
                    <a:pt x="1233" y="510"/>
                  </a:lnTo>
                  <a:lnTo>
                    <a:pt x="1235" y="517"/>
                  </a:lnTo>
                  <a:lnTo>
                    <a:pt x="1238" y="524"/>
                  </a:lnTo>
                  <a:lnTo>
                    <a:pt x="1241" y="530"/>
                  </a:lnTo>
                  <a:lnTo>
                    <a:pt x="1244" y="537"/>
                  </a:lnTo>
                  <a:lnTo>
                    <a:pt x="1247" y="543"/>
                  </a:lnTo>
                  <a:lnTo>
                    <a:pt x="1251" y="549"/>
                  </a:lnTo>
                  <a:lnTo>
                    <a:pt x="1255" y="555"/>
                  </a:lnTo>
                  <a:lnTo>
                    <a:pt x="1259" y="561"/>
                  </a:lnTo>
                  <a:lnTo>
                    <a:pt x="1264" y="566"/>
                  </a:lnTo>
                  <a:lnTo>
                    <a:pt x="1269" y="571"/>
                  </a:lnTo>
                  <a:lnTo>
                    <a:pt x="1274" y="576"/>
                  </a:lnTo>
                  <a:lnTo>
                    <a:pt x="1279" y="581"/>
                  </a:lnTo>
                  <a:lnTo>
                    <a:pt x="1285" y="585"/>
                  </a:lnTo>
                  <a:lnTo>
                    <a:pt x="1291" y="589"/>
                  </a:lnTo>
                  <a:lnTo>
                    <a:pt x="1297" y="593"/>
                  </a:lnTo>
                  <a:lnTo>
                    <a:pt x="1304" y="597"/>
                  </a:lnTo>
                  <a:lnTo>
                    <a:pt x="1311" y="600"/>
                  </a:lnTo>
                  <a:lnTo>
                    <a:pt x="1318" y="603"/>
                  </a:lnTo>
                  <a:lnTo>
                    <a:pt x="1325" y="605"/>
                  </a:lnTo>
                  <a:lnTo>
                    <a:pt x="1333" y="607"/>
                  </a:lnTo>
                  <a:lnTo>
                    <a:pt x="1341" y="608"/>
                  </a:lnTo>
                  <a:lnTo>
                    <a:pt x="1349" y="610"/>
                  </a:lnTo>
                  <a:lnTo>
                    <a:pt x="1358" y="610"/>
                  </a:lnTo>
                  <a:lnTo>
                    <a:pt x="1367" y="611"/>
                  </a:lnTo>
                  <a:lnTo>
                    <a:pt x="1379" y="610"/>
                  </a:lnTo>
                  <a:lnTo>
                    <a:pt x="1392" y="608"/>
                  </a:lnTo>
                  <a:lnTo>
                    <a:pt x="1405" y="605"/>
                  </a:lnTo>
                  <a:lnTo>
                    <a:pt x="1417" y="601"/>
                  </a:lnTo>
                  <a:lnTo>
                    <a:pt x="1423" y="599"/>
                  </a:lnTo>
                  <a:lnTo>
                    <a:pt x="1428" y="596"/>
                  </a:lnTo>
                  <a:lnTo>
                    <a:pt x="1440" y="589"/>
                  </a:lnTo>
                  <a:lnTo>
                    <a:pt x="1445" y="586"/>
                  </a:lnTo>
                  <a:lnTo>
                    <a:pt x="1450" y="582"/>
                  </a:lnTo>
                  <a:lnTo>
                    <a:pt x="1455" y="577"/>
                  </a:lnTo>
                  <a:lnTo>
                    <a:pt x="1460" y="573"/>
                  </a:lnTo>
                  <a:lnTo>
                    <a:pt x="1465" y="568"/>
                  </a:lnTo>
                  <a:lnTo>
                    <a:pt x="1469" y="562"/>
                  </a:lnTo>
                  <a:lnTo>
                    <a:pt x="1473" y="557"/>
                  </a:lnTo>
                  <a:lnTo>
                    <a:pt x="1477" y="551"/>
                  </a:lnTo>
                  <a:lnTo>
                    <a:pt x="1485" y="538"/>
                  </a:lnTo>
                  <a:lnTo>
                    <a:pt x="1488" y="531"/>
                  </a:lnTo>
                  <a:lnTo>
                    <a:pt x="1491" y="524"/>
                  </a:lnTo>
                  <a:lnTo>
                    <a:pt x="1495" y="509"/>
                  </a:lnTo>
                  <a:lnTo>
                    <a:pt x="1497" y="500"/>
                  </a:lnTo>
                  <a:lnTo>
                    <a:pt x="1499" y="492"/>
                  </a:lnTo>
                  <a:lnTo>
                    <a:pt x="1500" y="483"/>
                  </a:lnTo>
                  <a:lnTo>
                    <a:pt x="1501" y="474"/>
                  </a:lnTo>
                  <a:lnTo>
                    <a:pt x="1502" y="464"/>
                  </a:lnTo>
                  <a:lnTo>
                    <a:pt x="1502" y="454"/>
                  </a:lnTo>
                  <a:lnTo>
                    <a:pt x="1502" y="444"/>
                  </a:lnTo>
                  <a:lnTo>
                    <a:pt x="1501" y="434"/>
                  </a:lnTo>
                  <a:lnTo>
                    <a:pt x="1500" y="425"/>
                  </a:lnTo>
                  <a:lnTo>
                    <a:pt x="1499" y="416"/>
                  </a:lnTo>
                  <a:lnTo>
                    <a:pt x="1495" y="399"/>
                  </a:lnTo>
                  <a:lnTo>
                    <a:pt x="1493" y="391"/>
                  </a:lnTo>
                  <a:lnTo>
                    <a:pt x="1491" y="384"/>
                  </a:lnTo>
                  <a:lnTo>
                    <a:pt x="1488" y="376"/>
                  </a:lnTo>
                  <a:lnTo>
                    <a:pt x="1485" y="369"/>
                  </a:lnTo>
                  <a:lnTo>
                    <a:pt x="1481" y="363"/>
                  </a:lnTo>
                  <a:lnTo>
                    <a:pt x="1477" y="356"/>
                  </a:lnTo>
                  <a:lnTo>
                    <a:pt x="1473" y="351"/>
                  </a:lnTo>
                  <a:lnTo>
                    <a:pt x="1469" y="345"/>
                  </a:lnTo>
                  <a:lnTo>
                    <a:pt x="1460" y="335"/>
                  </a:lnTo>
                  <a:lnTo>
                    <a:pt x="1450" y="326"/>
                  </a:lnTo>
                  <a:lnTo>
                    <a:pt x="1440" y="318"/>
                  </a:lnTo>
                  <a:lnTo>
                    <a:pt x="1434" y="314"/>
                  </a:lnTo>
                  <a:lnTo>
                    <a:pt x="1428" y="311"/>
                  </a:lnTo>
                  <a:lnTo>
                    <a:pt x="1423" y="308"/>
                  </a:lnTo>
                  <a:lnTo>
                    <a:pt x="1417" y="306"/>
                  </a:lnTo>
                  <a:lnTo>
                    <a:pt x="1411" y="304"/>
                  </a:lnTo>
                  <a:lnTo>
                    <a:pt x="1405" y="302"/>
                  </a:lnTo>
                  <a:lnTo>
                    <a:pt x="1398" y="300"/>
                  </a:lnTo>
                  <a:lnTo>
                    <a:pt x="1392" y="299"/>
                  </a:lnTo>
                  <a:lnTo>
                    <a:pt x="1379" y="297"/>
                  </a:lnTo>
                  <a:lnTo>
                    <a:pt x="1373" y="297"/>
                  </a:lnTo>
                  <a:lnTo>
                    <a:pt x="1367" y="297"/>
                  </a:lnTo>
                  <a:close/>
                  <a:moveTo>
                    <a:pt x="3177" y="301"/>
                  </a:moveTo>
                  <a:lnTo>
                    <a:pt x="3162" y="302"/>
                  </a:lnTo>
                  <a:lnTo>
                    <a:pt x="3148" y="304"/>
                  </a:lnTo>
                  <a:lnTo>
                    <a:pt x="3141" y="305"/>
                  </a:lnTo>
                  <a:lnTo>
                    <a:pt x="3135" y="307"/>
                  </a:lnTo>
                  <a:lnTo>
                    <a:pt x="3128" y="310"/>
                  </a:lnTo>
                  <a:lnTo>
                    <a:pt x="3121" y="312"/>
                  </a:lnTo>
                  <a:lnTo>
                    <a:pt x="3115" y="315"/>
                  </a:lnTo>
                  <a:lnTo>
                    <a:pt x="3109" y="318"/>
                  </a:lnTo>
                  <a:lnTo>
                    <a:pt x="3103" y="321"/>
                  </a:lnTo>
                  <a:lnTo>
                    <a:pt x="3097" y="325"/>
                  </a:lnTo>
                  <a:lnTo>
                    <a:pt x="3092" y="329"/>
                  </a:lnTo>
                  <a:lnTo>
                    <a:pt x="3086" y="334"/>
                  </a:lnTo>
                  <a:lnTo>
                    <a:pt x="3081" y="338"/>
                  </a:lnTo>
                  <a:lnTo>
                    <a:pt x="3076" y="343"/>
                  </a:lnTo>
                  <a:lnTo>
                    <a:pt x="3071" y="348"/>
                  </a:lnTo>
                  <a:lnTo>
                    <a:pt x="3067" y="353"/>
                  </a:lnTo>
                  <a:lnTo>
                    <a:pt x="3063" y="359"/>
                  </a:lnTo>
                  <a:lnTo>
                    <a:pt x="3059" y="365"/>
                  </a:lnTo>
                  <a:lnTo>
                    <a:pt x="3052" y="377"/>
                  </a:lnTo>
                  <a:lnTo>
                    <a:pt x="3048" y="384"/>
                  </a:lnTo>
                  <a:lnTo>
                    <a:pt x="3046" y="391"/>
                  </a:lnTo>
                  <a:lnTo>
                    <a:pt x="3043" y="398"/>
                  </a:lnTo>
                  <a:lnTo>
                    <a:pt x="3041" y="405"/>
                  </a:lnTo>
                  <a:lnTo>
                    <a:pt x="3039" y="413"/>
                  </a:lnTo>
                  <a:lnTo>
                    <a:pt x="3037" y="420"/>
                  </a:lnTo>
                  <a:lnTo>
                    <a:pt x="3035" y="436"/>
                  </a:lnTo>
                  <a:lnTo>
                    <a:pt x="3034" y="453"/>
                  </a:lnTo>
                  <a:lnTo>
                    <a:pt x="3034" y="462"/>
                  </a:lnTo>
                  <a:lnTo>
                    <a:pt x="3035" y="470"/>
                  </a:lnTo>
                  <a:lnTo>
                    <a:pt x="3036" y="478"/>
                  </a:lnTo>
                  <a:lnTo>
                    <a:pt x="3037" y="486"/>
                  </a:lnTo>
                  <a:lnTo>
                    <a:pt x="3041" y="501"/>
                  </a:lnTo>
                  <a:lnTo>
                    <a:pt x="3046" y="515"/>
                  </a:lnTo>
                  <a:lnTo>
                    <a:pt x="3052" y="529"/>
                  </a:lnTo>
                  <a:lnTo>
                    <a:pt x="3055" y="535"/>
                  </a:lnTo>
                  <a:lnTo>
                    <a:pt x="3059" y="541"/>
                  </a:lnTo>
                  <a:lnTo>
                    <a:pt x="3063" y="547"/>
                  </a:lnTo>
                  <a:lnTo>
                    <a:pt x="3067" y="553"/>
                  </a:lnTo>
                  <a:lnTo>
                    <a:pt x="3071" y="558"/>
                  </a:lnTo>
                  <a:lnTo>
                    <a:pt x="3076" y="563"/>
                  </a:lnTo>
                  <a:lnTo>
                    <a:pt x="3081" y="568"/>
                  </a:lnTo>
                  <a:lnTo>
                    <a:pt x="3086" y="573"/>
                  </a:lnTo>
                  <a:lnTo>
                    <a:pt x="3092" y="577"/>
                  </a:lnTo>
                  <a:lnTo>
                    <a:pt x="3097" y="581"/>
                  </a:lnTo>
                  <a:lnTo>
                    <a:pt x="3109" y="588"/>
                  </a:lnTo>
                  <a:lnTo>
                    <a:pt x="3115" y="591"/>
                  </a:lnTo>
                  <a:lnTo>
                    <a:pt x="3121" y="594"/>
                  </a:lnTo>
                  <a:lnTo>
                    <a:pt x="3135" y="599"/>
                  </a:lnTo>
                  <a:lnTo>
                    <a:pt x="3148" y="602"/>
                  </a:lnTo>
                  <a:lnTo>
                    <a:pt x="3155" y="604"/>
                  </a:lnTo>
                  <a:lnTo>
                    <a:pt x="3162" y="604"/>
                  </a:lnTo>
                  <a:lnTo>
                    <a:pt x="3177" y="605"/>
                  </a:lnTo>
                  <a:lnTo>
                    <a:pt x="3192" y="604"/>
                  </a:lnTo>
                  <a:lnTo>
                    <a:pt x="3206" y="602"/>
                  </a:lnTo>
                  <a:lnTo>
                    <a:pt x="3213" y="601"/>
                  </a:lnTo>
                  <a:lnTo>
                    <a:pt x="3219" y="599"/>
                  </a:lnTo>
                  <a:lnTo>
                    <a:pt x="3226" y="597"/>
                  </a:lnTo>
                  <a:lnTo>
                    <a:pt x="3232" y="594"/>
                  </a:lnTo>
                  <a:lnTo>
                    <a:pt x="3239" y="591"/>
                  </a:lnTo>
                  <a:lnTo>
                    <a:pt x="3245" y="588"/>
                  </a:lnTo>
                  <a:lnTo>
                    <a:pt x="3251" y="585"/>
                  </a:lnTo>
                  <a:lnTo>
                    <a:pt x="3257" y="581"/>
                  </a:lnTo>
                  <a:lnTo>
                    <a:pt x="3262" y="577"/>
                  </a:lnTo>
                  <a:lnTo>
                    <a:pt x="3268" y="573"/>
                  </a:lnTo>
                  <a:lnTo>
                    <a:pt x="3273" y="568"/>
                  </a:lnTo>
                  <a:lnTo>
                    <a:pt x="3278" y="563"/>
                  </a:lnTo>
                  <a:lnTo>
                    <a:pt x="3282" y="558"/>
                  </a:lnTo>
                  <a:lnTo>
                    <a:pt x="3287" y="553"/>
                  </a:lnTo>
                  <a:lnTo>
                    <a:pt x="3291" y="547"/>
                  </a:lnTo>
                  <a:lnTo>
                    <a:pt x="3295" y="541"/>
                  </a:lnTo>
                  <a:lnTo>
                    <a:pt x="3302" y="529"/>
                  </a:lnTo>
                  <a:lnTo>
                    <a:pt x="3305" y="522"/>
                  </a:lnTo>
                  <a:lnTo>
                    <a:pt x="3308" y="515"/>
                  </a:lnTo>
                  <a:lnTo>
                    <a:pt x="3311" y="508"/>
                  </a:lnTo>
                  <a:lnTo>
                    <a:pt x="3313" y="501"/>
                  </a:lnTo>
                  <a:lnTo>
                    <a:pt x="3315" y="494"/>
                  </a:lnTo>
                  <a:lnTo>
                    <a:pt x="3317" y="486"/>
                  </a:lnTo>
                  <a:lnTo>
                    <a:pt x="3319" y="470"/>
                  </a:lnTo>
                  <a:lnTo>
                    <a:pt x="3320" y="453"/>
                  </a:lnTo>
                  <a:lnTo>
                    <a:pt x="3319" y="444"/>
                  </a:lnTo>
                  <a:lnTo>
                    <a:pt x="3319" y="436"/>
                  </a:lnTo>
                  <a:lnTo>
                    <a:pt x="3318" y="428"/>
                  </a:lnTo>
                  <a:lnTo>
                    <a:pt x="3317" y="420"/>
                  </a:lnTo>
                  <a:lnTo>
                    <a:pt x="3313" y="405"/>
                  </a:lnTo>
                  <a:lnTo>
                    <a:pt x="3308" y="391"/>
                  </a:lnTo>
                  <a:lnTo>
                    <a:pt x="3302" y="377"/>
                  </a:lnTo>
                  <a:lnTo>
                    <a:pt x="3299" y="371"/>
                  </a:lnTo>
                  <a:lnTo>
                    <a:pt x="3295" y="365"/>
                  </a:lnTo>
                  <a:lnTo>
                    <a:pt x="3291" y="359"/>
                  </a:lnTo>
                  <a:lnTo>
                    <a:pt x="3287" y="353"/>
                  </a:lnTo>
                  <a:lnTo>
                    <a:pt x="3282" y="348"/>
                  </a:lnTo>
                  <a:lnTo>
                    <a:pt x="3278" y="343"/>
                  </a:lnTo>
                  <a:lnTo>
                    <a:pt x="3273" y="338"/>
                  </a:lnTo>
                  <a:lnTo>
                    <a:pt x="3268" y="334"/>
                  </a:lnTo>
                  <a:lnTo>
                    <a:pt x="3262" y="329"/>
                  </a:lnTo>
                  <a:lnTo>
                    <a:pt x="3257" y="325"/>
                  </a:lnTo>
                  <a:lnTo>
                    <a:pt x="3245" y="318"/>
                  </a:lnTo>
                  <a:lnTo>
                    <a:pt x="3239" y="315"/>
                  </a:lnTo>
                  <a:lnTo>
                    <a:pt x="3232" y="312"/>
                  </a:lnTo>
                  <a:lnTo>
                    <a:pt x="3219" y="307"/>
                  </a:lnTo>
                  <a:lnTo>
                    <a:pt x="3206" y="304"/>
                  </a:lnTo>
                  <a:lnTo>
                    <a:pt x="3199" y="303"/>
                  </a:lnTo>
                  <a:lnTo>
                    <a:pt x="3192" y="302"/>
                  </a:lnTo>
                  <a:lnTo>
                    <a:pt x="3177" y="301"/>
                  </a:lnTo>
                  <a:close/>
                  <a:moveTo>
                    <a:pt x="4997" y="297"/>
                  </a:moveTo>
                  <a:lnTo>
                    <a:pt x="4988" y="297"/>
                  </a:lnTo>
                  <a:lnTo>
                    <a:pt x="4979" y="298"/>
                  </a:lnTo>
                  <a:lnTo>
                    <a:pt x="4971" y="299"/>
                  </a:lnTo>
                  <a:lnTo>
                    <a:pt x="4963" y="300"/>
                  </a:lnTo>
                  <a:lnTo>
                    <a:pt x="4955" y="302"/>
                  </a:lnTo>
                  <a:lnTo>
                    <a:pt x="4948" y="305"/>
                  </a:lnTo>
                  <a:lnTo>
                    <a:pt x="4941" y="307"/>
                  </a:lnTo>
                  <a:lnTo>
                    <a:pt x="4934" y="311"/>
                  </a:lnTo>
                  <a:lnTo>
                    <a:pt x="4921" y="318"/>
                  </a:lnTo>
                  <a:lnTo>
                    <a:pt x="4910" y="327"/>
                  </a:lnTo>
                  <a:lnTo>
                    <a:pt x="4904" y="331"/>
                  </a:lnTo>
                  <a:lnTo>
                    <a:pt x="4899" y="336"/>
                  </a:lnTo>
                  <a:lnTo>
                    <a:pt x="4890" y="347"/>
                  </a:lnTo>
                  <a:lnTo>
                    <a:pt x="4885" y="353"/>
                  </a:lnTo>
                  <a:lnTo>
                    <a:pt x="4881" y="359"/>
                  </a:lnTo>
                  <a:lnTo>
                    <a:pt x="4874" y="371"/>
                  </a:lnTo>
                  <a:lnTo>
                    <a:pt x="4871" y="377"/>
                  </a:lnTo>
                  <a:lnTo>
                    <a:pt x="4868" y="384"/>
                  </a:lnTo>
                  <a:lnTo>
                    <a:pt x="4863" y="397"/>
                  </a:lnTo>
                  <a:lnTo>
                    <a:pt x="4859" y="411"/>
                  </a:lnTo>
                  <a:lnTo>
                    <a:pt x="4856" y="425"/>
                  </a:lnTo>
                  <a:lnTo>
                    <a:pt x="4855" y="439"/>
                  </a:lnTo>
                  <a:lnTo>
                    <a:pt x="4854" y="454"/>
                  </a:lnTo>
                  <a:lnTo>
                    <a:pt x="4855" y="469"/>
                  </a:lnTo>
                  <a:lnTo>
                    <a:pt x="4856" y="476"/>
                  </a:lnTo>
                  <a:lnTo>
                    <a:pt x="4856" y="483"/>
                  </a:lnTo>
                  <a:lnTo>
                    <a:pt x="4859" y="497"/>
                  </a:lnTo>
                  <a:lnTo>
                    <a:pt x="4861" y="504"/>
                  </a:lnTo>
                  <a:lnTo>
                    <a:pt x="4863" y="510"/>
                  </a:lnTo>
                  <a:lnTo>
                    <a:pt x="4865" y="517"/>
                  </a:lnTo>
                  <a:lnTo>
                    <a:pt x="4868" y="524"/>
                  </a:lnTo>
                  <a:lnTo>
                    <a:pt x="4871" y="530"/>
                  </a:lnTo>
                  <a:lnTo>
                    <a:pt x="4874" y="537"/>
                  </a:lnTo>
                  <a:lnTo>
                    <a:pt x="4878" y="543"/>
                  </a:lnTo>
                  <a:lnTo>
                    <a:pt x="4881" y="549"/>
                  </a:lnTo>
                  <a:lnTo>
                    <a:pt x="4885" y="555"/>
                  </a:lnTo>
                  <a:lnTo>
                    <a:pt x="4890" y="561"/>
                  </a:lnTo>
                  <a:lnTo>
                    <a:pt x="4894" y="566"/>
                  </a:lnTo>
                  <a:lnTo>
                    <a:pt x="4899" y="571"/>
                  </a:lnTo>
                  <a:lnTo>
                    <a:pt x="4904" y="576"/>
                  </a:lnTo>
                  <a:lnTo>
                    <a:pt x="4910" y="581"/>
                  </a:lnTo>
                  <a:lnTo>
                    <a:pt x="4915" y="585"/>
                  </a:lnTo>
                  <a:lnTo>
                    <a:pt x="4921" y="589"/>
                  </a:lnTo>
                  <a:lnTo>
                    <a:pt x="4927" y="593"/>
                  </a:lnTo>
                  <a:lnTo>
                    <a:pt x="4934" y="597"/>
                  </a:lnTo>
                  <a:lnTo>
                    <a:pt x="4941" y="600"/>
                  </a:lnTo>
                  <a:lnTo>
                    <a:pt x="4948" y="603"/>
                  </a:lnTo>
                  <a:lnTo>
                    <a:pt x="4955" y="605"/>
                  </a:lnTo>
                  <a:lnTo>
                    <a:pt x="4963" y="607"/>
                  </a:lnTo>
                  <a:lnTo>
                    <a:pt x="4971" y="608"/>
                  </a:lnTo>
                  <a:lnTo>
                    <a:pt x="4979" y="610"/>
                  </a:lnTo>
                  <a:lnTo>
                    <a:pt x="4988" y="610"/>
                  </a:lnTo>
                  <a:lnTo>
                    <a:pt x="4997" y="611"/>
                  </a:lnTo>
                  <a:lnTo>
                    <a:pt x="5010" y="610"/>
                  </a:lnTo>
                  <a:lnTo>
                    <a:pt x="5022" y="608"/>
                  </a:lnTo>
                  <a:lnTo>
                    <a:pt x="5035" y="605"/>
                  </a:lnTo>
                  <a:lnTo>
                    <a:pt x="5047" y="601"/>
                  </a:lnTo>
                  <a:lnTo>
                    <a:pt x="5053" y="599"/>
                  </a:lnTo>
                  <a:lnTo>
                    <a:pt x="5059" y="596"/>
                  </a:lnTo>
                  <a:lnTo>
                    <a:pt x="5070" y="589"/>
                  </a:lnTo>
                  <a:lnTo>
                    <a:pt x="5075" y="586"/>
                  </a:lnTo>
                  <a:lnTo>
                    <a:pt x="5081" y="582"/>
                  </a:lnTo>
                  <a:lnTo>
                    <a:pt x="5086" y="577"/>
                  </a:lnTo>
                  <a:lnTo>
                    <a:pt x="5090" y="573"/>
                  </a:lnTo>
                  <a:lnTo>
                    <a:pt x="5095" y="568"/>
                  </a:lnTo>
                  <a:lnTo>
                    <a:pt x="5100" y="562"/>
                  </a:lnTo>
                  <a:lnTo>
                    <a:pt x="5104" y="557"/>
                  </a:lnTo>
                  <a:lnTo>
                    <a:pt x="5108" y="551"/>
                  </a:lnTo>
                  <a:lnTo>
                    <a:pt x="5115" y="538"/>
                  </a:lnTo>
                  <a:lnTo>
                    <a:pt x="5118" y="531"/>
                  </a:lnTo>
                  <a:lnTo>
                    <a:pt x="5121" y="524"/>
                  </a:lnTo>
                  <a:lnTo>
                    <a:pt x="5126" y="509"/>
                  </a:lnTo>
                  <a:lnTo>
                    <a:pt x="5128" y="500"/>
                  </a:lnTo>
                  <a:lnTo>
                    <a:pt x="5129" y="492"/>
                  </a:lnTo>
                  <a:lnTo>
                    <a:pt x="5131" y="483"/>
                  </a:lnTo>
                  <a:lnTo>
                    <a:pt x="5132" y="474"/>
                  </a:lnTo>
                  <a:lnTo>
                    <a:pt x="5132" y="464"/>
                  </a:lnTo>
                  <a:lnTo>
                    <a:pt x="5132" y="454"/>
                  </a:lnTo>
                  <a:lnTo>
                    <a:pt x="5132" y="444"/>
                  </a:lnTo>
                  <a:lnTo>
                    <a:pt x="5132" y="434"/>
                  </a:lnTo>
                  <a:lnTo>
                    <a:pt x="5131" y="425"/>
                  </a:lnTo>
                  <a:lnTo>
                    <a:pt x="5129" y="416"/>
                  </a:lnTo>
                  <a:lnTo>
                    <a:pt x="5126" y="399"/>
                  </a:lnTo>
                  <a:lnTo>
                    <a:pt x="5124" y="391"/>
                  </a:lnTo>
                  <a:lnTo>
                    <a:pt x="5121" y="384"/>
                  </a:lnTo>
                  <a:lnTo>
                    <a:pt x="5118" y="376"/>
                  </a:lnTo>
                  <a:lnTo>
                    <a:pt x="5115" y="369"/>
                  </a:lnTo>
                  <a:lnTo>
                    <a:pt x="5111" y="363"/>
                  </a:lnTo>
                  <a:lnTo>
                    <a:pt x="5108" y="356"/>
                  </a:lnTo>
                  <a:lnTo>
                    <a:pt x="5104" y="351"/>
                  </a:lnTo>
                  <a:lnTo>
                    <a:pt x="5100" y="345"/>
                  </a:lnTo>
                  <a:lnTo>
                    <a:pt x="5090" y="335"/>
                  </a:lnTo>
                  <a:lnTo>
                    <a:pt x="5081" y="326"/>
                  </a:lnTo>
                  <a:lnTo>
                    <a:pt x="5070" y="318"/>
                  </a:lnTo>
                  <a:lnTo>
                    <a:pt x="5064" y="314"/>
                  </a:lnTo>
                  <a:lnTo>
                    <a:pt x="5059" y="311"/>
                  </a:lnTo>
                  <a:lnTo>
                    <a:pt x="5053" y="308"/>
                  </a:lnTo>
                  <a:lnTo>
                    <a:pt x="5047" y="306"/>
                  </a:lnTo>
                  <a:lnTo>
                    <a:pt x="5041" y="304"/>
                  </a:lnTo>
                  <a:lnTo>
                    <a:pt x="5035" y="302"/>
                  </a:lnTo>
                  <a:lnTo>
                    <a:pt x="5029" y="300"/>
                  </a:lnTo>
                  <a:lnTo>
                    <a:pt x="5022" y="299"/>
                  </a:lnTo>
                  <a:lnTo>
                    <a:pt x="5010" y="297"/>
                  </a:lnTo>
                  <a:lnTo>
                    <a:pt x="5003" y="297"/>
                  </a:lnTo>
                  <a:lnTo>
                    <a:pt x="4997" y="297"/>
                  </a:lnTo>
                  <a:close/>
                </a:path>
              </a:pathLst>
            </a:custGeom>
            <a:solidFill>
              <a:srgbClr val="1C66F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44"/>
              <a:endParaRPr lang="fi-FI" sz="1400">
                <a:solidFill>
                  <a:srgbClr val="4D4D4D"/>
                </a:solidFill>
              </a:endParaRPr>
            </a:p>
          </p:txBody>
        </p:sp>
        <p:grpSp>
          <p:nvGrpSpPr>
            <p:cNvPr id="19" name="Group 25"/>
            <p:cNvGrpSpPr>
              <a:grpSpLocks noChangeAspect="1"/>
            </p:cNvGrpSpPr>
            <p:nvPr userDrawn="1"/>
          </p:nvGrpSpPr>
          <p:grpSpPr>
            <a:xfrm>
              <a:off x="1900114" y="6364340"/>
              <a:ext cx="1052413" cy="162000"/>
              <a:chOff x="2160588" y="4324351"/>
              <a:chExt cx="7105649" cy="1093788"/>
            </a:xfrm>
            <a:grpFill/>
          </p:grpSpPr>
          <p:sp>
            <p:nvSpPr>
              <p:cNvPr id="23" name="Freeform 7"/>
              <p:cNvSpPr>
                <a:spLocks noEditPoints="1"/>
              </p:cNvSpPr>
              <p:nvPr userDrawn="1"/>
            </p:nvSpPr>
            <p:spPr bwMode="auto">
              <a:xfrm>
                <a:off x="2160588" y="4527551"/>
                <a:ext cx="595312" cy="890588"/>
              </a:xfrm>
              <a:custGeom>
                <a:avLst/>
                <a:gdLst>
                  <a:gd name="T0" fmla="*/ 372 w 375"/>
                  <a:gd name="T1" fmla="*/ 420 h 561"/>
                  <a:gd name="T2" fmla="*/ 357 w 375"/>
                  <a:gd name="T3" fmla="*/ 465 h 561"/>
                  <a:gd name="T4" fmla="*/ 333 w 375"/>
                  <a:gd name="T5" fmla="*/ 502 h 561"/>
                  <a:gd name="T6" fmla="*/ 301 w 375"/>
                  <a:gd name="T7" fmla="*/ 530 h 561"/>
                  <a:gd name="T8" fmla="*/ 262 w 375"/>
                  <a:gd name="T9" fmla="*/ 549 h 561"/>
                  <a:gd name="T10" fmla="*/ 198 w 375"/>
                  <a:gd name="T11" fmla="*/ 561 h 561"/>
                  <a:gd name="T12" fmla="*/ 140 w 375"/>
                  <a:gd name="T13" fmla="*/ 557 h 561"/>
                  <a:gd name="T14" fmla="*/ 86 w 375"/>
                  <a:gd name="T15" fmla="*/ 540 h 561"/>
                  <a:gd name="T16" fmla="*/ 43 w 375"/>
                  <a:gd name="T17" fmla="*/ 515 h 561"/>
                  <a:gd name="T18" fmla="*/ 85 w 375"/>
                  <a:gd name="T19" fmla="*/ 469 h 561"/>
                  <a:gd name="T20" fmla="*/ 134 w 375"/>
                  <a:gd name="T21" fmla="*/ 494 h 561"/>
                  <a:gd name="T22" fmla="*/ 178 w 375"/>
                  <a:gd name="T23" fmla="*/ 502 h 561"/>
                  <a:gd name="T24" fmla="*/ 238 w 375"/>
                  <a:gd name="T25" fmla="*/ 494 h 561"/>
                  <a:gd name="T26" fmla="*/ 269 w 375"/>
                  <a:gd name="T27" fmla="*/ 478 h 561"/>
                  <a:gd name="T28" fmla="*/ 302 w 375"/>
                  <a:gd name="T29" fmla="*/ 437 h 561"/>
                  <a:gd name="T30" fmla="*/ 311 w 375"/>
                  <a:gd name="T31" fmla="*/ 406 h 561"/>
                  <a:gd name="T32" fmla="*/ 314 w 375"/>
                  <a:gd name="T33" fmla="*/ 342 h 561"/>
                  <a:gd name="T34" fmla="*/ 285 w 375"/>
                  <a:gd name="T35" fmla="*/ 375 h 561"/>
                  <a:gd name="T36" fmla="*/ 248 w 375"/>
                  <a:gd name="T37" fmla="*/ 397 h 561"/>
                  <a:gd name="T38" fmla="*/ 203 w 375"/>
                  <a:gd name="T39" fmla="*/ 410 h 561"/>
                  <a:gd name="T40" fmla="*/ 154 w 375"/>
                  <a:gd name="T41" fmla="*/ 409 h 561"/>
                  <a:gd name="T42" fmla="*/ 109 w 375"/>
                  <a:gd name="T43" fmla="*/ 396 h 561"/>
                  <a:gd name="T44" fmla="*/ 70 w 375"/>
                  <a:gd name="T45" fmla="*/ 372 h 561"/>
                  <a:gd name="T46" fmla="*/ 39 w 375"/>
                  <a:gd name="T47" fmla="*/ 339 h 561"/>
                  <a:gd name="T48" fmla="*/ 13 w 375"/>
                  <a:gd name="T49" fmla="*/ 290 h 561"/>
                  <a:gd name="T50" fmla="*/ 2 w 375"/>
                  <a:gd name="T51" fmla="*/ 241 h 561"/>
                  <a:gd name="T52" fmla="*/ 1 w 375"/>
                  <a:gd name="T53" fmla="*/ 187 h 561"/>
                  <a:gd name="T54" fmla="*/ 11 w 375"/>
                  <a:gd name="T55" fmla="*/ 136 h 561"/>
                  <a:gd name="T56" fmla="*/ 30 w 375"/>
                  <a:gd name="T57" fmla="*/ 91 h 561"/>
                  <a:gd name="T58" fmla="*/ 59 w 375"/>
                  <a:gd name="T59" fmla="*/ 53 h 561"/>
                  <a:gd name="T60" fmla="*/ 96 w 375"/>
                  <a:gd name="T61" fmla="*/ 25 h 561"/>
                  <a:gd name="T62" fmla="*/ 141 w 375"/>
                  <a:gd name="T63" fmla="*/ 6 h 561"/>
                  <a:gd name="T64" fmla="*/ 193 w 375"/>
                  <a:gd name="T65" fmla="*/ 0 h 561"/>
                  <a:gd name="T66" fmla="*/ 243 w 375"/>
                  <a:gd name="T67" fmla="*/ 9 h 561"/>
                  <a:gd name="T68" fmla="*/ 283 w 375"/>
                  <a:gd name="T69" fmla="*/ 30 h 561"/>
                  <a:gd name="T70" fmla="*/ 316 w 375"/>
                  <a:gd name="T71" fmla="*/ 63 h 561"/>
                  <a:gd name="T72" fmla="*/ 176 w 375"/>
                  <a:gd name="T73" fmla="*/ 60 h 561"/>
                  <a:gd name="T74" fmla="*/ 137 w 375"/>
                  <a:gd name="T75" fmla="*/ 71 h 561"/>
                  <a:gd name="T76" fmla="*/ 105 w 375"/>
                  <a:gd name="T77" fmla="*/ 93 h 561"/>
                  <a:gd name="T78" fmla="*/ 82 w 375"/>
                  <a:gd name="T79" fmla="*/ 125 h 561"/>
                  <a:gd name="T80" fmla="*/ 65 w 375"/>
                  <a:gd name="T81" fmla="*/ 179 h 561"/>
                  <a:gd name="T82" fmla="*/ 65 w 375"/>
                  <a:gd name="T83" fmla="*/ 239 h 561"/>
                  <a:gd name="T84" fmla="*/ 76 w 375"/>
                  <a:gd name="T85" fmla="*/ 279 h 561"/>
                  <a:gd name="T86" fmla="*/ 96 w 375"/>
                  <a:gd name="T87" fmla="*/ 312 h 561"/>
                  <a:gd name="T88" fmla="*/ 131 w 375"/>
                  <a:gd name="T89" fmla="*/ 339 h 561"/>
                  <a:gd name="T90" fmla="*/ 176 w 375"/>
                  <a:gd name="T91" fmla="*/ 352 h 561"/>
                  <a:gd name="T92" fmla="*/ 220 w 375"/>
                  <a:gd name="T93" fmla="*/ 350 h 561"/>
                  <a:gd name="T94" fmla="*/ 245 w 375"/>
                  <a:gd name="T95" fmla="*/ 340 h 561"/>
                  <a:gd name="T96" fmla="*/ 271 w 375"/>
                  <a:gd name="T97" fmla="*/ 321 h 561"/>
                  <a:gd name="T98" fmla="*/ 302 w 375"/>
                  <a:gd name="T99" fmla="*/ 272 h 561"/>
                  <a:gd name="T100" fmla="*/ 314 w 375"/>
                  <a:gd name="T101" fmla="*/ 208 h 561"/>
                  <a:gd name="T102" fmla="*/ 303 w 375"/>
                  <a:gd name="T103" fmla="*/ 143 h 561"/>
                  <a:gd name="T104" fmla="*/ 282 w 375"/>
                  <a:gd name="T105" fmla="*/ 102 h 561"/>
                  <a:gd name="T106" fmla="*/ 243 w 375"/>
                  <a:gd name="T107" fmla="*/ 70 h 561"/>
                  <a:gd name="T108" fmla="*/ 190 w 375"/>
                  <a:gd name="T109" fmla="*/ 5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75" h="561">
                    <a:moveTo>
                      <a:pt x="375" y="379"/>
                    </a:moveTo>
                    <a:lnTo>
                      <a:pt x="375" y="390"/>
                    </a:lnTo>
                    <a:lnTo>
                      <a:pt x="375" y="400"/>
                    </a:lnTo>
                    <a:lnTo>
                      <a:pt x="373" y="411"/>
                    </a:lnTo>
                    <a:lnTo>
                      <a:pt x="372" y="420"/>
                    </a:lnTo>
                    <a:lnTo>
                      <a:pt x="370" y="430"/>
                    </a:lnTo>
                    <a:lnTo>
                      <a:pt x="367" y="439"/>
                    </a:lnTo>
                    <a:lnTo>
                      <a:pt x="364" y="448"/>
                    </a:lnTo>
                    <a:lnTo>
                      <a:pt x="361" y="457"/>
                    </a:lnTo>
                    <a:lnTo>
                      <a:pt x="357" y="465"/>
                    </a:lnTo>
                    <a:lnTo>
                      <a:pt x="353" y="473"/>
                    </a:lnTo>
                    <a:lnTo>
                      <a:pt x="349" y="481"/>
                    </a:lnTo>
                    <a:lnTo>
                      <a:pt x="344" y="488"/>
                    </a:lnTo>
                    <a:lnTo>
                      <a:pt x="339" y="495"/>
                    </a:lnTo>
                    <a:lnTo>
                      <a:pt x="333" y="502"/>
                    </a:lnTo>
                    <a:lnTo>
                      <a:pt x="327" y="508"/>
                    </a:lnTo>
                    <a:lnTo>
                      <a:pt x="321" y="514"/>
                    </a:lnTo>
                    <a:lnTo>
                      <a:pt x="315" y="520"/>
                    </a:lnTo>
                    <a:lnTo>
                      <a:pt x="308" y="525"/>
                    </a:lnTo>
                    <a:lnTo>
                      <a:pt x="301" y="530"/>
                    </a:lnTo>
                    <a:lnTo>
                      <a:pt x="294" y="534"/>
                    </a:lnTo>
                    <a:lnTo>
                      <a:pt x="286" y="539"/>
                    </a:lnTo>
                    <a:lnTo>
                      <a:pt x="278" y="542"/>
                    </a:lnTo>
                    <a:lnTo>
                      <a:pt x="270" y="546"/>
                    </a:lnTo>
                    <a:lnTo>
                      <a:pt x="262" y="549"/>
                    </a:lnTo>
                    <a:lnTo>
                      <a:pt x="253" y="552"/>
                    </a:lnTo>
                    <a:lnTo>
                      <a:pt x="245" y="554"/>
                    </a:lnTo>
                    <a:lnTo>
                      <a:pt x="226" y="558"/>
                    </a:lnTo>
                    <a:lnTo>
                      <a:pt x="208" y="560"/>
                    </a:lnTo>
                    <a:lnTo>
                      <a:pt x="198" y="561"/>
                    </a:lnTo>
                    <a:lnTo>
                      <a:pt x="188" y="561"/>
                    </a:lnTo>
                    <a:lnTo>
                      <a:pt x="176" y="561"/>
                    </a:lnTo>
                    <a:lnTo>
                      <a:pt x="163" y="560"/>
                    </a:lnTo>
                    <a:lnTo>
                      <a:pt x="151" y="559"/>
                    </a:lnTo>
                    <a:lnTo>
                      <a:pt x="140" y="557"/>
                    </a:lnTo>
                    <a:lnTo>
                      <a:pt x="128" y="554"/>
                    </a:lnTo>
                    <a:lnTo>
                      <a:pt x="117" y="551"/>
                    </a:lnTo>
                    <a:lnTo>
                      <a:pt x="107" y="548"/>
                    </a:lnTo>
                    <a:lnTo>
                      <a:pt x="96" y="544"/>
                    </a:lnTo>
                    <a:lnTo>
                      <a:pt x="86" y="540"/>
                    </a:lnTo>
                    <a:lnTo>
                      <a:pt x="77" y="536"/>
                    </a:lnTo>
                    <a:lnTo>
                      <a:pt x="68" y="531"/>
                    </a:lnTo>
                    <a:lnTo>
                      <a:pt x="59" y="526"/>
                    </a:lnTo>
                    <a:lnTo>
                      <a:pt x="50" y="520"/>
                    </a:lnTo>
                    <a:lnTo>
                      <a:pt x="43" y="515"/>
                    </a:lnTo>
                    <a:lnTo>
                      <a:pt x="35" y="509"/>
                    </a:lnTo>
                    <a:lnTo>
                      <a:pt x="28" y="503"/>
                    </a:lnTo>
                    <a:lnTo>
                      <a:pt x="68" y="456"/>
                    </a:lnTo>
                    <a:lnTo>
                      <a:pt x="79" y="465"/>
                    </a:lnTo>
                    <a:lnTo>
                      <a:pt x="85" y="469"/>
                    </a:lnTo>
                    <a:lnTo>
                      <a:pt x="91" y="473"/>
                    </a:lnTo>
                    <a:lnTo>
                      <a:pt x="104" y="481"/>
                    </a:lnTo>
                    <a:lnTo>
                      <a:pt x="119" y="488"/>
                    </a:lnTo>
                    <a:lnTo>
                      <a:pt x="126" y="491"/>
                    </a:lnTo>
                    <a:lnTo>
                      <a:pt x="134" y="494"/>
                    </a:lnTo>
                    <a:lnTo>
                      <a:pt x="143" y="496"/>
                    </a:lnTo>
                    <a:lnTo>
                      <a:pt x="151" y="498"/>
                    </a:lnTo>
                    <a:lnTo>
                      <a:pt x="160" y="500"/>
                    </a:lnTo>
                    <a:lnTo>
                      <a:pt x="169" y="501"/>
                    </a:lnTo>
                    <a:lnTo>
                      <a:pt x="178" y="502"/>
                    </a:lnTo>
                    <a:lnTo>
                      <a:pt x="188" y="502"/>
                    </a:lnTo>
                    <a:lnTo>
                      <a:pt x="201" y="502"/>
                    </a:lnTo>
                    <a:lnTo>
                      <a:pt x="214" y="500"/>
                    </a:lnTo>
                    <a:lnTo>
                      <a:pt x="226" y="498"/>
                    </a:lnTo>
                    <a:lnTo>
                      <a:pt x="238" y="494"/>
                    </a:lnTo>
                    <a:lnTo>
                      <a:pt x="244" y="492"/>
                    </a:lnTo>
                    <a:lnTo>
                      <a:pt x="249" y="490"/>
                    </a:lnTo>
                    <a:lnTo>
                      <a:pt x="259" y="484"/>
                    </a:lnTo>
                    <a:lnTo>
                      <a:pt x="264" y="481"/>
                    </a:lnTo>
                    <a:lnTo>
                      <a:pt x="269" y="478"/>
                    </a:lnTo>
                    <a:lnTo>
                      <a:pt x="278" y="471"/>
                    </a:lnTo>
                    <a:lnTo>
                      <a:pt x="286" y="462"/>
                    </a:lnTo>
                    <a:lnTo>
                      <a:pt x="293" y="453"/>
                    </a:lnTo>
                    <a:lnTo>
                      <a:pt x="299" y="443"/>
                    </a:lnTo>
                    <a:lnTo>
                      <a:pt x="302" y="437"/>
                    </a:lnTo>
                    <a:lnTo>
                      <a:pt x="304" y="432"/>
                    </a:lnTo>
                    <a:lnTo>
                      <a:pt x="306" y="426"/>
                    </a:lnTo>
                    <a:lnTo>
                      <a:pt x="308" y="420"/>
                    </a:lnTo>
                    <a:lnTo>
                      <a:pt x="310" y="413"/>
                    </a:lnTo>
                    <a:lnTo>
                      <a:pt x="311" y="406"/>
                    </a:lnTo>
                    <a:lnTo>
                      <a:pt x="312" y="400"/>
                    </a:lnTo>
                    <a:lnTo>
                      <a:pt x="313" y="392"/>
                    </a:lnTo>
                    <a:lnTo>
                      <a:pt x="313" y="385"/>
                    </a:lnTo>
                    <a:lnTo>
                      <a:pt x="314" y="378"/>
                    </a:lnTo>
                    <a:lnTo>
                      <a:pt x="314" y="342"/>
                    </a:lnTo>
                    <a:lnTo>
                      <a:pt x="308" y="350"/>
                    </a:lnTo>
                    <a:lnTo>
                      <a:pt x="302" y="358"/>
                    </a:lnTo>
                    <a:lnTo>
                      <a:pt x="295" y="365"/>
                    </a:lnTo>
                    <a:lnTo>
                      <a:pt x="288" y="371"/>
                    </a:lnTo>
                    <a:lnTo>
                      <a:pt x="285" y="375"/>
                    </a:lnTo>
                    <a:lnTo>
                      <a:pt x="281" y="378"/>
                    </a:lnTo>
                    <a:lnTo>
                      <a:pt x="273" y="383"/>
                    </a:lnTo>
                    <a:lnTo>
                      <a:pt x="265" y="388"/>
                    </a:lnTo>
                    <a:lnTo>
                      <a:pt x="257" y="393"/>
                    </a:lnTo>
                    <a:lnTo>
                      <a:pt x="248" y="397"/>
                    </a:lnTo>
                    <a:lnTo>
                      <a:pt x="239" y="401"/>
                    </a:lnTo>
                    <a:lnTo>
                      <a:pt x="230" y="404"/>
                    </a:lnTo>
                    <a:lnTo>
                      <a:pt x="221" y="406"/>
                    </a:lnTo>
                    <a:lnTo>
                      <a:pt x="212" y="408"/>
                    </a:lnTo>
                    <a:lnTo>
                      <a:pt x="203" y="410"/>
                    </a:lnTo>
                    <a:lnTo>
                      <a:pt x="194" y="411"/>
                    </a:lnTo>
                    <a:lnTo>
                      <a:pt x="184" y="411"/>
                    </a:lnTo>
                    <a:lnTo>
                      <a:pt x="174" y="411"/>
                    </a:lnTo>
                    <a:lnTo>
                      <a:pt x="164" y="410"/>
                    </a:lnTo>
                    <a:lnTo>
                      <a:pt x="154" y="409"/>
                    </a:lnTo>
                    <a:lnTo>
                      <a:pt x="145" y="407"/>
                    </a:lnTo>
                    <a:lnTo>
                      <a:pt x="135" y="405"/>
                    </a:lnTo>
                    <a:lnTo>
                      <a:pt x="126" y="402"/>
                    </a:lnTo>
                    <a:lnTo>
                      <a:pt x="117" y="399"/>
                    </a:lnTo>
                    <a:lnTo>
                      <a:pt x="109" y="396"/>
                    </a:lnTo>
                    <a:lnTo>
                      <a:pt x="100" y="392"/>
                    </a:lnTo>
                    <a:lnTo>
                      <a:pt x="92" y="388"/>
                    </a:lnTo>
                    <a:lnTo>
                      <a:pt x="85" y="383"/>
                    </a:lnTo>
                    <a:lnTo>
                      <a:pt x="77" y="378"/>
                    </a:lnTo>
                    <a:lnTo>
                      <a:pt x="70" y="372"/>
                    </a:lnTo>
                    <a:lnTo>
                      <a:pt x="63" y="366"/>
                    </a:lnTo>
                    <a:lnTo>
                      <a:pt x="57" y="360"/>
                    </a:lnTo>
                    <a:lnTo>
                      <a:pt x="51" y="354"/>
                    </a:lnTo>
                    <a:lnTo>
                      <a:pt x="45" y="347"/>
                    </a:lnTo>
                    <a:lnTo>
                      <a:pt x="39" y="339"/>
                    </a:lnTo>
                    <a:lnTo>
                      <a:pt x="34" y="332"/>
                    </a:lnTo>
                    <a:lnTo>
                      <a:pt x="29" y="324"/>
                    </a:lnTo>
                    <a:lnTo>
                      <a:pt x="20" y="307"/>
                    </a:lnTo>
                    <a:lnTo>
                      <a:pt x="17" y="299"/>
                    </a:lnTo>
                    <a:lnTo>
                      <a:pt x="13" y="290"/>
                    </a:lnTo>
                    <a:lnTo>
                      <a:pt x="10" y="280"/>
                    </a:lnTo>
                    <a:lnTo>
                      <a:pt x="8" y="271"/>
                    </a:lnTo>
                    <a:lnTo>
                      <a:pt x="5" y="261"/>
                    </a:lnTo>
                    <a:lnTo>
                      <a:pt x="3" y="251"/>
                    </a:lnTo>
                    <a:lnTo>
                      <a:pt x="2" y="241"/>
                    </a:lnTo>
                    <a:lnTo>
                      <a:pt x="1" y="230"/>
                    </a:lnTo>
                    <a:lnTo>
                      <a:pt x="0" y="220"/>
                    </a:lnTo>
                    <a:lnTo>
                      <a:pt x="0" y="209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2" y="176"/>
                    </a:lnTo>
                    <a:lnTo>
                      <a:pt x="4" y="166"/>
                    </a:lnTo>
                    <a:lnTo>
                      <a:pt x="6" y="156"/>
                    </a:lnTo>
                    <a:lnTo>
                      <a:pt x="8" y="146"/>
                    </a:lnTo>
                    <a:lnTo>
                      <a:pt x="11" y="136"/>
                    </a:lnTo>
                    <a:lnTo>
                      <a:pt x="14" y="126"/>
                    </a:lnTo>
                    <a:lnTo>
                      <a:pt x="17" y="117"/>
                    </a:lnTo>
                    <a:lnTo>
                      <a:pt x="21" y="108"/>
                    </a:lnTo>
                    <a:lnTo>
                      <a:pt x="26" y="99"/>
                    </a:lnTo>
                    <a:lnTo>
                      <a:pt x="30" y="91"/>
                    </a:lnTo>
                    <a:lnTo>
                      <a:pt x="35" y="82"/>
                    </a:lnTo>
                    <a:lnTo>
                      <a:pt x="41" y="75"/>
                    </a:lnTo>
                    <a:lnTo>
                      <a:pt x="47" y="67"/>
                    </a:lnTo>
                    <a:lnTo>
                      <a:pt x="53" y="60"/>
                    </a:lnTo>
                    <a:lnTo>
                      <a:pt x="59" y="53"/>
                    </a:lnTo>
                    <a:lnTo>
                      <a:pt x="66" y="47"/>
                    </a:lnTo>
                    <a:lnTo>
                      <a:pt x="73" y="41"/>
                    </a:lnTo>
                    <a:lnTo>
                      <a:pt x="81" y="35"/>
                    </a:lnTo>
                    <a:lnTo>
                      <a:pt x="88" y="29"/>
                    </a:lnTo>
                    <a:lnTo>
                      <a:pt x="96" y="25"/>
                    </a:lnTo>
                    <a:lnTo>
                      <a:pt x="105" y="20"/>
                    </a:lnTo>
                    <a:lnTo>
                      <a:pt x="113" y="16"/>
                    </a:lnTo>
                    <a:lnTo>
                      <a:pt x="122" y="12"/>
                    </a:lnTo>
                    <a:lnTo>
                      <a:pt x="132" y="9"/>
                    </a:lnTo>
                    <a:lnTo>
                      <a:pt x="141" y="6"/>
                    </a:lnTo>
                    <a:lnTo>
                      <a:pt x="151" y="4"/>
                    </a:lnTo>
                    <a:lnTo>
                      <a:pt x="161" y="2"/>
                    </a:lnTo>
                    <a:lnTo>
                      <a:pt x="171" y="1"/>
                    </a:lnTo>
                    <a:lnTo>
                      <a:pt x="182" y="0"/>
                    </a:lnTo>
                    <a:lnTo>
                      <a:pt x="193" y="0"/>
                    </a:lnTo>
                    <a:lnTo>
                      <a:pt x="201" y="0"/>
                    </a:lnTo>
                    <a:lnTo>
                      <a:pt x="209" y="1"/>
                    </a:lnTo>
                    <a:lnTo>
                      <a:pt x="226" y="4"/>
                    </a:lnTo>
                    <a:lnTo>
                      <a:pt x="235" y="6"/>
                    </a:lnTo>
                    <a:lnTo>
                      <a:pt x="243" y="9"/>
                    </a:lnTo>
                    <a:lnTo>
                      <a:pt x="252" y="12"/>
                    </a:lnTo>
                    <a:lnTo>
                      <a:pt x="260" y="16"/>
                    </a:lnTo>
                    <a:lnTo>
                      <a:pt x="268" y="20"/>
                    </a:lnTo>
                    <a:lnTo>
                      <a:pt x="276" y="25"/>
                    </a:lnTo>
                    <a:lnTo>
                      <a:pt x="283" y="30"/>
                    </a:lnTo>
                    <a:lnTo>
                      <a:pt x="290" y="36"/>
                    </a:lnTo>
                    <a:lnTo>
                      <a:pt x="297" y="42"/>
                    </a:lnTo>
                    <a:lnTo>
                      <a:pt x="304" y="48"/>
                    </a:lnTo>
                    <a:lnTo>
                      <a:pt x="310" y="56"/>
                    </a:lnTo>
                    <a:lnTo>
                      <a:pt x="316" y="63"/>
                    </a:lnTo>
                    <a:lnTo>
                      <a:pt x="316" y="7"/>
                    </a:lnTo>
                    <a:lnTo>
                      <a:pt x="375" y="7"/>
                    </a:lnTo>
                    <a:lnTo>
                      <a:pt x="375" y="379"/>
                    </a:lnTo>
                    <a:close/>
                    <a:moveTo>
                      <a:pt x="190" y="59"/>
                    </a:moveTo>
                    <a:lnTo>
                      <a:pt x="176" y="60"/>
                    </a:lnTo>
                    <a:lnTo>
                      <a:pt x="169" y="61"/>
                    </a:lnTo>
                    <a:lnTo>
                      <a:pt x="162" y="62"/>
                    </a:lnTo>
                    <a:lnTo>
                      <a:pt x="155" y="64"/>
                    </a:lnTo>
                    <a:lnTo>
                      <a:pt x="149" y="66"/>
                    </a:lnTo>
                    <a:lnTo>
                      <a:pt x="137" y="71"/>
                    </a:lnTo>
                    <a:lnTo>
                      <a:pt x="125" y="77"/>
                    </a:lnTo>
                    <a:lnTo>
                      <a:pt x="120" y="81"/>
                    </a:lnTo>
                    <a:lnTo>
                      <a:pt x="115" y="85"/>
                    </a:lnTo>
                    <a:lnTo>
                      <a:pt x="110" y="89"/>
                    </a:lnTo>
                    <a:lnTo>
                      <a:pt x="105" y="93"/>
                    </a:lnTo>
                    <a:lnTo>
                      <a:pt x="101" y="98"/>
                    </a:lnTo>
                    <a:lnTo>
                      <a:pt x="97" y="103"/>
                    </a:lnTo>
                    <a:lnTo>
                      <a:pt x="89" y="113"/>
                    </a:lnTo>
                    <a:lnTo>
                      <a:pt x="85" y="119"/>
                    </a:lnTo>
                    <a:lnTo>
                      <a:pt x="82" y="125"/>
                    </a:lnTo>
                    <a:lnTo>
                      <a:pt x="76" y="137"/>
                    </a:lnTo>
                    <a:lnTo>
                      <a:pt x="71" y="151"/>
                    </a:lnTo>
                    <a:lnTo>
                      <a:pt x="69" y="157"/>
                    </a:lnTo>
                    <a:lnTo>
                      <a:pt x="68" y="164"/>
                    </a:lnTo>
                    <a:lnTo>
                      <a:pt x="65" y="179"/>
                    </a:lnTo>
                    <a:lnTo>
                      <a:pt x="63" y="194"/>
                    </a:lnTo>
                    <a:lnTo>
                      <a:pt x="63" y="209"/>
                    </a:lnTo>
                    <a:lnTo>
                      <a:pt x="63" y="224"/>
                    </a:lnTo>
                    <a:lnTo>
                      <a:pt x="64" y="231"/>
                    </a:lnTo>
                    <a:lnTo>
                      <a:pt x="65" y="239"/>
                    </a:lnTo>
                    <a:lnTo>
                      <a:pt x="66" y="246"/>
                    </a:lnTo>
                    <a:lnTo>
                      <a:pt x="68" y="253"/>
                    </a:lnTo>
                    <a:lnTo>
                      <a:pt x="69" y="259"/>
                    </a:lnTo>
                    <a:lnTo>
                      <a:pt x="71" y="266"/>
                    </a:lnTo>
                    <a:lnTo>
                      <a:pt x="76" y="279"/>
                    </a:lnTo>
                    <a:lnTo>
                      <a:pt x="82" y="291"/>
                    </a:lnTo>
                    <a:lnTo>
                      <a:pt x="85" y="296"/>
                    </a:lnTo>
                    <a:lnTo>
                      <a:pt x="89" y="302"/>
                    </a:lnTo>
                    <a:lnTo>
                      <a:pt x="92" y="307"/>
                    </a:lnTo>
                    <a:lnTo>
                      <a:pt x="96" y="312"/>
                    </a:lnTo>
                    <a:lnTo>
                      <a:pt x="105" y="321"/>
                    </a:lnTo>
                    <a:lnTo>
                      <a:pt x="110" y="325"/>
                    </a:lnTo>
                    <a:lnTo>
                      <a:pt x="115" y="329"/>
                    </a:lnTo>
                    <a:lnTo>
                      <a:pt x="125" y="336"/>
                    </a:lnTo>
                    <a:lnTo>
                      <a:pt x="131" y="339"/>
                    </a:lnTo>
                    <a:lnTo>
                      <a:pt x="137" y="342"/>
                    </a:lnTo>
                    <a:lnTo>
                      <a:pt x="149" y="347"/>
                    </a:lnTo>
                    <a:lnTo>
                      <a:pt x="162" y="350"/>
                    </a:lnTo>
                    <a:lnTo>
                      <a:pt x="169" y="351"/>
                    </a:lnTo>
                    <a:lnTo>
                      <a:pt x="176" y="352"/>
                    </a:lnTo>
                    <a:lnTo>
                      <a:pt x="191" y="353"/>
                    </a:lnTo>
                    <a:lnTo>
                      <a:pt x="199" y="353"/>
                    </a:lnTo>
                    <a:lnTo>
                      <a:pt x="206" y="352"/>
                    </a:lnTo>
                    <a:lnTo>
                      <a:pt x="213" y="351"/>
                    </a:lnTo>
                    <a:lnTo>
                      <a:pt x="220" y="350"/>
                    </a:lnTo>
                    <a:lnTo>
                      <a:pt x="227" y="348"/>
                    </a:lnTo>
                    <a:lnTo>
                      <a:pt x="233" y="345"/>
                    </a:lnTo>
                    <a:lnTo>
                      <a:pt x="239" y="343"/>
                    </a:lnTo>
                    <a:lnTo>
                      <a:pt x="242" y="342"/>
                    </a:lnTo>
                    <a:lnTo>
                      <a:pt x="245" y="340"/>
                    </a:lnTo>
                    <a:lnTo>
                      <a:pt x="251" y="337"/>
                    </a:lnTo>
                    <a:lnTo>
                      <a:pt x="256" y="333"/>
                    </a:lnTo>
                    <a:lnTo>
                      <a:pt x="261" y="329"/>
                    </a:lnTo>
                    <a:lnTo>
                      <a:pt x="266" y="325"/>
                    </a:lnTo>
                    <a:lnTo>
                      <a:pt x="271" y="321"/>
                    </a:lnTo>
                    <a:lnTo>
                      <a:pt x="275" y="316"/>
                    </a:lnTo>
                    <a:lnTo>
                      <a:pt x="283" y="307"/>
                    </a:lnTo>
                    <a:lnTo>
                      <a:pt x="290" y="296"/>
                    </a:lnTo>
                    <a:lnTo>
                      <a:pt x="296" y="284"/>
                    </a:lnTo>
                    <a:lnTo>
                      <a:pt x="302" y="272"/>
                    </a:lnTo>
                    <a:lnTo>
                      <a:pt x="306" y="260"/>
                    </a:lnTo>
                    <a:lnTo>
                      <a:pt x="309" y="247"/>
                    </a:lnTo>
                    <a:lnTo>
                      <a:pt x="312" y="234"/>
                    </a:lnTo>
                    <a:lnTo>
                      <a:pt x="313" y="221"/>
                    </a:lnTo>
                    <a:lnTo>
                      <a:pt x="314" y="208"/>
                    </a:lnTo>
                    <a:lnTo>
                      <a:pt x="313" y="193"/>
                    </a:lnTo>
                    <a:lnTo>
                      <a:pt x="311" y="178"/>
                    </a:lnTo>
                    <a:lnTo>
                      <a:pt x="309" y="163"/>
                    </a:lnTo>
                    <a:lnTo>
                      <a:pt x="305" y="150"/>
                    </a:lnTo>
                    <a:lnTo>
                      <a:pt x="303" y="143"/>
                    </a:lnTo>
                    <a:lnTo>
                      <a:pt x="301" y="136"/>
                    </a:lnTo>
                    <a:lnTo>
                      <a:pt x="295" y="124"/>
                    </a:lnTo>
                    <a:lnTo>
                      <a:pt x="289" y="113"/>
                    </a:lnTo>
                    <a:lnTo>
                      <a:pt x="285" y="107"/>
                    </a:lnTo>
                    <a:lnTo>
                      <a:pt x="282" y="102"/>
                    </a:lnTo>
                    <a:lnTo>
                      <a:pt x="273" y="93"/>
                    </a:lnTo>
                    <a:lnTo>
                      <a:pt x="264" y="84"/>
                    </a:lnTo>
                    <a:lnTo>
                      <a:pt x="259" y="80"/>
                    </a:lnTo>
                    <a:lnTo>
                      <a:pt x="254" y="77"/>
                    </a:lnTo>
                    <a:lnTo>
                      <a:pt x="243" y="70"/>
                    </a:lnTo>
                    <a:lnTo>
                      <a:pt x="231" y="65"/>
                    </a:lnTo>
                    <a:lnTo>
                      <a:pt x="225" y="64"/>
                    </a:lnTo>
                    <a:lnTo>
                      <a:pt x="218" y="62"/>
                    </a:lnTo>
                    <a:lnTo>
                      <a:pt x="205" y="60"/>
                    </a:lnTo>
                    <a:lnTo>
                      <a:pt x="190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4" name="Freeform 8"/>
              <p:cNvSpPr>
                <a:spLocks noEditPoints="1"/>
              </p:cNvSpPr>
              <p:nvPr userDrawn="1"/>
            </p:nvSpPr>
            <p:spPr bwMode="auto">
              <a:xfrm>
                <a:off x="2919413" y="4527551"/>
                <a:ext cx="552450" cy="676275"/>
              </a:xfrm>
              <a:custGeom>
                <a:avLst/>
                <a:gdLst>
                  <a:gd name="T0" fmla="*/ 65 w 348"/>
                  <a:gd name="T1" fmla="*/ 246 h 426"/>
                  <a:gd name="T2" fmla="*/ 71 w 348"/>
                  <a:gd name="T3" fmla="*/ 272 h 426"/>
                  <a:gd name="T4" fmla="*/ 83 w 348"/>
                  <a:gd name="T5" fmla="*/ 302 h 426"/>
                  <a:gd name="T6" fmla="*/ 98 w 348"/>
                  <a:gd name="T7" fmla="*/ 323 h 426"/>
                  <a:gd name="T8" fmla="*/ 120 w 348"/>
                  <a:gd name="T9" fmla="*/ 345 h 426"/>
                  <a:gd name="T10" fmla="*/ 142 w 348"/>
                  <a:gd name="T11" fmla="*/ 358 h 426"/>
                  <a:gd name="T12" fmla="*/ 161 w 348"/>
                  <a:gd name="T13" fmla="*/ 364 h 426"/>
                  <a:gd name="T14" fmla="*/ 188 w 348"/>
                  <a:gd name="T15" fmla="*/ 367 h 426"/>
                  <a:gd name="T16" fmla="*/ 220 w 348"/>
                  <a:gd name="T17" fmla="*/ 364 h 426"/>
                  <a:gd name="T18" fmla="*/ 247 w 348"/>
                  <a:gd name="T19" fmla="*/ 355 h 426"/>
                  <a:gd name="T20" fmla="*/ 269 w 348"/>
                  <a:gd name="T21" fmla="*/ 343 h 426"/>
                  <a:gd name="T22" fmla="*/ 295 w 348"/>
                  <a:gd name="T23" fmla="*/ 320 h 426"/>
                  <a:gd name="T24" fmla="*/ 342 w 348"/>
                  <a:gd name="T25" fmla="*/ 356 h 426"/>
                  <a:gd name="T26" fmla="*/ 322 w 348"/>
                  <a:gd name="T27" fmla="*/ 377 h 426"/>
                  <a:gd name="T28" fmla="*/ 296 w 348"/>
                  <a:gd name="T29" fmla="*/ 396 h 426"/>
                  <a:gd name="T30" fmla="*/ 263 w 348"/>
                  <a:gd name="T31" fmla="*/ 412 h 426"/>
                  <a:gd name="T32" fmla="*/ 226 w 348"/>
                  <a:gd name="T33" fmla="*/ 422 h 426"/>
                  <a:gd name="T34" fmla="*/ 183 w 348"/>
                  <a:gd name="T35" fmla="*/ 426 h 426"/>
                  <a:gd name="T36" fmla="*/ 154 w 348"/>
                  <a:gd name="T37" fmla="*/ 424 h 426"/>
                  <a:gd name="T38" fmla="*/ 126 w 348"/>
                  <a:gd name="T39" fmla="*/ 417 h 426"/>
                  <a:gd name="T40" fmla="*/ 101 w 348"/>
                  <a:gd name="T41" fmla="*/ 406 h 426"/>
                  <a:gd name="T42" fmla="*/ 78 w 348"/>
                  <a:gd name="T43" fmla="*/ 391 h 426"/>
                  <a:gd name="T44" fmla="*/ 57 w 348"/>
                  <a:gd name="T45" fmla="*/ 373 h 426"/>
                  <a:gd name="T46" fmla="*/ 39 w 348"/>
                  <a:gd name="T47" fmla="*/ 351 h 426"/>
                  <a:gd name="T48" fmla="*/ 20 w 348"/>
                  <a:gd name="T49" fmla="*/ 317 h 426"/>
                  <a:gd name="T50" fmla="*/ 10 w 348"/>
                  <a:gd name="T51" fmla="*/ 288 h 426"/>
                  <a:gd name="T52" fmla="*/ 3 w 348"/>
                  <a:gd name="T53" fmla="*/ 257 h 426"/>
                  <a:gd name="T54" fmla="*/ 0 w 348"/>
                  <a:gd name="T55" fmla="*/ 224 h 426"/>
                  <a:gd name="T56" fmla="*/ 1 w 348"/>
                  <a:gd name="T57" fmla="*/ 191 h 426"/>
                  <a:gd name="T58" fmla="*/ 6 w 348"/>
                  <a:gd name="T59" fmla="*/ 159 h 426"/>
                  <a:gd name="T60" fmla="*/ 14 w 348"/>
                  <a:gd name="T61" fmla="*/ 129 h 426"/>
                  <a:gd name="T62" fmla="*/ 27 w 348"/>
                  <a:gd name="T63" fmla="*/ 102 h 426"/>
                  <a:gd name="T64" fmla="*/ 42 w 348"/>
                  <a:gd name="T65" fmla="*/ 77 h 426"/>
                  <a:gd name="T66" fmla="*/ 67 w 348"/>
                  <a:gd name="T67" fmla="*/ 48 h 426"/>
                  <a:gd name="T68" fmla="*/ 89 w 348"/>
                  <a:gd name="T69" fmla="*/ 30 h 426"/>
                  <a:gd name="T70" fmla="*/ 113 w 348"/>
                  <a:gd name="T71" fmla="*/ 17 h 426"/>
                  <a:gd name="T72" fmla="*/ 138 w 348"/>
                  <a:gd name="T73" fmla="*/ 7 h 426"/>
                  <a:gd name="T74" fmla="*/ 165 w 348"/>
                  <a:gd name="T75" fmla="*/ 1 h 426"/>
                  <a:gd name="T76" fmla="*/ 194 w 348"/>
                  <a:gd name="T77" fmla="*/ 0 h 426"/>
                  <a:gd name="T78" fmla="*/ 224 w 348"/>
                  <a:gd name="T79" fmla="*/ 4 h 426"/>
                  <a:gd name="T80" fmla="*/ 250 w 348"/>
                  <a:gd name="T81" fmla="*/ 13 h 426"/>
                  <a:gd name="T82" fmla="*/ 274 w 348"/>
                  <a:gd name="T83" fmla="*/ 25 h 426"/>
                  <a:gd name="T84" fmla="*/ 294 w 348"/>
                  <a:gd name="T85" fmla="*/ 41 h 426"/>
                  <a:gd name="T86" fmla="*/ 310 w 348"/>
                  <a:gd name="T87" fmla="*/ 60 h 426"/>
                  <a:gd name="T88" fmla="*/ 331 w 348"/>
                  <a:gd name="T89" fmla="*/ 96 h 426"/>
                  <a:gd name="T90" fmla="*/ 339 w 348"/>
                  <a:gd name="T91" fmla="*/ 121 h 426"/>
                  <a:gd name="T92" fmla="*/ 345 w 348"/>
                  <a:gd name="T93" fmla="*/ 146 h 426"/>
                  <a:gd name="T94" fmla="*/ 348 w 348"/>
                  <a:gd name="T95" fmla="*/ 189 h 426"/>
                  <a:gd name="T96" fmla="*/ 65 w 348"/>
                  <a:gd name="T97" fmla="*/ 176 h 426"/>
                  <a:gd name="T98" fmla="*/ 288 w 348"/>
                  <a:gd name="T99" fmla="*/ 157 h 426"/>
                  <a:gd name="T100" fmla="*/ 281 w 348"/>
                  <a:gd name="T101" fmla="*/ 129 h 426"/>
                  <a:gd name="T102" fmla="*/ 272 w 348"/>
                  <a:gd name="T103" fmla="*/ 109 h 426"/>
                  <a:gd name="T104" fmla="*/ 251 w 348"/>
                  <a:gd name="T105" fmla="*/ 84 h 426"/>
                  <a:gd name="T106" fmla="*/ 226 w 348"/>
                  <a:gd name="T107" fmla="*/ 68 h 426"/>
                  <a:gd name="T108" fmla="*/ 195 w 348"/>
                  <a:gd name="T109" fmla="*/ 59 h 426"/>
                  <a:gd name="T110" fmla="*/ 160 w 348"/>
                  <a:gd name="T111" fmla="*/ 61 h 426"/>
                  <a:gd name="T112" fmla="*/ 139 w 348"/>
                  <a:gd name="T113" fmla="*/ 68 h 426"/>
                  <a:gd name="T114" fmla="*/ 112 w 348"/>
                  <a:gd name="T115" fmla="*/ 86 h 426"/>
                  <a:gd name="T116" fmla="*/ 91 w 348"/>
                  <a:gd name="T117" fmla="*/ 111 h 426"/>
                  <a:gd name="T118" fmla="*/ 77 w 348"/>
                  <a:gd name="T119" fmla="*/ 136 h 426"/>
                  <a:gd name="T120" fmla="*/ 68 w 348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8" h="426">
                    <a:moveTo>
                      <a:pt x="64" y="227"/>
                    </a:moveTo>
                    <a:lnTo>
                      <a:pt x="64" y="240"/>
                    </a:lnTo>
                    <a:lnTo>
                      <a:pt x="65" y="246"/>
                    </a:lnTo>
                    <a:lnTo>
                      <a:pt x="66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7" y="290"/>
                    </a:lnTo>
                    <a:lnTo>
                      <a:pt x="83" y="302"/>
                    </a:lnTo>
                    <a:lnTo>
                      <a:pt x="86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6" y="332"/>
                    </a:lnTo>
                    <a:lnTo>
                      <a:pt x="115" y="341"/>
                    </a:lnTo>
                    <a:lnTo>
                      <a:pt x="120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2" y="358"/>
                    </a:lnTo>
                    <a:lnTo>
                      <a:pt x="148" y="360"/>
                    </a:lnTo>
                    <a:lnTo>
                      <a:pt x="154" y="362"/>
                    </a:lnTo>
                    <a:lnTo>
                      <a:pt x="161" y="364"/>
                    </a:lnTo>
                    <a:lnTo>
                      <a:pt x="167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199" y="367"/>
                    </a:lnTo>
                    <a:lnTo>
                      <a:pt x="210" y="366"/>
                    </a:lnTo>
                    <a:lnTo>
                      <a:pt x="220" y="364"/>
                    </a:lnTo>
                    <a:lnTo>
                      <a:pt x="230" y="361"/>
                    </a:lnTo>
                    <a:lnTo>
                      <a:pt x="239" y="359"/>
                    </a:lnTo>
                    <a:lnTo>
                      <a:pt x="247" y="355"/>
                    </a:lnTo>
                    <a:lnTo>
                      <a:pt x="254" y="352"/>
                    </a:lnTo>
                    <a:lnTo>
                      <a:pt x="261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2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5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3" y="412"/>
                    </a:lnTo>
                    <a:lnTo>
                      <a:pt x="252" y="416"/>
                    </a:lnTo>
                    <a:lnTo>
                      <a:pt x="239" y="419"/>
                    </a:lnTo>
                    <a:lnTo>
                      <a:pt x="226" y="422"/>
                    </a:lnTo>
                    <a:lnTo>
                      <a:pt x="212" y="424"/>
                    </a:lnTo>
                    <a:lnTo>
                      <a:pt x="198" y="426"/>
                    </a:lnTo>
                    <a:lnTo>
                      <a:pt x="183" y="426"/>
                    </a:lnTo>
                    <a:lnTo>
                      <a:pt x="173" y="426"/>
                    </a:lnTo>
                    <a:lnTo>
                      <a:pt x="163" y="425"/>
                    </a:lnTo>
                    <a:lnTo>
                      <a:pt x="154" y="424"/>
                    </a:lnTo>
                    <a:lnTo>
                      <a:pt x="144" y="422"/>
                    </a:lnTo>
                    <a:lnTo>
                      <a:pt x="135" y="420"/>
                    </a:lnTo>
                    <a:lnTo>
                      <a:pt x="126" y="417"/>
                    </a:lnTo>
                    <a:lnTo>
                      <a:pt x="117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0" y="385"/>
                    </a:lnTo>
                    <a:lnTo>
                      <a:pt x="64" y="379"/>
                    </a:lnTo>
                    <a:lnTo>
                      <a:pt x="57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39" y="351"/>
                    </a:lnTo>
                    <a:lnTo>
                      <a:pt x="29" y="335"/>
                    </a:lnTo>
                    <a:lnTo>
                      <a:pt x="25" y="326"/>
                    </a:lnTo>
                    <a:lnTo>
                      <a:pt x="20" y="317"/>
                    </a:lnTo>
                    <a:lnTo>
                      <a:pt x="17" y="308"/>
                    </a:lnTo>
                    <a:lnTo>
                      <a:pt x="13" y="298"/>
                    </a:lnTo>
                    <a:lnTo>
                      <a:pt x="10" y="288"/>
                    </a:lnTo>
                    <a:lnTo>
                      <a:pt x="7" y="278"/>
                    </a:lnTo>
                    <a:lnTo>
                      <a:pt x="5" y="268"/>
                    </a:lnTo>
                    <a:lnTo>
                      <a:pt x="3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3" y="169"/>
                    </a:lnTo>
                    <a:lnTo>
                      <a:pt x="6" y="159"/>
                    </a:lnTo>
                    <a:lnTo>
                      <a:pt x="8" y="149"/>
                    </a:lnTo>
                    <a:lnTo>
                      <a:pt x="11" y="139"/>
                    </a:lnTo>
                    <a:lnTo>
                      <a:pt x="14" y="129"/>
                    </a:lnTo>
                    <a:lnTo>
                      <a:pt x="18" y="120"/>
                    </a:lnTo>
                    <a:lnTo>
                      <a:pt x="22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4" y="62"/>
                    </a:lnTo>
                    <a:lnTo>
                      <a:pt x="67" y="48"/>
                    </a:lnTo>
                    <a:lnTo>
                      <a:pt x="74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29" y="9"/>
                    </a:lnTo>
                    <a:lnTo>
                      <a:pt x="138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3" y="0"/>
                    </a:lnTo>
                    <a:lnTo>
                      <a:pt x="194" y="0"/>
                    </a:lnTo>
                    <a:lnTo>
                      <a:pt x="204" y="1"/>
                    </a:lnTo>
                    <a:lnTo>
                      <a:pt x="214" y="2"/>
                    </a:lnTo>
                    <a:lnTo>
                      <a:pt x="224" y="4"/>
                    </a:lnTo>
                    <a:lnTo>
                      <a:pt x="233" y="7"/>
                    </a:lnTo>
                    <a:lnTo>
                      <a:pt x="242" y="9"/>
                    </a:lnTo>
                    <a:lnTo>
                      <a:pt x="250" y="13"/>
                    </a:lnTo>
                    <a:lnTo>
                      <a:pt x="258" y="16"/>
                    </a:lnTo>
                    <a:lnTo>
                      <a:pt x="266" y="21"/>
                    </a:lnTo>
                    <a:lnTo>
                      <a:pt x="274" y="25"/>
                    </a:lnTo>
                    <a:lnTo>
                      <a:pt x="281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5" y="53"/>
                    </a:lnTo>
                    <a:lnTo>
                      <a:pt x="310" y="60"/>
                    </a:lnTo>
                    <a:lnTo>
                      <a:pt x="319" y="74"/>
                    </a:lnTo>
                    <a:lnTo>
                      <a:pt x="327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39" y="121"/>
                    </a:lnTo>
                    <a:lnTo>
                      <a:pt x="341" y="129"/>
                    </a:lnTo>
                    <a:lnTo>
                      <a:pt x="343" y="137"/>
                    </a:lnTo>
                    <a:lnTo>
                      <a:pt x="345" y="146"/>
                    </a:lnTo>
                    <a:lnTo>
                      <a:pt x="346" y="155"/>
                    </a:lnTo>
                    <a:lnTo>
                      <a:pt x="348" y="172"/>
                    </a:lnTo>
                    <a:lnTo>
                      <a:pt x="348" y="189"/>
                    </a:lnTo>
                    <a:lnTo>
                      <a:pt x="348" y="227"/>
                    </a:lnTo>
                    <a:lnTo>
                      <a:pt x="64" y="227"/>
                    </a:lnTo>
                    <a:close/>
                    <a:moveTo>
                      <a:pt x="65" y="176"/>
                    </a:moveTo>
                    <a:lnTo>
                      <a:pt x="289" y="176"/>
                    </a:lnTo>
                    <a:lnTo>
                      <a:pt x="288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4" y="140"/>
                    </a:lnTo>
                    <a:lnTo>
                      <a:pt x="281" y="129"/>
                    </a:lnTo>
                    <a:lnTo>
                      <a:pt x="279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5" y="100"/>
                    </a:lnTo>
                    <a:lnTo>
                      <a:pt x="259" y="92"/>
                    </a:lnTo>
                    <a:lnTo>
                      <a:pt x="251" y="84"/>
                    </a:lnTo>
                    <a:lnTo>
                      <a:pt x="244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3" y="59"/>
                    </a:lnTo>
                    <a:lnTo>
                      <a:pt x="171" y="60"/>
                    </a:lnTo>
                    <a:lnTo>
                      <a:pt x="160" y="61"/>
                    </a:lnTo>
                    <a:lnTo>
                      <a:pt x="155" y="63"/>
                    </a:lnTo>
                    <a:lnTo>
                      <a:pt x="149" y="64"/>
                    </a:lnTo>
                    <a:lnTo>
                      <a:pt x="139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2" y="86"/>
                    </a:lnTo>
                    <a:lnTo>
                      <a:pt x="104" y="94"/>
                    </a:lnTo>
                    <a:lnTo>
                      <a:pt x="97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79" y="131"/>
                    </a:lnTo>
                    <a:lnTo>
                      <a:pt x="77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5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29" name="Freeform 9"/>
              <p:cNvSpPr>
                <a:spLocks/>
              </p:cNvSpPr>
              <p:nvPr userDrawn="1"/>
            </p:nvSpPr>
            <p:spPr bwMode="auto">
              <a:xfrm>
                <a:off x="3554413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3 w 221"/>
                  <a:gd name="T3" fmla="*/ 508 h 508"/>
                  <a:gd name="T4" fmla="*/ 163 w 221"/>
                  <a:gd name="T5" fmla="*/ 507 h 508"/>
                  <a:gd name="T6" fmla="*/ 152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4 w 221"/>
                  <a:gd name="T25" fmla="*/ 481 h 508"/>
                  <a:gd name="T26" fmla="*/ 90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1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3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4 w 221"/>
                  <a:gd name="T65" fmla="*/ 0 h 508"/>
                  <a:gd name="T66" fmla="*/ 124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4 w 221"/>
                  <a:gd name="T73" fmla="*/ 150 h 508"/>
                  <a:gd name="T74" fmla="*/ 124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7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5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3" y="508"/>
                    </a:lnTo>
                    <a:lnTo>
                      <a:pt x="163" y="507"/>
                    </a:lnTo>
                    <a:lnTo>
                      <a:pt x="152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4" y="481"/>
                    </a:lnTo>
                    <a:lnTo>
                      <a:pt x="90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1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3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4" y="0"/>
                    </a:lnTo>
                    <a:lnTo>
                      <a:pt x="124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4" y="150"/>
                    </a:lnTo>
                    <a:lnTo>
                      <a:pt x="124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7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5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0" name="Freeform 10"/>
              <p:cNvSpPr>
                <a:spLocks/>
              </p:cNvSpPr>
              <p:nvPr userDrawn="1"/>
            </p:nvSpPr>
            <p:spPr bwMode="auto">
              <a:xfrm>
                <a:off x="4187825" y="4386263"/>
                <a:ext cx="350837" cy="806450"/>
              </a:xfrm>
              <a:custGeom>
                <a:avLst/>
                <a:gdLst>
                  <a:gd name="T0" fmla="*/ 221 w 221"/>
                  <a:gd name="T1" fmla="*/ 508 h 508"/>
                  <a:gd name="T2" fmla="*/ 184 w 221"/>
                  <a:gd name="T3" fmla="*/ 508 h 508"/>
                  <a:gd name="T4" fmla="*/ 163 w 221"/>
                  <a:gd name="T5" fmla="*/ 507 h 508"/>
                  <a:gd name="T6" fmla="*/ 153 w 221"/>
                  <a:gd name="T7" fmla="*/ 506 h 508"/>
                  <a:gd name="T8" fmla="*/ 142 w 221"/>
                  <a:gd name="T9" fmla="*/ 504 h 508"/>
                  <a:gd name="T10" fmla="*/ 132 w 221"/>
                  <a:gd name="T11" fmla="*/ 502 h 508"/>
                  <a:gd name="T12" fmla="*/ 127 w 221"/>
                  <a:gd name="T13" fmla="*/ 500 h 508"/>
                  <a:gd name="T14" fmla="*/ 122 w 221"/>
                  <a:gd name="T15" fmla="*/ 498 h 508"/>
                  <a:gd name="T16" fmla="*/ 117 w 221"/>
                  <a:gd name="T17" fmla="*/ 496 h 508"/>
                  <a:gd name="T18" fmla="*/ 112 w 221"/>
                  <a:gd name="T19" fmla="*/ 494 h 508"/>
                  <a:gd name="T20" fmla="*/ 103 w 221"/>
                  <a:gd name="T21" fmla="*/ 488 h 508"/>
                  <a:gd name="T22" fmla="*/ 99 w 221"/>
                  <a:gd name="T23" fmla="*/ 485 h 508"/>
                  <a:gd name="T24" fmla="*/ 95 w 221"/>
                  <a:gd name="T25" fmla="*/ 481 h 508"/>
                  <a:gd name="T26" fmla="*/ 91 w 221"/>
                  <a:gd name="T27" fmla="*/ 477 h 508"/>
                  <a:gd name="T28" fmla="*/ 87 w 221"/>
                  <a:gd name="T29" fmla="*/ 473 h 508"/>
                  <a:gd name="T30" fmla="*/ 83 w 221"/>
                  <a:gd name="T31" fmla="*/ 468 h 508"/>
                  <a:gd name="T32" fmla="*/ 80 w 221"/>
                  <a:gd name="T33" fmla="*/ 463 h 508"/>
                  <a:gd name="T34" fmla="*/ 77 w 221"/>
                  <a:gd name="T35" fmla="*/ 458 h 508"/>
                  <a:gd name="T36" fmla="*/ 74 w 221"/>
                  <a:gd name="T37" fmla="*/ 452 h 508"/>
                  <a:gd name="T38" fmla="*/ 72 w 221"/>
                  <a:gd name="T39" fmla="*/ 445 h 508"/>
                  <a:gd name="T40" fmla="*/ 69 w 221"/>
                  <a:gd name="T41" fmla="*/ 439 h 508"/>
                  <a:gd name="T42" fmla="*/ 67 w 221"/>
                  <a:gd name="T43" fmla="*/ 431 h 508"/>
                  <a:gd name="T44" fmla="*/ 66 w 221"/>
                  <a:gd name="T45" fmla="*/ 423 h 508"/>
                  <a:gd name="T46" fmla="*/ 64 w 221"/>
                  <a:gd name="T47" fmla="*/ 415 h 508"/>
                  <a:gd name="T48" fmla="*/ 64 w 221"/>
                  <a:gd name="T49" fmla="*/ 406 h 508"/>
                  <a:gd name="T50" fmla="*/ 63 w 221"/>
                  <a:gd name="T51" fmla="*/ 397 h 508"/>
                  <a:gd name="T52" fmla="*/ 63 w 221"/>
                  <a:gd name="T53" fmla="*/ 387 h 508"/>
                  <a:gd name="T54" fmla="*/ 63 w 221"/>
                  <a:gd name="T55" fmla="*/ 150 h 508"/>
                  <a:gd name="T56" fmla="*/ 0 w 221"/>
                  <a:gd name="T57" fmla="*/ 150 h 508"/>
                  <a:gd name="T58" fmla="*/ 0 w 221"/>
                  <a:gd name="T59" fmla="*/ 96 h 508"/>
                  <a:gd name="T60" fmla="*/ 63 w 221"/>
                  <a:gd name="T61" fmla="*/ 96 h 508"/>
                  <a:gd name="T62" fmla="*/ 63 w 221"/>
                  <a:gd name="T63" fmla="*/ 0 h 508"/>
                  <a:gd name="T64" fmla="*/ 125 w 221"/>
                  <a:gd name="T65" fmla="*/ 0 h 508"/>
                  <a:gd name="T66" fmla="*/ 125 w 221"/>
                  <a:gd name="T67" fmla="*/ 96 h 508"/>
                  <a:gd name="T68" fmla="*/ 219 w 221"/>
                  <a:gd name="T69" fmla="*/ 96 h 508"/>
                  <a:gd name="T70" fmla="*/ 219 w 221"/>
                  <a:gd name="T71" fmla="*/ 150 h 508"/>
                  <a:gd name="T72" fmla="*/ 125 w 221"/>
                  <a:gd name="T73" fmla="*/ 150 h 508"/>
                  <a:gd name="T74" fmla="*/ 125 w 221"/>
                  <a:gd name="T75" fmla="*/ 376 h 508"/>
                  <a:gd name="T76" fmla="*/ 125 w 221"/>
                  <a:gd name="T77" fmla="*/ 389 h 508"/>
                  <a:gd name="T78" fmla="*/ 126 w 221"/>
                  <a:gd name="T79" fmla="*/ 400 h 508"/>
                  <a:gd name="T80" fmla="*/ 128 w 221"/>
                  <a:gd name="T81" fmla="*/ 410 h 508"/>
                  <a:gd name="T82" fmla="*/ 131 w 221"/>
                  <a:gd name="T83" fmla="*/ 418 h 508"/>
                  <a:gd name="T84" fmla="*/ 134 w 221"/>
                  <a:gd name="T85" fmla="*/ 425 h 508"/>
                  <a:gd name="T86" fmla="*/ 138 w 221"/>
                  <a:gd name="T87" fmla="*/ 432 h 508"/>
                  <a:gd name="T88" fmla="*/ 140 w 221"/>
                  <a:gd name="T89" fmla="*/ 434 h 508"/>
                  <a:gd name="T90" fmla="*/ 142 w 221"/>
                  <a:gd name="T91" fmla="*/ 437 h 508"/>
                  <a:gd name="T92" fmla="*/ 147 w 221"/>
                  <a:gd name="T93" fmla="*/ 441 h 508"/>
                  <a:gd name="T94" fmla="*/ 152 w 221"/>
                  <a:gd name="T95" fmla="*/ 445 h 508"/>
                  <a:gd name="T96" fmla="*/ 157 w 221"/>
                  <a:gd name="T97" fmla="*/ 447 h 508"/>
                  <a:gd name="T98" fmla="*/ 163 w 221"/>
                  <a:gd name="T99" fmla="*/ 450 h 508"/>
                  <a:gd name="T100" fmla="*/ 169 w 221"/>
                  <a:gd name="T101" fmla="*/ 451 h 508"/>
                  <a:gd name="T102" fmla="*/ 182 w 221"/>
                  <a:gd name="T103" fmla="*/ 453 h 508"/>
                  <a:gd name="T104" fmla="*/ 196 w 221"/>
                  <a:gd name="T105" fmla="*/ 453 h 508"/>
                  <a:gd name="T106" fmla="*/ 221 w 221"/>
                  <a:gd name="T107" fmla="*/ 453 h 508"/>
                  <a:gd name="T108" fmla="*/ 221 w 221"/>
                  <a:gd name="T109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508">
                    <a:moveTo>
                      <a:pt x="221" y="508"/>
                    </a:moveTo>
                    <a:lnTo>
                      <a:pt x="184" y="508"/>
                    </a:lnTo>
                    <a:lnTo>
                      <a:pt x="163" y="507"/>
                    </a:lnTo>
                    <a:lnTo>
                      <a:pt x="153" y="506"/>
                    </a:lnTo>
                    <a:lnTo>
                      <a:pt x="142" y="504"/>
                    </a:lnTo>
                    <a:lnTo>
                      <a:pt x="132" y="502"/>
                    </a:lnTo>
                    <a:lnTo>
                      <a:pt x="127" y="500"/>
                    </a:lnTo>
                    <a:lnTo>
                      <a:pt x="122" y="498"/>
                    </a:lnTo>
                    <a:lnTo>
                      <a:pt x="117" y="496"/>
                    </a:lnTo>
                    <a:lnTo>
                      <a:pt x="112" y="494"/>
                    </a:lnTo>
                    <a:lnTo>
                      <a:pt x="103" y="488"/>
                    </a:lnTo>
                    <a:lnTo>
                      <a:pt x="99" y="485"/>
                    </a:lnTo>
                    <a:lnTo>
                      <a:pt x="95" y="481"/>
                    </a:lnTo>
                    <a:lnTo>
                      <a:pt x="91" y="477"/>
                    </a:lnTo>
                    <a:lnTo>
                      <a:pt x="87" y="473"/>
                    </a:lnTo>
                    <a:lnTo>
                      <a:pt x="83" y="468"/>
                    </a:lnTo>
                    <a:lnTo>
                      <a:pt x="80" y="463"/>
                    </a:lnTo>
                    <a:lnTo>
                      <a:pt x="77" y="458"/>
                    </a:lnTo>
                    <a:lnTo>
                      <a:pt x="74" y="452"/>
                    </a:lnTo>
                    <a:lnTo>
                      <a:pt x="72" y="445"/>
                    </a:lnTo>
                    <a:lnTo>
                      <a:pt x="69" y="439"/>
                    </a:lnTo>
                    <a:lnTo>
                      <a:pt x="67" y="431"/>
                    </a:lnTo>
                    <a:lnTo>
                      <a:pt x="66" y="423"/>
                    </a:lnTo>
                    <a:lnTo>
                      <a:pt x="64" y="415"/>
                    </a:lnTo>
                    <a:lnTo>
                      <a:pt x="64" y="406"/>
                    </a:lnTo>
                    <a:lnTo>
                      <a:pt x="63" y="397"/>
                    </a:lnTo>
                    <a:lnTo>
                      <a:pt x="63" y="387"/>
                    </a:lnTo>
                    <a:lnTo>
                      <a:pt x="63" y="150"/>
                    </a:lnTo>
                    <a:lnTo>
                      <a:pt x="0" y="150"/>
                    </a:lnTo>
                    <a:lnTo>
                      <a:pt x="0" y="96"/>
                    </a:lnTo>
                    <a:lnTo>
                      <a:pt x="63" y="96"/>
                    </a:lnTo>
                    <a:lnTo>
                      <a:pt x="63" y="0"/>
                    </a:lnTo>
                    <a:lnTo>
                      <a:pt x="125" y="0"/>
                    </a:lnTo>
                    <a:lnTo>
                      <a:pt x="125" y="96"/>
                    </a:lnTo>
                    <a:lnTo>
                      <a:pt x="219" y="96"/>
                    </a:lnTo>
                    <a:lnTo>
                      <a:pt x="219" y="150"/>
                    </a:lnTo>
                    <a:lnTo>
                      <a:pt x="125" y="150"/>
                    </a:lnTo>
                    <a:lnTo>
                      <a:pt x="125" y="376"/>
                    </a:lnTo>
                    <a:lnTo>
                      <a:pt x="125" y="389"/>
                    </a:lnTo>
                    <a:lnTo>
                      <a:pt x="126" y="400"/>
                    </a:lnTo>
                    <a:lnTo>
                      <a:pt x="128" y="410"/>
                    </a:lnTo>
                    <a:lnTo>
                      <a:pt x="131" y="418"/>
                    </a:lnTo>
                    <a:lnTo>
                      <a:pt x="134" y="425"/>
                    </a:lnTo>
                    <a:lnTo>
                      <a:pt x="138" y="432"/>
                    </a:lnTo>
                    <a:lnTo>
                      <a:pt x="140" y="434"/>
                    </a:lnTo>
                    <a:lnTo>
                      <a:pt x="142" y="437"/>
                    </a:lnTo>
                    <a:lnTo>
                      <a:pt x="147" y="441"/>
                    </a:lnTo>
                    <a:lnTo>
                      <a:pt x="152" y="445"/>
                    </a:lnTo>
                    <a:lnTo>
                      <a:pt x="157" y="447"/>
                    </a:lnTo>
                    <a:lnTo>
                      <a:pt x="163" y="450"/>
                    </a:lnTo>
                    <a:lnTo>
                      <a:pt x="169" y="451"/>
                    </a:lnTo>
                    <a:lnTo>
                      <a:pt x="182" y="453"/>
                    </a:lnTo>
                    <a:lnTo>
                      <a:pt x="196" y="453"/>
                    </a:lnTo>
                    <a:lnTo>
                      <a:pt x="221" y="453"/>
                    </a:lnTo>
                    <a:lnTo>
                      <a:pt x="221" y="5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1" name="Freeform 11"/>
              <p:cNvSpPr>
                <a:spLocks/>
              </p:cNvSpPr>
              <p:nvPr userDrawn="1"/>
            </p:nvSpPr>
            <p:spPr bwMode="auto">
              <a:xfrm>
                <a:off x="4662488" y="4324351"/>
                <a:ext cx="511175" cy="868363"/>
              </a:xfrm>
              <a:custGeom>
                <a:avLst/>
                <a:gdLst>
                  <a:gd name="T0" fmla="*/ 259 w 322"/>
                  <a:gd name="T1" fmla="*/ 547 h 547"/>
                  <a:gd name="T2" fmla="*/ 259 w 322"/>
                  <a:gd name="T3" fmla="*/ 285 h 547"/>
                  <a:gd name="T4" fmla="*/ 258 w 322"/>
                  <a:gd name="T5" fmla="*/ 269 h 547"/>
                  <a:gd name="T6" fmla="*/ 255 w 322"/>
                  <a:gd name="T7" fmla="*/ 254 h 547"/>
                  <a:gd name="T8" fmla="*/ 249 w 322"/>
                  <a:gd name="T9" fmla="*/ 235 h 547"/>
                  <a:gd name="T10" fmla="*/ 240 w 322"/>
                  <a:gd name="T11" fmla="*/ 219 h 547"/>
                  <a:gd name="T12" fmla="*/ 228 w 322"/>
                  <a:gd name="T13" fmla="*/ 205 h 547"/>
                  <a:gd name="T14" fmla="*/ 220 w 322"/>
                  <a:gd name="T15" fmla="*/ 199 h 547"/>
                  <a:gd name="T16" fmla="*/ 203 w 322"/>
                  <a:gd name="T17" fmla="*/ 190 h 547"/>
                  <a:gd name="T18" fmla="*/ 193 w 322"/>
                  <a:gd name="T19" fmla="*/ 187 h 547"/>
                  <a:gd name="T20" fmla="*/ 181 w 322"/>
                  <a:gd name="T21" fmla="*/ 185 h 547"/>
                  <a:gd name="T22" fmla="*/ 169 w 322"/>
                  <a:gd name="T23" fmla="*/ 185 h 547"/>
                  <a:gd name="T24" fmla="*/ 147 w 322"/>
                  <a:gd name="T25" fmla="*/ 187 h 547"/>
                  <a:gd name="T26" fmla="*/ 126 w 322"/>
                  <a:gd name="T27" fmla="*/ 194 h 547"/>
                  <a:gd name="T28" fmla="*/ 112 w 322"/>
                  <a:gd name="T29" fmla="*/ 202 h 547"/>
                  <a:gd name="T30" fmla="*/ 100 w 322"/>
                  <a:gd name="T31" fmla="*/ 212 h 547"/>
                  <a:gd name="T32" fmla="*/ 86 w 322"/>
                  <a:gd name="T33" fmla="*/ 228 h 547"/>
                  <a:gd name="T34" fmla="*/ 74 w 322"/>
                  <a:gd name="T35" fmla="*/ 248 h 547"/>
                  <a:gd name="T36" fmla="*/ 67 w 322"/>
                  <a:gd name="T37" fmla="*/ 271 h 547"/>
                  <a:gd name="T38" fmla="*/ 63 w 322"/>
                  <a:gd name="T39" fmla="*/ 290 h 547"/>
                  <a:gd name="T40" fmla="*/ 62 w 322"/>
                  <a:gd name="T41" fmla="*/ 310 h 547"/>
                  <a:gd name="T42" fmla="*/ 0 w 322"/>
                  <a:gd name="T43" fmla="*/ 547 h 547"/>
                  <a:gd name="T44" fmla="*/ 59 w 322"/>
                  <a:gd name="T45" fmla="*/ 0 h 547"/>
                  <a:gd name="T46" fmla="*/ 63 w 322"/>
                  <a:gd name="T47" fmla="*/ 183 h 547"/>
                  <a:gd name="T48" fmla="*/ 71 w 322"/>
                  <a:gd name="T49" fmla="*/ 171 h 547"/>
                  <a:gd name="T50" fmla="*/ 82 w 322"/>
                  <a:gd name="T51" fmla="*/ 160 h 547"/>
                  <a:gd name="T52" fmla="*/ 96 w 322"/>
                  <a:gd name="T53" fmla="*/ 150 h 547"/>
                  <a:gd name="T54" fmla="*/ 111 w 322"/>
                  <a:gd name="T55" fmla="*/ 142 h 547"/>
                  <a:gd name="T56" fmla="*/ 129 w 322"/>
                  <a:gd name="T57" fmla="*/ 135 h 547"/>
                  <a:gd name="T58" fmla="*/ 149 w 322"/>
                  <a:gd name="T59" fmla="*/ 131 h 547"/>
                  <a:gd name="T60" fmla="*/ 170 w 322"/>
                  <a:gd name="T61" fmla="*/ 128 h 547"/>
                  <a:gd name="T62" fmla="*/ 190 w 322"/>
                  <a:gd name="T63" fmla="*/ 128 h 547"/>
                  <a:gd name="T64" fmla="*/ 208 w 322"/>
                  <a:gd name="T65" fmla="*/ 130 h 547"/>
                  <a:gd name="T66" fmla="*/ 224 w 322"/>
                  <a:gd name="T67" fmla="*/ 133 h 547"/>
                  <a:gd name="T68" fmla="*/ 239 w 322"/>
                  <a:gd name="T69" fmla="*/ 138 h 547"/>
                  <a:gd name="T70" fmla="*/ 253 w 322"/>
                  <a:gd name="T71" fmla="*/ 145 h 547"/>
                  <a:gd name="T72" fmla="*/ 265 w 322"/>
                  <a:gd name="T73" fmla="*/ 152 h 547"/>
                  <a:gd name="T74" fmla="*/ 276 w 322"/>
                  <a:gd name="T75" fmla="*/ 161 h 547"/>
                  <a:gd name="T76" fmla="*/ 286 w 322"/>
                  <a:gd name="T77" fmla="*/ 172 h 547"/>
                  <a:gd name="T78" fmla="*/ 294 w 322"/>
                  <a:gd name="T79" fmla="*/ 183 h 547"/>
                  <a:gd name="T80" fmla="*/ 304 w 322"/>
                  <a:gd name="T81" fmla="*/ 202 h 547"/>
                  <a:gd name="T82" fmla="*/ 314 w 322"/>
                  <a:gd name="T83" fmla="*/ 230 h 547"/>
                  <a:gd name="T84" fmla="*/ 318 w 322"/>
                  <a:gd name="T85" fmla="*/ 246 h 547"/>
                  <a:gd name="T86" fmla="*/ 320 w 322"/>
                  <a:gd name="T87" fmla="*/ 262 h 547"/>
                  <a:gd name="T88" fmla="*/ 322 w 322"/>
                  <a:gd name="T89" fmla="*/ 295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2" h="547">
                    <a:moveTo>
                      <a:pt x="322" y="547"/>
                    </a:moveTo>
                    <a:lnTo>
                      <a:pt x="259" y="547"/>
                    </a:lnTo>
                    <a:lnTo>
                      <a:pt x="259" y="296"/>
                    </a:lnTo>
                    <a:lnTo>
                      <a:pt x="259" y="285"/>
                    </a:lnTo>
                    <a:lnTo>
                      <a:pt x="258" y="275"/>
                    </a:lnTo>
                    <a:lnTo>
                      <a:pt x="258" y="269"/>
                    </a:lnTo>
                    <a:lnTo>
                      <a:pt x="257" y="264"/>
                    </a:lnTo>
                    <a:lnTo>
                      <a:pt x="255" y="254"/>
                    </a:lnTo>
                    <a:lnTo>
                      <a:pt x="252" y="245"/>
                    </a:lnTo>
                    <a:lnTo>
                      <a:pt x="249" y="235"/>
                    </a:lnTo>
                    <a:lnTo>
                      <a:pt x="245" y="227"/>
                    </a:lnTo>
                    <a:lnTo>
                      <a:pt x="240" y="219"/>
                    </a:lnTo>
                    <a:lnTo>
                      <a:pt x="234" y="211"/>
                    </a:lnTo>
                    <a:lnTo>
                      <a:pt x="228" y="205"/>
                    </a:lnTo>
                    <a:lnTo>
                      <a:pt x="224" y="202"/>
                    </a:lnTo>
                    <a:lnTo>
                      <a:pt x="220" y="199"/>
                    </a:lnTo>
                    <a:lnTo>
                      <a:pt x="212" y="194"/>
                    </a:lnTo>
                    <a:lnTo>
                      <a:pt x="203" y="190"/>
                    </a:lnTo>
                    <a:lnTo>
                      <a:pt x="198" y="188"/>
                    </a:lnTo>
                    <a:lnTo>
                      <a:pt x="193" y="187"/>
                    </a:lnTo>
                    <a:lnTo>
                      <a:pt x="187" y="186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9" y="185"/>
                    </a:lnTo>
                    <a:lnTo>
                      <a:pt x="158" y="185"/>
                    </a:lnTo>
                    <a:lnTo>
                      <a:pt x="147" y="187"/>
                    </a:lnTo>
                    <a:lnTo>
                      <a:pt x="136" y="190"/>
                    </a:lnTo>
                    <a:lnTo>
                      <a:pt x="126" y="194"/>
                    </a:lnTo>
                    <a:lnTo>
                      <a:pt x="117" y="199"/>
                    </a:lnTo>
                    <a:lnTo>
                      <a:pt x="112" y="202"/>
                    </a:lnTo>
                    <a:lnTo>
                      <a:pt x="108" y="205"/>
                    </a:lnTo>
                    <a:lnTo>
                      <a:pt x="100" y="212"/>
                    </a:lnTo>
                    <a:lnTo>
                      <a:pt x="92" y="220"/>
                    </a:lnTo>
                    <a:lnTo>
                      <a:pt x="86" y="228"/>
                    </a:lnTo>
                    <a:lnTo>
                      <a:pt x="80" y="238"/>
                    </a:lnTo>
                    <a:lnTo>
                      <a:pt x="74" y="248"/>
                    </a:lnTo>
                    <a:lnTo>
                      <a:pt x="70" y="259"/>
                    </a:lnTo>
                    <a:lnTo>
                      <a:pt x="67" y="271"/>
                    </a:lnTo>
                    <a:lnTo>
                      <a:pt x="64" y="283"/>
                    </a:lnTo>
                    <a:lnTo>
                      <a:pt x="63" y="290"/>
                    </a:lnTo>
                    <a:lnTo>
                      <a:pt x="63" y="296"/>
                    </a:lnTo>
                    <a:lnTo>
                      <a:pt x="62" y="310"/>
                    </a:lnTo>
                    <a:lnTo>
                      <a:pt x="62" y="547"/>
                    </a:lnTo>
                    <a:lnTo>
                      <a:pt x="0" y="547"/>
                    </a:lnTo>
                    <a:lnTo>
                      <a:pt x="0" y="0"/>
                    </a:lnTo>
                    <a:lnTo>
                      <a:pt x="59" y="0"/>
                    </a:lnTo>
                    <a:lnTo>
                      <a:pt x="59" y="189"/>
                    </a:lnTo>
                    <a:lnTo>
                      <a:pt x="63" y="183"/>
                    </a:lnTo>
                    <a:lnTo>
                      <a:pt x="66" y="177"/>
                    </a:lnTo>
                    <a:lnTo>
                      <a:pt x="71" y="171"/>
                    </a:lnTo>
                    <a:lnTo>
                      <a:pt x="76" y="165"/>
                    </a:lnTo>
                    <a:lnTo>
                      <a:pt x="82" y="160"/>
                    </a:lnTo>
                    <a:lnTo>
                      <a:pt x="89" y="155"/>
                    </a:lnTo>
                    <a:lnTo>
                      <a:pt x="96" y="150"/>
                    </a:lnTo>
                    <a:lnTo>
                      <a:pt x="103" y="146"/>
                    </a:lnTo>
                    <a:lnTo>
                      <a:pt x="111" y="142"/>
                    </a:lnTo>
                    <a:lnTo>
                      <a:pt x="120" y="138"/>
                    </a:lnTo>
                    <a:lnTo>
                      <a:pt x="129" y="135"/>
                    </a:lnTo>
                    <a:lnTo>
                      <a:pt x="139" y="133"/>
                    </a:lnTo>
                    <a:lnTo>
                      <a:pt x="149" y="131"/>
                    </a:lnTo>
                    <a:lnTo>
                      <a:pt x="159" y="129"/>
                    </a:lnTo>
                    <a:lnTo>
                      <a:pt x="170" y="128"/>
                    </a:lnTo>
                    <a:lnTo>
                      <a:pt x="181" y="128"/>
                    </a:lnTo>
                    <a:lnTo>
                      <a:pt x="190" y="128"/>
                    </a:lnTo>
                    <a:lnTo>
                      <a:pt x="199" y="129"/>
                    </a:lnTo>
                    <a:lnTo>
                      <a:pt x="208" y="130"/>
                    </a:lnTo>
                    <a:lnTo>
                      <a:pt x="216" y="131"/>
                    </a:lnTo>
                    <a:lnTo>
                      <a:pt x="224" y="133"/>
                    </a:lnTo>
                    <a:lnTo>
                      <a:pt x="232" y="136"/>
                    </a:lnTo>
                    <a:lnTo>
                      <a:pt x="239" y="138"/>
                    </a:lnTo>
                    <a:lnTo>
                      <a:pt x="246" y="141"/>
                    </a:lnTo>
                    <a:lnTo>
                      <a:pt x="253" y="145"/>
                    </a:lnTo>
                    <a:lnTo>
                      <a:pt x="259" y="148"/>
                    </a:lnTo>
                    <a:lnTo>
                      <a:pt x="265" y="152"/>
                    </a:lnTo>
                    <a:lnTo>
                      <a:pt x="271" y="157"/>
                    </a:lnTo>
                    <a:lnTo>
                      <a:pt x="276" y="161"/>
                    </a:lnTo>
                    <a:lnTo>
                      <a:pt x="281" y="166"/>
                    </a:lnTo>
                    <a:lnTo>
                      <a:pt x="286" y="172"/>
                    </a:lnTo>
                    <a:lnTo>
                      <a:pt x="290" y="177"/>
                    </a:lnTo>
                    <a:lnTo>
                      <a:pt x="294" y="183"/>
                    </a:lnTo>
                    <a:lnTo>
                      <a:pt x="298" y="189"/>
                    </a:lnTo>
                    <a:lnTo>
                      <a:pt x="304" y="202"/>
                    </a:lnTo>
                    <a:lnTo>
                      <a:pt x="310" y="216"/>
                    </a:lnTo>
                    <a:lnTo>
                      <a:pt x="314" y="230"/>
                    </a:lnTo>
                    <a:lnTo>
                      <a:pt x="316" y="238"/>
                    </a:lnTo>
                    <a:lnTo>
                      <a:pt x="318" y="246"/>
                    </a:lnTo>
                    <a:lnTo>
                      <a:pt x="319" y="254"/>
                    </a:lnTo>
                    <a:lnTo>
                      <a:pt x="320" y="262"/>
                    </a:lnTo>
                    <a:lnTo>
                      <a:pt x="321" y="278"/>
                    </a:lnTo>
                    <a:lnTo>
                      <a:pt x="322" y="295"/>
                    </a:lnTo>
                    <a:lnTo>
                      <a:pt x="322" y="5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2" name="Freeform 12"/>
              <p:cNvSpPr>
                <a:spLocks noEditPoints="1"/>
              </p:cNvSpPr>
              <p:nvPr userDrawn="1"/>
            </p:nvSpPr>
            <p:spPr bwMode="auto">
              <a:xfrm>
                <a:off x="5335588" y="4527551"/>
                <a:ext cx="554037" cy="676275"/>
              </a:xfrm>
              <a:custGeom>
                <a:avLst/>
                <a:gdLst>
                  <a:gd name="T0" fmla="*/ 66 w 349"/>
                  <a:gd name="T1" fmla="*/ 246 h 426"/>
                  <a:gd name="T2" fmla="*/ 71 w 349"/>
                  <a:gd name="T3" fmla="*/ 272 h 426"/>
                  <a:gd name="T4" fmla="*/ 84 w 349"/>
                  <a:gd name="T5" fmla="*/ 302 h 426"/>
                  <a:gd name="T6" fmla="*/ 98 w 349"/>
                  <a:gd name="T7" fmla="*/ 323 h 426"/>
                  <a:gd name="T8" fmla="*/ 121 w 349"/>
                  <a:gd name="T9" fmla="*/ 345 h 426"/>
                  <a:gd name="T10" fmla="*/ 143 w 349"/>
                  <a:gd name="T11" fmla="*/ 358 h 426"/>
                  <a:gd name="T12" fmla="*/ 161 w 349"/>
                  <a:gd name="T13" fmla="*/ 364 h 426"/>
                  <a:gd name="T14" fmla="*/ 188 w 349"/>
                  <a:gd name="T15" fmla="*/ 367 h 426"/>
                  <a:gd name="T16" fmla="*/ 221 w 349"/>
                  <a:gd name="T17" fmla="*/ 364 h 426"/>
                  <a:gd name="T18" fmla="*/ 248 w 349"/>
                  <a:gd name="T19" fmla="*/ 355 h 426"/>
                  <a:gd name="T20" fmla="*/ 269 w 349"/>
                  <a:gd name="T21" fmla="*/ 343 h 426"/>
                  <a:gd name="T22" fmla="*/ 295 w 349"/>
                  <a:gd name="T23" fmla="*/ 320 h 426"/>
                  <a:gd name="T24" fmla="*/ 342 w 349"/>
                  <a:gd name="T25" fmla="*/ 356 h 426"/>
                  <a:gd name="T26" fmla="*/ 322 w 349"/>
                  <a:gd name="T27" fmla="*/ 377 h 426"/>
                  <a:gd name="T28" fmla="*/ 296 w 349"/>
                  <a:gd name="T29" fmla="*/ 396 h 426"/>
                  <a:gd name="T30" fmla="*/ 265 w 349"/>
                  <a:gd name="T31" fmla="*/ 412 h 426"/>
                  <a:gd name="T32" fmla="*/ 227 w 349"/>
                  <a:gd name="T33" fmla="*/ 422 h 426"/>
                  <a:gd name="T34" fmla="*/ 184 w 349"/>
                  <a:gd name="T35" fmla="*/ 426 h 426"/>
                  <a:gd name="T36" fmla="*/ 154 w 349"/>
                  <a:gd name="T37" fmla="*/ 424 h 426"/>
                  <a:gd name="T38" fmla="*/ 127 w 349"/>
                  <a:gd name="T39" fmla="*/ 417 h 426"/>
                  <a:gd name="T40" fmla="*/ 101 w 349"/>
                  <a:gd name="T41" fmla="*/ 406 h 426"/>
                  <a:gd name="T42" fmla="*/ 78 w 349"/>
                  <a:gd name="T43" fmla="*/ 391 h 426"/>
                  <a:gd name="T44" fmla="*/ 58 w 349"/>
                  <a:gd name="T45" fmla="*/ 373 h 426"/>
                  <a:gd name="T46" fmla="*/ 40 w 349"/>
                  <a:gd name="T47" fmla="*/ 351 h 426"/>
                  <a:gd name="T48" fmla="*/ 21 w 349"/>
                  <a:gd name="T49" fmla="*/ 317 h 426"/>
                  <a:gd name="T50" fmla="*/ 11 w 349"/>
                  <a:gd name="T51" fmla="*/ 288 h 426"/>
                  <a:gd name="T52" fmla="*/ 4 w 349"/>
                  <a:gd name="T53" fmla="*/ 257 h 426"/>
                  <a:gd name="T54" fmla="*/ 0 w 349"/>
                  <a:gd name="T55" fmla="*/ 224 h 426"/>
                  <a:gd name="T56" fmla="*/ 1 w 349"/>
                  <a:gd name="T57" fmla="*/ 191 h 426"/>
                  <a:gd name="T58" fmla="*/ 6 w 349"/>
                  <a:gd name="T59" fmla="*/ 159 h 426"/>
                  <a:gd name="T60" fmla="*/ 15 w 349"/>
                  <a:gd name="T61" fmla="*/ 129 h 426"/>
                  <a:gd name="T62" fmla="*/ 27 w 349"/>
                  <a:gd name="T63" fmla="*/ 102 h 426"/>
                  <a:gd name="T64" fmla="*/ 43 w 349"/>
                  <a:gd name="T65" fmla="*/ 77 h 426"/>
                  <a:gd name="T66" fmla="*/ 68 w 349"/>
                  <a:gd name="T67" fmla="*/ 48 h 426"/>
                  <a:gd name="T68" fmla="*/ 89 w 349"/>
                  <a:gd name="T69" fmla="*/ 30 h 426"/>
                  <a:gd name="T70" fmla="*/ 113 w 349"/>
                  <a:gd name="T71" fmla="*/ 17 h 426"/>
                  <a:gd name="T72" fmla="*/ 139 w 349"/>
                  <a:gd name="T73" fmla="*/ 7 h 426"/>
                  <a:gd name="T74" fmla="*/ 165 w 349"/>
                  <a:gd name="T75" fmla="*/ 1 h 426"/>
                  <a:gd name="T76" fmla="*/ 194 w 349"/>
                  <a:gd name="T77" fmla="*/ 0 h 426"/>
                  <a:gd name="T78" fmla="*/ 224 w 349"/>
                  <a:gd name="T79" fmla="*/ 4 h 426"/>
                  <a:gd name="T80" fmla="*/ 252 w 349"/>
                  <a:gd name="T81" fmla="*/ 13 h 426"/>
                  <a:gd name="T82" fmla="*/ 275 w 349"/>
                  <a:gd name="T83" fmla="*/ 25 h 426"/>
                  <a:gd name="T84" fmla="*/ 294 w 349"/>
                  <a:gd name="T85" fmla="*/ 41 h 426"/>
                  <a:gd name="T86" fmla="*/ 311 w 349"/>
                  <a:gd name="T87" fmla="*/ 60 h 426"/>
                  <a:gd name="T88" fmla="*/ 331 w 349"/>
                  <a:gd name="T89" fmla="*/ 96 h 426"/>
                  <a:gd name="T90" fmla="*/ 340 w 349"/>
                  <a:gd name="T91" fmla="*/ 121 h 426"/>
                  <a:gd name="T92" fmla="*/ 345 w 349"/>
                  <a:gd name="T93" fmla="*/ 146 h 426"/>
                  <a:gd name="T94" fmla="*/ 349 w 349"/>
                  <a:gd name="T95" fmla="*/ 189 h 426"/>
                  <a:gd name="T96" fmla="*/ 66 w 349"/>
                  <a:gd name="T97" fmla="*/ 176 h 426"/>
                  <a:gd name="T98" fmla="*/ 288 w 349"/>
                  <a:gd name="T99" fmla="*/ 157 h 426"/>
                  <a:gd name="T100" fmla="*/ 282 w 349"/>
                  <a:gd name="T101" fmla="*/ 129 h 426"/>
                  <a:gd name="T102" fmla="*/ 272 w 349"/>
                  <a:gd name="T103" fmla="*/ 109 h 426"/>
                  <a:gd name="T104" fmla="*/ 253 w 349"/>
                  <a:gd name="T105" fmla="*/ 84 h 426"/>
                  <a:gd name="T106" fmla="*/ 226 w 349"/>
                  <a:gd name="T107" fmla="*/ 68 h 426"/>
                  <a:gd name="T108" fmla="*/ 195 w 349"/>
                  <a:gd name="T109" fmla="*/ 59 h 426"/>
                  <a:gd name="T110" fmla="*/ 161 w 349"/>
                  <a:gd name="T111" fmla="*/ 61 h 426"/>
                  <a:gd name="T112" fmla="*/ 140 w 349"/>
                  <a:gd name="T113" fmla="*/ 68 h 426"/>
                  <a:gd name="T114" fmla="*/ 113 w 349"/>
                  <a:gd name="T115" fmla="*/ 86 h 426"/>
                  <a:gd name="T116" fmla="*/ 91 w 349"/>
                  <a:gd name="T117" fmla="*/ 111 h 426"/>
                  <a:gd name="T118" fmla="*/ 78 w 349"/>
                  <a:gd name="T119" fmla="*/ 136 h 426"/>
                  <a:gd name="T120" fmla="*/ 68 w 349"/>
                  <a:gd name="T121" fmla="*/ 164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426">
                    <a:moveTo>
                      <a:pt x="64" y="227"/>
                    </a:moveTo>
                    <a:lnTo>
                      <a:pt x="65" y="240"/>
                    </a:lnTo>
                    <a:lnTo>
                      <a:pt x="66" y="246"/>
                    </a:lnTo>
                    <a:lnTo>
                      <a:pt x="67" y="253"/>
                    </a:lnTo>
                    <a:lnTo>
                      <a:pt x="69" y="266"/>
                    </a:lnTo>
                    <a:lnTo>
                      <a:pt x="71" y="272"/>
                    </a:lnTo>
                    <a:lnTo>
                      <a:pt x="73" y="278"/>
                    </a:lnTo>
                    <a:lnTo>
                      <a:pt x="78" y="290"/>
                    </a:lnTo>
                    <a:lnTo>
                      <a:pt x="84" y="302"/>
                    </a:lnTo>
                    <a:lnTo>
                      <a:pt x="87" y="307"/>
                    </a:lnTo>
                    <a:lnTo>
                      <a:pt x="90" y="313"/>
                    </a:lnTo>
                    <a:lnTo>
                      <a:pt x="98" y="323"/>
                    </a:lnTo>
                    <a:lnTo>
                      <a:pt x="107" y="332"/>
                    </a:lnTo>
                    <a:lnTo>
                      <a:pt x="116" y="341"/>
                    </a:lnTo>
                    <a:lnTo>
                      <a:pt x="121" y="345"/>
                    </a:lnTo>
                    <a:lnTo>
                      <a:pt x="126" y="349"/>
                    </a:lnTo>
                    <a:lnTo>
                      <a:pt x="137" y="355"/>
                    </a:lnTo>
                    <a:lnTo>
                      <a:pt x="143" y="358"/>
                    </a:lnTo>
                    <a:lnTo>
                      <a:pt x="149" y="360"/>
                    </a:lnTo>
                    <a:lnTo>
                      <a:pt x="155" y="362"/>
                    </a:lnTo>
                    <a:lnTo>
                      <a:pt x="161" y="364"/>
                    </a:lnTo>
                    <a:lnTo>
                      <a:pt x="168" y="365"/>
                    </a:lnTo>
                    <a:lnTo>
                      <a:pt x="174" y="366"/>
                    </a:lnTo>
                    <a:lnTo>
                      <a:pt x="188" y="367"/>
                    </a:lnTo>
                    <a:lnTo>
                      <a:pt x="200" y="367"/>
                    </a:lnTo>
                    <a:lnTo>
                      <a:pt x="211" y="366"/>
                    </a:lnTo>
                    <a:lnTo>
                      <a:pt x="221" y="364"/>
                    </a:lnTo>
                    <a:lnTo>
                      <a:pt x="230" y="361"/>
                    </a:lnTo>
                    <a:lnTo>
                      <a:pt x="240" y="359"/>
                    </a:lnTo>
                    <a:lnTo>
                      <a:pt x="248" y="355"/>
                    </a:lnTo>
                    <a:lnTo>
                      <a:pt x="256" y="352"/>
                    </a:lnTo>
                    <a:lnTo>
                      <a:pt x="263" y="348"/>
                    </a:lnTo>
                    <a:lnTo>
                      <a:pt x="269" y="343"/>
                    </a:lnTo>
                    <a:lnTo>
                      <a:pt x="275" y="339"/>
                    </a:lnTo>
                    <a:lnTo>
                      <a:pt x="286" y="330"/>
                    </a:lnTo>
                    <a:lnTo>
                      <a:pt x="295" y="320"/>
                    </a:lnTo>
                    <a:lnTo>
                      <a:pt x="303" y="312"/>
                    </a:lnTo>
                    <a:lnTo>
                      <a:pt x="347" y="349"/>
                    </a:lnTo>
                    <a:lnTo>
                      <a:pt x="342" y="356"/>
                    </a:lnTo>
                    <a:lnTo>
                      <a:pt x="336" y="363"/>
                    </a:lnTo>
                    <a:lnTo>
                      <a:pt x="329" y="370"/>
                    </a:lnTo>
                    <a:lnTo>
                      <a:pt x="322" y="377"/>
                    </a:lnTo>
                    <a:lnTo>
                      <a:pt x="314" y="384"/>
                    </a:lnTo>
                    <a:lnTo>
                      <a:pt x="306" y="390"/>
                    </a:lnTo>
                    <a:lnTo>
                      <a:pt x="296" y="396"/>
                    </a:lnTo>
                    <a:lnTo>
                      <a:pt x="286" y="402"/>
                    </a:lnTo>
                    <a:lnTo>
                      <a:pt x="276" y="407"/>
                    </a:lnTo>
                    <a:lnTo>
                      <a:pt x="265" y="412"/>
                    </a:lnTo>
                    <a:lnTo>
                      <a:pt x="253" y="416"/>
                    </a:lnTo>
                    <a:lnTo>
                      <a:pt x="241" y="419"/>
                    </a:lnTo>
                    <a:lnTo>
                      <a:pt x="227" y="422"/>
                    </a:lnTo>
                    <a:lnTo>
                      <a:pt x="213" y="424"/>
                    </a:lnTo>
                    <a:lnTo>
                      <a:pt x="199" y="426"/>
                    </a:lnTo>
                    <a:lnTo>
                      <a:pt x="184" y="426"/>
                    </a:lnTo>
                    <a:lnTo>
                      <a:pt x="174" y="426"/>
                    </a:lnTo>
                    <a:lnTo>
                      <a:pt x="164" y="425"/>
                    </a:lnTo>
                    <a:lnTo>
                      <a:pt x="154" y="424"/>
                    </a:lnTo>
                    <a:lnTo>
                      <a:pt x="145" y="422"/>
                    </a:lnTo>
                    <a:lnTo>
                      <a:pt x="136" y="420"/>
                    </a:lnTo>
                    <a:lnTo>
                      <a:pt x="127" y="417"/>
                    </a:lnTo>
                    <a:lnTo>
                      <a:pt x="118" y="414"/>
                    </a:lnTo>
                    <a:lnTo>
                      <a:pt x="109" y="410"/>
                    </a:lnTo>
                    <a:lnTo>
                      <a:pt x="101" y="406"/>
                    </a:lnTo>
                    <a:lnTo>
                      <a:pt x="93" y="401"/>
                    </a:lnTo>
                    <a:lnTo>
                      <a:pt x="85" y="397"/>
                    </a:lnTo>
                    <a:lnTo>
                      <a:pt x="78" y="391"/>
                    </a:lnTo>
                    <a:lnTo>
                      <a:pt x="71" y="385"/>
                    </a:lnTo>
                    <a:lnTo>
                      <a:pt x="64" y="379"/>
                    </a:lnTo>
                    <a:lnTo>
                      <a:pt x="58" y="373"/>
                    </a:lnTo>
                    <a:lnTo>
                      <a:pt x="51" y="366"/>
                    </a:lnTo>
                    <a:lnTo>
                      <a:pt x="45" y="359"/>
                    </a:lnTo>
                    <a:lnTo>
                      <a:pt x="40" y="351"/>
                    </a:lnTo>
                    <a:lnTo>
                      <a:pt x="30" y="335"/>
                    </a:lnTo>
                    <a:lnTo>
                      <a:pt x="25" y="326"/>
                    </a:lnTo>
                    <a:lnTo>
                      <a:pt x="21" y="317"/>
                    </a:lnTo>
                    <a:lnTo>
                      <a:pt x="17" y="308"/>
                    </a:lnTo>
                    <a:lnTo>
                      <a:pt x="14" y="298"/>
                    </a:lnTo>
                    <a:lnTo>
                      <a:pt x="11" y="288"/>
                    </a:lnTo>
                    <a:lnTo>
                      <a:pt x="8" y="278"/>
                    </a:lnTo>
                    <a:lnTo>
                      <a:pt x="5" y="268"/>
                    </a:lnTo>
                    <a:lnTo>
                      <a:pt x="4" y="257"/>
                    </a:lnTo>
                    <a:lnTo>
                      <a:pt x="2" y="247"/>
                    </a:lnTo>
                    <a:lnTo>
                      <a:pt x="1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0" y="202"/>
                    </a:lnTo>
                    <a:lnTo>
                      <a:pt x="1" y="191"/>
                    </a:lnTo>
                    <a:lnTo>
                      <a:pt x="2" y="180"/>
                    </a:lnTo>
                    <a:lnTo>
                      <a:pt x="4" y="169"/>
                    </a:lnTo>
                    <a:lnTo>
                      <a:pt x="6" y="159"/>
                    </a:lnTo>
                    <a:lnTo>
                      <a:pt x="9" y="149"/>
                    </a:lnTo>
                    <a:lnTo>
                      <a:pt x="12" y="139"/>
                    </a:lnTo>
                    <a:lnTo>
                      <a:pt x="15" y="129"/>
                    </a:lnTo>
                    <a:lnTo>
                      <a:pt x="19" y="120"/>
                    </a:lnTo>
                    <a:lnTo>
                      <a:pt x="23" y="111"/>
                    </a:lnTo>
                    <a:lnTo>
                      <a:pt x="27" y="102"/>
                    </a:lnTo>
                    <a:lnTo>
                      <a:pt x="32" y="93"/>
                    </a:lnTo>
                    <a:lnTo>
                      <a:pt x="37" y="85"/>
                    </a:lnTo>
                    <a:lnTo>
                      <a:pt x="43" y="77"/>
                    </a:lnTo>
                    <a:lnTo>
                      <a:pt x="49" y="69"/>
                    </a:lnTo>
                    <a:lnTo>
                      <a:pt x="55" y="62"/>
                    </a:lnTo>
                    <a:lnTo>
                      <a:pt x="68" y="48"/>
                    </a:lnTo>
                    <a:lnTo>
                      <a:pt x="75" y="42"/>
                    </a:lnTo>
                    <a:lnTo>
                      <a:pt x="82" y="36"/>
                    </a:lnTo>
                    <a:lnTo>
                      <a:pt x="89" y="30"/>
                    </a:lnTo>
                    <a:lnTo>
                      <a:pt x="97" y="25"/>
                    </a:lnTo>
                    <a:lnTo>
                      <a:pt x="105" y="21"/>
                    </a:lnTo>
                    <a:lnTo>
                      <a:pt x="113" y="17"/>
                    </a:lnTo>
                    <a:lnTo>
                      <a:pt x="121" y="13"/>
                    </a:lnTo>
                    <a:lnTo>
                      <a:pt x="130" y="9"/>
                    </a:lnTo>
                    <a:lnTo>
                      <a:pt x="139" y="7"/>
                    </a:lnTo>
                    <a:lnTo>
                      <a:pt x="147" y="4"/>
                    </a:lnTo>
                    <a:lnTo>
                      <a:pt x="156" y="2"/>
                    </a:lnTo>
                    <a:lnTo>
                      <a:pt x="165" y="1"/>
                    </a:lnTo>
                    <a:lnTo>
                      <a:pt x="174" y="0"/>
                    </a:lnTo>
                    <a:lnTo>
                      <a:pt x="184" y="0"/>
                    </a:lnTo>
                    <a:lnTo>
                      <a:pt x="194" y="0"/>
                    </a:lnTo>
                    <a:lnTo>
                      <a:pt x="205" y="1"/>
                    </a:lnTo>
                    <a:lnTo>
                      <a:pt x="215" y="2"/>
                    </a:lnTo>
                    <a:lnTo>
                      <a:pt x="224" y="4"/>
                    </a:lnTo>
                    <a:lnTo>
                      <a:pt x="234" y="7"/>
                    </a:lnTo>
                    <a:lnTo>
                      <a:pt x="243" y="9"/>
                    </a:lnTo>
                    <a:lnTo>
                      <a:pt x="252" y="13"/>
                    </a:lnTo>
                    <a:lnTo>
                      <a:pt x="260" y="16"/>
                    </a:lnTo>
                    <a:lnTo>
                      <a:pt x="267" y="21"/>
                    </a:lnTo>
                    <a:lnTo>
                      <a:pt x="275" y="25"/>
                    </a:lnTo>
                    <a:lnTo>
                      <a:pt x="282" y="30"/>
                    </a:lnTo>
                    <a:lnTo>
                      <a:pt x="288" y="35"/>
                    </a:lnTo>
                    <a:lnTo>
                      <a:pt x="294" y="41"/>
                    </a:lnTo>
                    <a:lnTo>
                      <a:pt x="300" y="47"/>
                    </a:lnTo>
                    <a:lnTo>
                      <a:pt x="306" y="53"/>
                    </a:lnTo>
                    <a:lnTo>
                      <a:pt x="311" y="60"/>
                    </a:lnTo>
                    <a:lnTo>
                      <a:pt x="320" y="74"/>
                    </a:lnTo>
                    <a:lnTo>
                      <a:pt x="328" y="89"/>
                    </a:lnTo>
                    <a:lnTo>
                      <a:pt x="331" y="96"/>
                    </a:lnTo>
                    <a:lnTo>
                      <a:pt x="334" y="104"/>
                    </a:lnTo>
                    <a:lnTo>
                      <a:pt x="337" y="112"/>
                    </a:lnTo>
                    <a:lnTo>
                      <a:pt x="340" y="121"/>
                    </a:lnTo>
                    <a:lnTo>
                      <a:pt x="342" y="129"/>
                    </a:lnTo>
                    <a:lnTo>
                      <a:pt x="344" y="137"/>
                    </a:lnTo>
                    <a:lnTo>
                      <a:pt x="345" y="146"/>
                    </a:lnTo>
                    <a:lnTo>
                      <a:pt x="347" y="155"/>
                    </a:lnTo>
                    <a:lnTo>
                      <a:pt x="348" y="172"/>
                    </a:lnTo>
                    <a:lnTo>
                      <a:pt x="349" y="189"/>
                    </a:lnTo>
                    <a:lnTo>
                      <a:pt x="349" y="227"/>
                    </a:lnTo>
                    <a:lnTo>
                      <a:pt x="64" y="227"/>
                    </a:lnTo>
                    <a:close/>
                    <a:moveTo>
                      <a:pt x="66" y="176"/>
                    </a:moveTo>
                    <a:lnTo>
                      <a:pt x="289" y="176"/>
                    </a:lnTo>
                    <a:lnTo>
                      <a:pt x="289" y="163"/>
                    </a:lnTo>
                    <a:lnTo>
                      <a:pt x="288" y="157"/>
                    </a:lnTo>
                    <a:lnTo>
                      <a:pt x="287" y="151"/>
                    </a:lnTo>
                    <a:lnTo>
                      <a:pt x="285" y="140"/>
                    </a:lnTo>
                    <a:lnTo>
                      <a:pt x="282" y="129"/>
                    </a:lnTo>
                    <a:lnTo>
                      <a:pt x="280" y="124"/>
                    </a:lnTo>
                    <a:lnTo>
                      <a:pt x="277" y="118"/>
                    </a:lnTo>
                    <a:lnTo>
                      <a:pt x="272" y="109"/>
                    </a:lnTo>
                    <a:lnTo>
                      <a:pt x="267" y="100"/>
                    </a:lnTo>
                    <a:lnTo>
                      <a:pt x="260" y="92"/>
                    </a:lnTo>
                    <a:lnTo>
                      <a:pt x="253" y="84"/>
                    </a:lnTo>
                    <a:lnTo>
                      <a:pt x="245" y="78"/>
                    </a:lnTo>
                    <a:lnTo>
                      <a:pt x="235" y="72"/>
                    </a:lnTo>
                    <a:lnTo>
                      <a:pt x="226" y="68"/>
                    </a:lnTo>
                    <a:lnTo>
                      <a:pt x="216" y="64"/>
                    </a:lnTo>
                    <a:lnTo>
                      <a:pt x="206" y="61"/>
                    </a:lnTo>
                    <a:lnTo>
                      <a:pt x="195" y="59"/>
                    </a:lnTo>
                    <a:lnTo>
                      <a:pt x="184" y="59"/>
                    </a:lnTo>
                    <a:lnTo>
                      <a:pt x="172" y="60"/>
                    </a:lnTo>
                    <a:lnTo>
                      <a:pt x="161" y="61"/>
                    </a:lnTo>
                    <a:lnTo>
                      <a:pt x="155" y="63"/>
                    </a:lnTo>
                    <a:lnTo>
                      <a:pt x="150" y="64"/>
                    </a:lnTo>
                    <a:lnTo>
                      <a:pt x="140" y="68"/>
                    </a:lnTo>
                    <a:lnTo>
                      <a:pt x="130" y="73"/>
                    </a:lnTo>
                    <a:lnTo>
                      <a:pt x="121" y="79"/>
                    </a:lnTo>
                    <a:lnTo>
                      <a:pt x="113" y="86"/>
                    </a:lnTo>
                    <a:lnTo>
                      <a:pt x="105" y="94"/>
                    </a:lnTo>
                    <a:lnTo>
                      <a:pt x="98" y="102"/>
                    </a:lnTo>
                    <a:lnTo>
                      <a:pt x="91" y="111"/>
                    </a:lnTo>
                    <a:lnTo>
                      <a:pt x="85" y="121"/>
                    </a:lnTo>
                    <a:lnTo>
                      <a:pt x="80" y="131"/>
                    </a:lnTo>
                    <a:lnTo>
                      <a:pt x="78" y="136"/>
                    </a:lnTo>
                    <a:lnTo>
                      <a:pt x="75" y="142"/>
                    </a:lnTo>
                    <a:lnTo>
                      <a:pt x="71" y="153"/>
                    </a:lnTo>
                    <a:lnTo>
                      <a:pt x="68" y="164"/>
                    </a:lnTo>
                    <a:lnTo>
                      <a:pt x="66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3" name="Freeform 13"/>
              <p:cNvSpPr>
                <a:spLocks/>
              </p:cNvSpPr>
              <p:nvPr userDrawn="1"/>
            </p:nvSpPr>
            <p:spPr bwMode="auto">
              <a:xfrm>
                <a:off x="6226175" y="4538663"/>
                <a:ext cx="908050" cy="652463"/>
              </a:xfrm>
              <a:custGeom>
                <a:avLst/>
                <a:gdLst>
                  <a:gd name="T0" fmla="*/ 448 w 572"/>
                  <a:gd name="T1" fmla="*/ 411 h 411"/>
                  <a:gd name="T2" fmla="*/ 377 w 572"/>
                  <a:gd name="T3" fmla="*/ 411 h 411"/>
                  <a:gd name="T4" fmla="*/ 285 w 572"/>
                  <a:gd name="T5" fmla="*/ 80 h 411"/>
                  <a:gd name="T6" fmla="*/ 194 w 572"/>
                  <a:gd name="T7" fmla="*/ 411 h 411"/>
                  <a:gd name="T8" fmla="*/ 124 w 572"/>
                  <a:gd name="T9" fmla="*/ 411 h 411"/>
                  <a:gd name="T10" fmla="*/ 0 w 572"/>
                  <a:gd name="T11" fmla="*/ 0 h 411"/>
                  <a:gd name="T12" fmla="*/ 68 w 572"/>
                  <a:gd name="T13" fmla="*/ 0 h 411"/>
                  <a:gd name="T14" fmla="*/ 161 w 572"/>
                  <a:gd name="T15" fmla="*/ 340 h 411"/>
                  <a:gd name="T16" fmla="*/ 256 w 572"/>
                  <a:gd name="T17" fmla="*/ 0 h 411"/>
                  <a:gd name="T18" fmla="*/ 319 w 572"/>
                  <a:gd name="T19" fmla="*/ 0 h 411"/>
                  <a:gd name="T20" fmla="*/ 415 w 572"/>
                  <a:gd name="T21" fmla="*/ 340 h 411"/>
                  <a:gd name="T22" fmla="*/ 507 w 572"/>
                  <a:gd name="T23" fmla="*/ 0 h 411"/>
                  <a:gd name="T24" fmla="*/ 572 w 572"/>
                  <a:gd name="T25" fmla="*/ 0 h 411"/>
                  <a:gd name="T26" fmla="*/ 448 w 572"/>
                  <a:gd name="T27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2" h="411">
                    <a:moveTo>
                      <a:pt x="448" y="411"/>
                    </a:moveTo>
                    <a:lnTo>
                      <a:pt x="377" y="411"/>
                    </a:lnTo>
                    <a:lnTo>
                      <a:pt x="285" y="80"/>
                    </a:lnTo>
                    <a:lnTo>
                      <a:pt x="194" y="411"/>
                    </a:lnTo>
                    <a:lnTo>
                      <a:pt x="124" y="411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161" y="340"/>
                    </a:lnTo>
                    <a:lnTo>
                      <a:pt x="256" y="0"/>
                    </a:lnTo>
                    <a:lnTo>
                      <a:pt x="319" y="0"/>
                    </a:lnTo>
                    <a:lnTo>
                      <a:pt x="415" y="340"/>
                    </a:lnTo>
                    <a:lnTo>
                      <a:pt x="507" y="0"/>
                    </a:lnTo>
                    <a:lnTo>
                      <a:pt x="572" y="0"/>
                    </a:lnTo>
                    <a:lnTo>
                      <a:pt x="448" y="4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39" name="Freeform 14"/>
              <p:cNvSpPr>
                <a:spLocks noEditPoints="1"/>
              </p:cNvSpPr>
              <p:nvPr userDrawn="1"/>
            </p:nvSpPr>
            <p:spPr bwMode="auto">
              <a:xfrm>
                <a:off x="7207250" y="4527551"/>
                <a:ext cx="584200" cy="676275"/>
              </a:xfrm>
              <a:custGeom>
                <a:avLst/>
                <a:gdLst>
                  <a:gd name="T0" fmla="*/ 152 w 368"/>
                  <a:gd name="T1" fmla="*/ 424 h 426"/>
                  <a:gd name="T2" fmla="*/ 114 w 368"/>
                  <a:gd name="T3" fmla="*/ 413 h 426"/>
                  <a:gd name="T4" fmla="*/ 82 w 368"/>
                  <a:gd name="T5" fmla="*/ 395 h 426"/>
                  <a:gd name="T6" fmla="*/ 54 w 368"/>
                  <a:gd name="T7" fmla="*/ 370 h 426"/>
                  <a:gd name="T8" fmla="*/ 37 w 368"/>
                  <a:gd name="T9" fmla="*/ 348 h 426"/>
                  <a:gd name="T10" fmla="*/ 19 w 368"/>
                  <a:gd name="T11" fmla="*/ 314 h 426"/>
                  <a:gd name="T12" fmla="*/ 7 w 368"/>
                  <a:gd name="T13" fmla="*/ 276 h 426"/>
                  <a:gd name="T14" fmla="*/ 0 w 368"/>
                  <a:gd name="T15" fmla="*/ 213 h 426"/>
                  <a:gd name="T16" fmla="*/ 4 w 368"/>
                  <a:gd name="T17" fmla="*/ 160 h 426"/>
                  <a:gd name="T18" fmla="*/ 15 w 368"/>
                  <a:gd name="T19" fmla="*/ 121 h 426"/>
                  <a:gd name="T20" fmla="*/ 32 w 368"/>
                  <a:gd name="T21" fmla="*/ 86 h 426"/>
                  <a:gd name="T22" fmla="*/ 54 w 368"/>
                  <a:gd name="T23" fmla="*/ 55 h 426"/>
                  <a:gd name="T24" fmla="*/ 82 w 368"/>
                  <a:gd name="T25" fmla="*/ 31 h 426"/>
                  <a:gd name="T26" fmla="*/ 114 w 368"/>
                  <a:gd name="T27" fmla="*/ 13 h 426"/>
                  <a:gd name="T28" fmla="*/ 152 w 368"/>
                  <a:gd name="T29" fmla="*/ 2 h 426"/>
                  <a:gd name="T30" fmla="*/ 195 w 368"/>
                  <a:gd name="T31" fmla="*/ 0 h 426"/>
                  <a:gd name="T32" fmla="*/ 235 w 368"/>
                  <a:gd name="T33" fmla="*/ 7 h 426"/>
                  <a:gd name="T34" fmla="*/ 271 w 368"/>
                  <a:gd name="T35" fmla="*/ 21 h 426"/>
                  <a:gd name="T36" fmla="*/ 301 w 368"/>
                  <a:gd name="T37" fmla="*/ 42 h 426"/>
                  <a:gd name="T38" fmla="*/ 326 w 368"/>
                  <a:gd name="T39" fmla="*/ 70 h 426"/>
                  <a:gd name="T40" fmla="*/ 345 w 368"/>
                  <a:gd name="T41" fmla="*/ 102 h 426"/>
                  <a:gd name="T42" fmla="*/ 359 w 368"/>
                  <a:gd name="T43" fmla="*/ 140 h 426"/>
                  <a:gd name="T44" fmla="*/ 368 w 368"/>
                  <a:gd name="T45" fmla="*/ 202 h 426"/>
                  <a:gd name="T46" fmla="*/ 365 w 368"/>
                  <a:gd name="T47" fmla="*/ 255 h 426"/>
                  <a:gd name="T48" fmla="*/ 356 w 368"/>
                  <a:gd name="T49" fmla="*/ 295 h 426"/>
                  <a:gd name="T50" fmla="*/ 336 w 368"/>
                  <a:gd name="T51" fmla="*/ 340 h 426"/>
                  <a:gd name="T52" fmla="*/ 308 w 368"/>
                  <a:gd name="T53" fmla="*/ 377 h 426"/>
                  <a:gd name="T54" fmla="*/ 279 w 368"/>
                  <a:gd name="T55" fmla="*/ 400 h 426"/>
                  <a:gd name="T56" fmla="*/ 244 w 368"/>
                  <a:gd name="T57" fmla="*/ 416 h 426"/>
                  <a:gd name="T58" fmla="*/ 205 w 368"/>
                  <a:gd name="T59" fmla="*/ 425 h 426"/>
                  <a:gd name="T60" fmla="*/ 176 w 368"/>
                  <a:gd name="T61" fmla="*/ 59 h 426"/>
                  <a:gd name="T62" fmla="*/ 148 w 368"/>
                  <a:gd name="T63" fmla="*/ 64 h 426"/>
                  <a:gd name="T64" fmla="*/ 125 w 368"/>
                  <a:gd name="T65" fmla="*/ 75 h 426"/>
                  <a:gd name="T66" fmla="*/ 104 w 368"/>
                  <a:gd name="T67" fmla="*/ 90 h 426"/>
                  <a:gd name="T68" fmla="*/ 79 w 368"/>
                  <a:gd name="T69" fmla="*/ 128 h 426"/>
                  <a:gd name="T70" fmla="*/ 66 w 368"/>
                  <a:gd name="T71" fmla="*/ 168 h 426"/>
                  <a:gd name="T72" fmla="*/ 62 w 368"/>
                  <a:gd name="T73" fmla="*/ 213 h 426"/>
                  <a:gd name="T74" fmla="*/ 69 w 368"/>
                  <a:gd name="T75" fmla="*/ 271 h 426"/>
                  <a:gd name="T76" fmla="*/ 88 w 368"/>
                  <a:gd name="T77" fmla="*/ 315 h 426"/>
                  <a:gd name="T78" fmla="*/ 109 w 368"/>
                  <a:gd name="T79" fmla="*/ 340 h 426"/>
                  <a:gd name="T80" fmla="*/ 136 w 368"/>
                  <a:gd name="T81" fmla="*/ 357 h 426"/>
                  <a:gd name="T82" fmla="*/ 162 w 368"/>
                  <a:gd name="T83" fmla="*/ 365 h 426"/>
                  <a:gd name="T84" fmla="*/ 191 w 368"/>
                  <a:gd name="T85" fmla="*/ 367 h 426"/>
                  <a:gd name="T86" fmla="*/ 219 w 368"/>
                  <a:gd name="T87" fmla="*/ 362 h 426"/>
                  <a:gd name="T88" fmla="*/ 243 w 368"/>
                  <a:gd name="T89" fmla="*/ 351 h 426"/>
                  <a:gd name="T90" fmla="*/ 263 w 368"/>
                  <a:gd name="T91" fmla="*/ 335 h 426"/>
                  <a:gd name="T92" fmla="*/ 283 w 368"/>
                  <a:gd name="T93" fmla="*/ 310 h 426"/>
                  <a:gd name="T94" fmla="*/ 299 w 368"/>
                  <a:gd name="T95" fmla="*/ 271 h 426"/>
                  <a:gd name="T96" fmla="*/ 306 w 368"/>
                  <a:gd name="T97" fmla="*/ 228 h 426"/>
                  <a:gd name="T98" fmla="*/ 302 w 368"/>
                  <a:gd name="T99" fmla="*/ 168 h 426"/>
                  <a:gd name="T100" fmla="*/ 283 w 368"/>
                  <a:gd name="T101" fmla="*/ 116 h 426"/>
                  <a:gd name="T102" fmla="*/ 263 w 368"/>
                  <a:gd name="T103" fmla="*/ 90 h 426"/>
                  <a:gd name="T104" fmla="*/ 238 w 368"/>
                  <a:gd name="T105" fmla="*/ 71 h 426"/>
                  <a:gd name="T106" fmla="*/ 199 w 368"/>
                  <a:gd name="T107" fmla="*/ 6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68" h="426">
                    <a:moveTo>
                      <a:pt x="184" y="426"/>
                    </a:moveTo>
                    <a:lnTo>
                      <a:pt x="173" y="426"/>
                    </a:lnTo>
                    <a:lnTo>
                      <a:pt x="163" y="425"/>
                    </a:lnTo>
                    <a:lnTo>
                      <a:pt x="152" y="424"/>
                    </a:lnTo>
                    <a:lnTo>
                      <a:pt x="142" y="422"/>
                    </a:lnTo>
                    <a:lnTo>
                      <a:pt x="133" y="419"/>
                    </a:lnTo>
                    <a:lnTo>
                      <a:pt x="123" y="416"/>
                    </a:lnTo>
                    <a:lnTo>
                      <a:pt x="114" y="413"/>
                    </a:lnTo>
                    <a:lnTo>
                      <a:pt x="106" y="409"/>
                    </a:lnTo>
                    <a:lnTo>
                      <a:pt x="97" y="405"/>
                    </a:lnTo>
                    <a:lnTo>
                      <a:pt x="89" y="400"/>
                    </a:lnTo>
                    <a:lnTo>
                      <a:pt x="82" y="395"/>
                    </a:lnTo>
                    <a:lnTo>
                      <a:pt x="74" y="389"/>
                    </a:lnTo>
                    <a:lnTo>
                      <a:pt x="67" y="383"/>
                    </a:lnTo>
                    <a:lnTo>
                      <a:pt x="60" y="377"/>
                    </a:lnTo>
                    <a:lnTo>
                      <a:pt x="54" y="370"/>
                    </a:lnTo>
                    <a:lnTo>
                      <a:pt x="48" y="363"/>
                    </a:lnTo>
                    <a:lnTo>
                      <a:pt x="42" y="356"/>
                    </a:lnTo>
                    <a:lnTo>
                      <a:pt x="39" y="352"/>
                    </a:lnTo>
                    <a:lnTo>
                      <a:pt x="37" y="348"/>
                    </a:lnTo>
                    <a:lnTo>
                      <a:pt x="32" y="340"/>
                    </a:lnTo>
                    <a:lnTo>
                      <a:pt x="27" y="332"/>
                    </a:lnTo>
                    <a:lnTo>
                      <a:pt x="23" y="323"/>
                    </a:lnTo>
                    <a:lnTo>
                      <a:pt x="19" y="314"/>
                    </a:lnTo>
                    <a:lnTo>
                      <a:pt x="15" y="305"/>
                    </a:lnTo>
                    <a:lnTo>
                      <a:pt x="12" y="295"/>
                    </a:lnTo>
                    <a:lnTo>
                      <a:pt x="9" y="286"/>
                    </a:lnTo>
                    <a:lnTo>
                      <a:pt x="7" y="276"/>
                    </a:lnTo>
                    <a:lnTo>
                      <a:pt x="4" y="266"/>
                    </a:lnTo>
                    <a:lnTo>
                      <a:pt x="3" y="255"/>
                    </a:lnTo>
                    <a:lnTo>
                      <a:pt x="0" y="234"/>
                    </a:lnTo>
                    <a:lnTo>
                      <a:pt x="0" y="213"/>
                    </a:lnTo>
                    <a:lnTo>
                      <a:pt x="0" y="191"/>
                    </a:lnTo>
                    <a:lnTo>
                      <a:pt x="1" y="180"/>
                    </a:lnTo>
                    <a:lnTo>
                      <a:pt x="3" y="170"/>
                    </a:lnTo>
                    <a:lnTo>
                      <a:pt x="4" y="160"/>
                    </a:lnTo>
                    <a:lnTo>
                      <a:pt x="7" y="150"/>
                    </a:lnTo>
                    <a:lnTo>
                      <a:pt x="9" y="140"/>
                    </a:lnTo>
                    <a:lnTo>
                      <a:pt x="12" y="130"/>
                    </a:lnTo>
                    <a:lnTo>
                      <a:pt x="15" y="121"/>
                    </a:lnTo>
                    <a:lnTo>
                      <a:pt x="19" y="111"/>
                    </a:lnTo>
                    <a:lnTo>
                      <a:pt x="23" y="102"/>
                    </a:lnTo>
                    <a:lnTo>
                      <a:pt x="27" y="94"/>
                    </a:lnTo>
                    <a:lnTo>
                      <a:pt x="32" y="86"/>
                    </a:lnTo>
                    <a:lnTo>
                      <a:pt x="37" y="77"/>
                    </a:lnTo>
                    <a:lnTo>
                      <a:pt x="42" y="70"/>
                    </a:lnTo>
                    <a:lnTo>
                      <a:pt x="48" y="62"/>
                    </a:lnTo>
                    <a:lnTo>
                      <a:pt x="54" y="55"/>
                    </a:lnTo>
                    <a:lnTo>
                      <a:pt x="60" y="49"/>
                    </a:lnTo>
                    <a:lnTo>
                      <a:pt x="67" y="42"/>
                    </a:lnTo>
                    <a:lnTo>
                      <a:pt x="74" y="36"/>
                    </a:lnTo>
                    <a:lnTo>
                      <a:pt x="82" y="31"/>
                    </a:lnTo>
                    <a:lnTo>
                      <a:pt x="89" y="26"/>
                    </a:lnTo>
                    <a:lnTo>
                      <a:pt x="97" y="21"/>
                    </a:lnTo>
                    <a:lnTo>
                      <a:pt x="106" y="17"/>
                    </a:lnTo>
                    <a:lnTo>
                      <a:pt x="114" y="13"/>
                    </a:lnTo>
                    <a:lnTo>
                      <a:pt x="123" y="10"/>
                    </a:lnTo>
                    <a:lnTo>
                      <a:pt x="133" y="7"/>
                    </a:lnTo>
                    <a:lnTo>
                      <a:pt x="142" y="4"/>
                    </a:lnTo>
                    <a:lnTo>
                      <a:pt x="152" y="2"/>
                    </a:lnTo>
                    <a:lnTo>
                      <a:pt x="163" y="1"/>
                    </a:lnTo>
                    <a:lnTo>
                      <a:pt x="173" y="0"/>
                    </a:lnTo>
                    <a:lnTo>
                      <a:pt x="184" y="0"/>
                    </a:lnTo>
                    <a:lnTo>
                      <a:pt x="195" y="0"/>
                    </a:lnTo>
                    <a:lnTo>
                      <a:pt x="205" y="1"/>
                    </a:lnTo>
                    <a:lnTo>
                      <a:pt x="216" y="2"/>
                    </a:lnTo>
                    <a:lnTo>
                      <a:pt x="225" y="4"/>
                    </a:lnTo>
                    <a:lnTo>
                      <a:pt x="235" y="7"/>
                    </a:lnTo>
                    <a:lnTo>
                      <a:pt x="244" y="10"/>
                    </a:lnTo>
                    <a:lnTo>
                      <a:pt x="253" y="13"/>
                    </a:lnTo>
                    <a:lnTo>
                      <a:pt x="262" y="17"/>
                    </a:lnTo>
                    <a:lnTo>
                      <a:pt x="271" y="21"/>
                    </a:lnTo>
                    <a:lnTo>
                      <a:pt x="279" y="26"/>
                    </a:lnTo>
                    <a:lnTo>
                      <a:pt x="286" y="31"/>
                    </a:lnTo>
                    <a:lnTo>
                      <a:pt x="294" y="36"/>
                    </a:lnTo>
                    <a:lnTo>
                      <a:pt x="301" y="42"/>
                    </a:lnTo>
                    <a:lnTo>
                      <a:pt x="308" y="49"/>
                    </a:lnTo>
                    <a:lnTo>
                      <a:pt x="314" y="55"/>
                    </a:lnTo>
                    <a:lnTo>
                      <a:pt x="320" y="62"/>
                    </a:lnTo>
                    <a:lnTo>
                      <a:pt x="326" y="70"/>
                    </a:lnTo>
                    <a:lnTo>
                      <a:pt x="331" y="77"/>
                    </a:lnTo>
                    <a:lnTo>
                      <a:pt x="336" y="86"/>
                    </a:lnTo>
                    <a:lnTo>
                      <a:pt x="341" y="94"/>
                    </a:lnTo>
                    <a:lnTo>
                      <a:pt x="345" y="102"/>
                    </a:lnTo>
                    <a:lnTo>
                      <a:pt x="349" y="111"/>
                    </a:lnTo>
                    <a:lnTo>
                      <a:pt x="353" y="121"/>
                    </a:lnTo>
                    <a:lnTo>
                      <a:pt x="356" y="130"/>
                    </a:lnTo>
                    <a:lnTo>
                      <a:pt x="359" y="140"/>
                    </a:lnTo>
                    <a:lnTo>
                      <a:pt x="361" y="150"/>
                    </a:lnTo>
                    <a:lnTo>
                      <a:pt x="365" y="170"/>
                    </a:lnTo>
                    <a:lnTo>
                      <a:pt x="367" y="191"/>
                    </a:lnTo>
                    <a:lnTo>
                      <a:pt x="368" y="202"/>
                    </a:lnTo>
                    <a:lnTo>
                      <a:pt x="368" y="213"/>
                    </a:lnTo>
                    <a:lnTo>
                      <a:pt x="367" y="234"/>
                    </a:lnTo>
                    <a:lnTo>
                      <a:pt x="366" y="245"/>
                    </a:lnTo>
                    <a:lnTo>
                      <a:pt x="365" y="255"/>
                    </a:lnTo>
                    <a:lnTo>
                      <a:pt x="363" y="266"/>
                    </a:lnTo>
                    <a:lnTo>
                      <a:pt x="361" y="276"/>
                    </a:lnTo>
                    <a:lnTo>
                      <a:pt x="359" y="286"/>
                    </a:lnTo>
                    <a:lnTo>
                      <a:pt x="356" y="295"/>
                    </a:lnTo>
                    <a:lnTo>
                      <a:pt x="349" y="314"/>
                    </a:lnTo>
                    <a:lnTo>
                      <a:pt x="345" y="323"/>
                    </a:lnTo>
                    <a:lnTo>
                      <a:pt x="341" y="332"/>
                    </a:lnTo>
                    <a:lnTo>
                      <a:pt x="336" y="340"/>
                    </a:lnTo>
                    <a:lnTo>
                      <a:pt x="331" y="348"/>
                    </a:lnTo>
                    <a:lnTo>
                      <a:pt x="320" y="363"/>
                    </a:lnTo>
                    <a:lnTo>
                      <a:pt x="314" y="370"/>
                    </a:lnTo>
                    <a:lnTo>
                      <a:pt x="308" y="377"/>
                    </a:lnTo>
                    <a:lnTo>
                      <a:pt x="301" y="383"/>
                    </a:lnTo>
                    <a:lnTo>
                      <a:pt x="294" y="389"/>
                    </a:lnTo>
                    <a:lnTo>
                      <a:pt x="286" y="395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2" y="409"/>
                    </a:lnTo>
                    <a:lnTo>
                      <a:pt x="253" y="413"/>
                    </a:lnTo>
                    <a:lnTo>
                      <a:pt x="244" y="416"/>
                    </a:lnTo>
                    <a:lnTo>
                      <a:pt x="235" y="419"/>
                    </a:lnTo>
                    <a:lnTo>
                      <a:pt x="225" y="422"/>
                    </a:lnTo>
                    <a:lnTo>
                      <a:pt x="216" y="424"/>
                    </a:lnTo>
                    <a:lnTo>
                      <a:pt x="205" y="425"/>
                    </a:lnTo>
                    <a:lnTo>
                      <a:pt x="195" y="426"/>
                    </a:lnTo>
                    <a:lnTo>
                      <a:pt x="184" y="426"/>
                    </a:lnTo>
                    <a:close/>
                    <a:moveTo>
                      <a:pt x="184" y="59"/>
                    </a:moveTo>
                    <a:lnTo>
                      <a:pt x="176" y="59"/>
                    </a:lnTo>
                    <a:lnTo>
                      <a:pt x="169" y="60"/>
                    </a:lnTo>
                    <a:lnTo>
                      <a:pt x="162" y="61"/>
                    </a:lnTo>
                    <a:lnTo>
                      <a:pt x="155" y="62"/>
                    </a:lnTo>
                    <a:lnTo>
                      <a:pt x="148" y="64"/>
                    </a:lnTo>
                    <a:lnTo>
                      <a:pt x="142" y="66"/>
                    </a:lnTo>
                    <a:lnTo>
                      <a:pt x="136" y="69"/>
                    </a:lnTo>
                    <a:lnTo>
                      <a:pt x="130" y="71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4" y="82"/>
                    </a:lnTo>
                    <a:lnTo>
                      <a:pt x="109" y="86"/>
                    </a:lnTo>
                    <a:lnTo>
                      <a:pt x="104" y="90"/>
                    </a:lnTo>
                    <a:lnTo>
                      <a:pt x="100" y="95"/>
                    </a:lnTo>
                    <a:lnTo>
                      <a:pt x="92" y="105"/>
                    </a:lnTo>
                    <a:lnTo>
                      <a:pt x="85" y="116"/>
                    </a:lnTo>
                    <a:lnTo>
                      <a:pt x="79" y="128"/>
                    </a:lnTo>
                    <a:lnTo>
                      <a:pt x="76" y="134"/>
                    </a:lnTo>
                    <a:lnTo>
                      <a:pt x="73" y="141"/>
                    </a:lnTo>
                    <a:lnTo>
                      <a:pt x="69" y="154"/>
                    </a:lnTo>
                    <a:lnTo>
                      <a:pt x="66" y="168"/>
                    </a:lnTo>
                    <a:lnTo>
                      <a:pt x="65" y="175"/>
                    </a:lnTo>
                    <a:lnTo>
                      <a:pt x="63" y="182"/>
                    </a:lnTo>
                    <a:lnTo>
                      <a:pt x="62" y="197"/>
                    </a:lnTo>
                    <a:lnTo>
                      <a:pt x="62" y="213"/>
                    </a:lnTo>
                    <a:lnTo>
                      <a:pt x="62" y="228"/>
                    </a:lnTo>
                    <a:lnTo>
                      <a:pt x="63" y="243"/>
                    </a:lnTo>
                    <a:lnTo>
                      <a:pt x="66" y="257"/>
                    </a:lnTo>
                    <a:lnTo>
                      <a:pt x="69" y="271"/>
                    </a:lnTo>
                    <a:lnTo>
                      <a:pt x="73" y="285"/>
                    </a:lnTo>
                    <a:lnTo>
                      <a:pt x="79" y="298"/>
                    </a:lnTo>
                    <a:lnTo>
                      <a:pt x="85" y="310"/>
                    </a:lnTo>
                    <a:lnTo>
                      <a:pt x="88" y="315"/>
                    </a:lnTo>
                    <a:lnTo>
                      <a:pt x="92" y="321"/>
                    </a:lnTo>
                    <a:lnTo>
                      <a:pt x="100" y="331"/>
                    </a:lnTo>
                    <a:lnTo>
                      <a:pt x="104" y="335"/>
                    </a:lnTo>
                    <a:lnTo>
                      <a:pt x="109" y="340"/>
                    </a:lnTo>
                    <a:lnTo>
                      <a:pt x="119" y="348"/>
                    </a:lnTo>
                    <a:lnTo>
                      <a:pt x="125" y="351"/>
                    </a:lnTo>
                    <a:lnTo>
                      <a:pt x="130" y="354"/>
                    </a:lnTo>
                    <a:lnTo>
                      <a:pt x="136" y="357"/>
                    </a:lnTo>
                    <a:lnTo>
                      <a:pt x="142" y="360"/>
                    </a:lnTo>
                    <a:lnTo>
                      <a:pt x="148" y="362"/>
                    </a:lnTo>
                    <a:lnTo>
                      <a:pt x="155" y="364"/>
                    </a:lnTo>
                    <a:lnTo>
                      <a:pt x="162" y="365"/>
                    </a:lnTo>
                    <a:lnTo>
                      <a:pt x="169" y="366"/>
                    </a:lnTo>
                    <a:lnTo>
                      <a:pt x="176" y="367"/>
                    </a:lnTo>
                    <a:lnTo>
                      <a:pt x="184" y="367"/>
                    </a:lnTo>
                    <a:lnTo>
                      <a:pt x="191" y="367"/>
                    </a:lnTo>
                    <a:lnTo>
                      <a:pt x="199" y="366"/>
                    </a:lnTo>
                    <a:lnTo>
                      <a:pt x="206" y="365"/>
                    </a:lnTo>
                    <a:lnTo>
                      <a:pt x="213" y="364"/>
                    </a:lnTo>
                    <a:lnTo>
                      <a:pt x="219" y="362"/>
                    </a:lnTo>
                    <a:lnTo>
                      <a:pt x="226" y="360"/>
                    </a:lnTo>
                    <a:lnTo>
                      <a:pt x="232" y="357"/>
                    </a:lnTo>
                    <a:lnTo>
                      <a:pt x="238" y="354"/>
                    </a:lnTo>
                    <a:lnTo>
                      <a:pt x="243" y="351"/>
                    </a:lnTo>
                    <a:lnTo>
                      <a:pt x="249" y="348"/>
                    </a:lnTo>
                    <a:lnTo>
                      <a:pt x="254" y="344"/>
                    </a:lnTo>
                    <a:lnTo>
                      <a:pt x="259" y="340"/>
                    </a:lnTo>
                    <a:lnTo>
                      <a:pt x="263" y="335"/>
                    </a:lnTo>
                    <a:lnTo>
                      <a:pt x="268" y="331"/>
                    </a:lnTo>
                    <a:lnTo>
                      <a:pt x="272" y="326"/>
                    </a:lnTo>
                    <a:lnTo>
                      <a:pt x="276" y="321"/>
                    </a:lnTo>
                    <a:lnTo>
                      <a:pt x="283" y="310"/>
                    </a:lnTo>
                    <a:lnTo>
                      <a:pt x="289" y="298"/>
                    </a:lnTo>
                    <a:lnTo>
                      <a:pt x="292" y="291"/>
                    </a:lnTo>
                    <a:lnTo>
                      <a:pt x="294" y="285"/>
                    </a:lnTo>
                    <a:lnTo>
                      <a:pt x="299" y="271"/>
                    </a:lnTo>
                    <a:lnTo>
                      <a:pt x="302" y="257"/>
                    </a:lnTo>
                    <a:lnTo>
                      <a:pt x="303" y="250"/>
                    </a:lnTo>
                    <a:lnTo>
                      <a:pt x="304" y="243"/>
                    </a:lnTo>
                    <a:lnTo>
                      <a:pt x="306" y="228"/>
                    </a:lnTo>
                    <a:lnTo>
                      <a:pt x="306" y="213"/>
                    </a:lnTo>
                    <a:lnTo>
                      <a:pt x="306" y="197"/>
                    </a:lnTo>
                    <a:lnTo>
                      <a:pt x="304" y="182"/>
                    </a:lnTo>
                    <a:lnTo>
                      <a:pt x="302" y="168"/>
                    </a:lnTo>
                    <a:lnTo>
                      <a:pt x="299" y="154"/>
                    </a:lnTo>
                    <a:lnTo>
                      <a:pt x="294" y="141"/>
                    </a:lnTo>
                    <a:lnTo>
                      <a:pt x="289" y="128"/>
                    </a:lnTo>
                    <a:lnTo>
                      <a:pt x="283" y="116"/>
                    </a:lnTo>
                    <a:lnTo>
                      <a:pt x="280" y="110"/>
                    </a:lnTo>
                    <a:lnTo>
                      <a:pt x="276" y="105"/>
                    </a:lnTo>
                    <a:lnTo>
                      <a:pt x="268" y="95"/>
                    </a:lnTo>
                    <a:lnTo>
                      <a:pt x="263" y="90"/>
                    </a:lnTo>
                    <a:lnTo>
                      <a:pt x="259" y="86"/>
                    </a:lnTo>
                    <a:lnTo>
                      <a:pt x="249" y="78"/>
                    </a:lnTo>
                    <a:lnTo>
                      <a:pt x="243" y="75"/>
                    </a:lnTo>
                    <a:lnTo>
                      <a:pt x="238" y="71"/>
                    </a:lnTo>
                    <a:lnTo>
                      <a:pt x="232" y="69"/>
                    </a:lnTo>
                    <a:lnTo>
                      <a:pt x="226" y="66"/>
                    </a:lnTo>
                    <a:lnTo>
                      <a:pt x="213" y="62"/>
                    </a:lnTo>
                    <a:lnTo>
                      <a:pt x="199" y="60"/>
                    </a:lnTo>
                    <a:lnTo>
                      <a:pt x="191" y="59"/>
                    </a:lnTo>
                    <a:lnTo>
                      <a:pt x="18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0" name="Freeform 15"/>
              <p:cNvSpPr>
                <a:spLocks/>
              </p:cNvSpPr>
              <p:nvPr userDrawn="1"/>
            </p:nvSpPr>
            <p:spPr bwMode="auto">
              <a:xfrm>
                <a:off x="7953375" y="4525963"/>
                <a:ext cx="328612" cy="666750"/>
              </a:xfrm>
              <a:custGeom>
                <a:avLst/>
                <a:gdLst>
                  <a:gd name="T0" fmla="*/ 207 w 207"/>
                  <a:gd name="T1" fmla="*/ 67 h 420"/>
                  <a:gd name="T2" fmla="*/ 192 w 207"/>
                  <a:gd name="T3" fmla="*/ 63 h 420"/>
                  <a:gd name="T4" fmla="*/ 185 w 207"/>
                  <a:gd name="T5" fmla="*/ 61 h 420"/>
                  <a:gd name="T6" fmla="*/ 178 w 207"/>
                  <a:gd name="T7" fmla="*/ 60 h 420"/>
                  <a:gd name="T8" fmla="*/ 171 w 207"/>
                  <a:gd name="T9" fmla="*/ 60 h 420"/>
                  <a:gd name="T10" fmla="*/ 164 w 207"/>
                  <a:gd name="T11" fmla="*/ 60 h 420"/>
                  <a:gd name="T12" fmla="*/ 157 w 207"/>
                  <a:gd name="T13" fmla="*/ 60 h 420"/>
                  <a:gd name="T14" fmla="*/ 150 w 207"/>
                  <a:gd name="T15" fmla="*/ 61 h 420"/>
                  <a:gd name="T16" fmla="*/ 138 w 207"/>
                  <a:gd name="T17" fmla="*/ 64 h 420"/>
                  <a:gd name="T18" fmla="*/ 132 w 207"/>
                  <a:gd name="T19" fmla="*/ 66 h 420"/>
                  <a:gd name="T20" fmla="*/ 126 w 207"/>
                  <a:gd name="T21" fmla="*/ 68 h 420"/>
                  <a:gd name="T22" fmla="*/ 120 w 207"/>
                  <a:gd name="T23" fmla="*/ 71 h 420"/>
                  <a:gd name="T24" fmla="*/ 115 w 207"/>
                  <a:gd name="T25" fmla="*/ 75 h 420"/>
                  <a:gd name="T26" fmla="*/ 110 w 207"/>
                  <a:gd name="T27" fmla="*/ 78 h 420"/>
                  <a:gd name="T28" fmla="*/ 105 w 207"/>
                  <a:gd name="T29" fmla="*/ 82 h 420"/>
                  <a:gd name="T30" fmla="*/ 100 w 207"/>
                  <a:gd name="T31" fmla="*/ 86 h 420"/>
                  <a:gd name="T32" fmla="*/ 95 w 207"/>
                  <a:gd name="T33" fmla="*/ 91 h 420"/>
                  <a:gd name="T34" fmla="*/ 91 w 207"/>
                  <a:gd name="T35" fmla="*/ 96 h 420"/>
                  <a:gd name="T36" fmla="*/ 87 w 207"/>
                  <a:gd name="T37" fmla="*/ 101 h 420"/>
                  <a:gd name="T38" fmla="*/ 84 w 207"/>
                  <a:gd name="T39" fmla="*/ 107 h 420"/>
                  <a:gd name="T40" fmla="*/ 79 w 207"/>
                  <a:gd name="T41" fmla="*/ 112 h 420"/>
                  <a:gd name="T42" fmla="*/ 76 w 207"/>
                  <a:gd name="T43" fmla="*/ 119 h 420"/>
                  <a:gd name="T44" fmla="*/ 73 w 207"/>
                  <a:gd name="T45" fmla="*/ 125 h 420"/>
                  <a:gd name="T46" fmla="*/ 69 w 207"/>
                  <a:gd name="T47" fmla="*/ 138 h 420"/>
                  <a:gd name="T48" fmla="*/ 65 w 207"/>
                  <a:gd name="T49" fmla="*/ 152 h 420"/>
                  <a:gd name="T50" fmla="*/ 64 w 207"/>
                  <a:gd name="T51" fmla="*/ 160 h 420"/>
                  <a:gd name="T52" fmla="*/ 63 w 207"/>
                  <a:gd name="T53" fmla="*/ 167 h 420"/>
                  <a:gd name="T54" fmla="*/ 63 w 207"/>
                  <a:gd name="T55" fmla="*/ 175 h 420"/>
                  <a:gd name="T56" fmla="*/ 62 w 207"/>
                  <a:gd name="T57" fmla="*/ 183 h 420"/>
                  <a:gd name="T58" fmla="*/ 62 w 207"/>
                  <a:gd name="T59" fmla="*/ 420 h 420"/>
                  <a:gd name="T60" fmla="*/ 0 w 207"/>
                  <a:gd name="T61" fmla="*/ 420 h 420"/>
                  <a:gd name="T62" fmla="*/ 0 w 207"/>
                  <a:gd name="T63" fmla="*/ 8 h 420"/>
                  <a:gd name="T64" fmla="*/ 59 w 207"/>
                  <a:gd name="T65" fmla="*/ 8 h 420"/>
                  <a:gd name="T66" fmla="*/ 59 w 207"/>
                  <a:gd name="T67" fmla="*/ 64 h 420"/>
                  <a:gd name="T68" fmla="*/ 63 w 207"/>
                  <a:gd name="T69" fmla="*/ 57 h 420"/>
                  <a:gd name="T70" fmla="*/ 69 w 207"/>
                  <a:gd name="T71" fmla="*/ 49 h 420"/>
                  <a:gd name="T72" fmla="*/ 71 w 207"/>
                  <a:gd name="T73" fmla="*/ 46 h 420"/>
                  <a:gd name="T74" fmla="*/ 74 w 207"/>
                  <a:gd name="T75" fmla="*/ 42 h 420"/>
                  <a:gd name="T76" fmla="*/ 82 w 207"/>
                  <a:gd name="T77" fmla="*/ 35 h 420"/>
                  <a:gd name="T78" fmla="*/ 86 w 207"/>
                  <a:gd name="T79" fmla="*/ 32 h 420"/>
                  <a:gd name="T80" fmla="*/ 90 w 207"/>
                  <a:gd name="T81" fmla="*/ 28 h 420"/>
                  <a:gd name="T82" fmla="*/ 94 w 207"/>
                  <a:gd name="T83" fmla="*/ 25 h 420"/>
                  <a:gd name="T84" fmla="*/ 98 w 207"/>
                  <a:gd name="T85" fmla="*/ 22 h 420"/>
                  <a:gd name="T86" fmla="*/ 107 w 207"/>
                  <a:gd name="T87" fmla="*/ 17 h 420"/>
                  <a:gd name="T88" fmla="*/ 116 w 207"/>
                  <a:gd name="T89" fmla="*/ 12 h 420"/>
                  <a:gd name="T90" fmla="*/ 126 w 207"/>
                  <a:gd name="T91" fmla="*/ 8 h 420"/>
                  <a:gd name="T92" fmla="*/ 136 w 207"/>
                  <a:gd name="T93" fmla="*/ 4 h 420"/>
                  <a:gd name="T94" fmla="*/ 147 w 207"/>
                  <a:gd name="T95" fmla="*/ 2 h 420"/>
                  <a:gd name="T96" fmla="*/ 159 w 207"/>
                  <a:gd name="T97" fmla="*/ 0 h 420"/>
                  <a:gd name="T98" fmla="*/ 171 w 207"/>
                  <a:gd name="T99" fmla="*/ 0 h 420"/>
                  <a:gd name="T100" fmla="*/ 183 w 207"/>
                  <a:gd name="T101" fmla="*/ 1 h 420"/>
                  <a:gd name="T102" fmla="*/ 195 w 207"/>
                  <a:gd name="T103" fmla="*/ 2 h 420"/>
                  <a:gd name="T104" fmla="*/ 207 w 207"/>
                  <a:gd name="T105" fmla="*/ 5 h 420"/>
                  <a:gd name="T106" fmla="*/ 207 w 207"/>
                  <a:gd name="T107" fmla="*/ 6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7" h="420">
                    <a:moveTo>
                      <a:pt x="207" y="67"/>
                    </a:moveTo>
                    <a:lnTo>
                      <a:pt x="192" y="63"/>
                    </a:lnTo>
                    <a:lnTo>
                      <a:pt x="185" y="61"/>
                    </a:lnTo>
                    <a:lnTo>
                      <a:pt x="178" y="60"/>
                    </a:lnTo>
                    <a:lnTo>
                      <a:pt x="171" y="60"/>
                    </a:lnTo>
                    <a:lnTo>
                      <a:pt x="164" y="60"/>
                    </a:lnTo>
                    <a:lnTo>
                      <a:pt x="157" y="60"/>
                    </a:lnTo>
                    <a:lnTo>
                      <a:pt x="150" y="61"/>
                    </a:lnTo>
                    <a:lnTo>
                      <a:pt x="138" y="64"/>
                    </a:lnTo>
                    <a:lnTo>
                      <a:pt x="132" y="66"/>
                    </a:lnTo>
                    <a:lnTo>
                      <a:pt x="126" y="68"/>
                    </a:lnTo>
                    <a:lnTo>
                      <a:pt x="120" y="71"/>
                    </a:lnTo>
                    <a:lnTo>
                      <a:pt x="115" y="75"/>
                    </a:lnTo>
                    <a:lnTo>
                      <a:pt x="110" y="78"/>
                    </a:lnTo>
                    <a:lnTo>
                      <a:pt x="105" y="82"/>
                    </a:lnTo>
                    <a:lnTo>
                      <a:pt x="100" y="86"/>
                    </a:lnTo>
                    <a:lnTo>
                      <a:pt x="95" y="91"/>
                    </a:lnTo>
                    <a:lnTo>
                      <a:pt x="91" y="96"/>
                    </a:lnTo>
                    <a:lnTo>
                      <a:pt x="87" y="101"/>
                    </a:lnTo>
                    <a:lnTo>
                      <a:pt x="84" y="107"/>
                    </a:lnTo>
                    <a:lnTo>
                      <a:pt x="79" y="112"/>
                    </a:lnTo>
                    <a:lnTo>
                      <a:pt x="76" y="119"/>
                    </a:lnTo>
                    <a:lnTo>
                      <a:pt x="73" y="125"/>
                    </a:lnTo>
                    <a:lnTo>
                      <a:pt x="69" y="138"/>
                    </a:lnTo>
                    <a:lnTo>
                      <a:pt x="65" y="152"/>
                    </a:lnTo>
                    <a:lnTo>
                      <a:pt x="64" y="160"/>
                    </a:lnTo>
                    <a:lnTo>
                      <a:pt x="63" y="167"/>
                    </a:lnTo>
                    <a:lnTo>
                      <a:pt x="63" y="175"/>
                    </a:lnTo>
                    <a:lnTo>
                      <a:pt x="62" y="183"/>
                    </a:lnTo>
                    <a:lnTo>
                      <a:pt x="62" y="420"/>
                    </a:lnTo>
                    <a:lnTo>
                      <a:pt x="0" y="420"/>
                    </a:lnTo>
                    <a:lnTo>
                      <a:pt x="0" y="8"/>
                    </a:lnTo>
                    <a:lnTo>
                      <a:pt x="59" y="8"/>
                    </a:lnTo>
                    <a:lnTo>
                      <a:pt x="59" y="64"/>
                    </a:lnTo>
                    <a:lnTo>
                      <a:pt x="63" y="57"/>
                    </a:lnTo>
                    <a:lnTo>
                      <a:pt x="69" y="49"/>
                    </a:lnTo>
                    <a:lnTo>
                      <a:pt x="71" y="46"/>
                    </a:lnTo>
                    <a:lnTo>
                      <a:pt x="74" y="42"/>
                    </a:lnTo>
                    <a:lnTo>
                      <a:pt x="82" y="35"/>
                    </a:lnTo>
                    <a:lnTo>
                      <a:pt x="86" y="32"/>
                    </a:lnTo>
                    <a:lnTo>
                      <a:pt x="90" y="28"/>
                    </a:lnTo>
                    <a:lnTo>
                      <a:pt x="94" y="25"/>
                    </a:lnTo>
                    <a:lnTo>
                      <a:pt x="98" y="22"/>
                    </a:lnTo>
                    <a:lnTo>
                      <a:pt x="107" y="17"/>
                    </a:lnTo>
                    <a:lnTo>
                      <a:pt x="116" y="12"/>
                    </a:lnTo>
                    <a:lnTo>
                      <a:pt x="126" y="8"/>
                    </a:lnTo>
                    <a:lnTo>
                      <a:pt x="136" y="4"/>
                    </a:lnTo>
                    <a:lnTo>
                      <a:pt x="147" y="2"/>
                    </a:lnTo>
                    <a:lnTo>
                      <a:pt x="159" y="0"/>
                    </a:lnTo>
                    <a:lnTo>
                      <a:pt x="171" y="0"/>
                    </a:lnTo>
                    <a:lnTo>
                      <a:pt x="183" y="1"/>
                    </a:lnTo>
                    <a:lnTo>
                      <a:pt x="195" y="2"/>
                    </a:lnTo>
                    <a:lnTo>
                      <a:pt x="207" y="5"/>
                    </a:lnTo>
                    <a:lnTo>
                      <a:pt x="207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1" name="Rectangle 16"/>
              <p:cNvSpPr>
                <a:spLocks noChangeArrowheads="1"/>
              </p:cNvSpPr>
              <p:nvPr userDrawn="1"/>
            </p:nvSpPr>
            <p:spPr bwMode="auto">
              <a:xfrm>
                <a:off x="8415338" y="4324351"/>
                <a:ext cx="98425" cy="8667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  <p:sp>
            <p:nvSpPr>
              <p:cNvPr id="42" name="Freeform 17"/>
              <p:cNvSpPr>
                <a:spLocks noEditPoints="1"/>
              </p:cNvSpPr>
              <p:nvPr userDrawn="1"/>
            </p:nvSpPr>
            <p:spPr bwMode="auto">
              <a:xfrm>
                <a:off x="8683625" y="4324351"/>
                <a:ext cx="582612" cy="879475"/>
              </a:xfrm>
              <a:custGeom>
                <a:avLst/>
                <a:gdLst>
                  <a:gd name="T0" fmla="*/ 308 w 367"/>
                  <a:gd name="T1" fmla="*/ 547 h 554"/>
                  <a:gd name="T2" fmla="*/ 290 w 367"/>
                  <a:gd name="T3" fmla="*/ 505 h 554"/>
                  <a:gd name="T4" fmla="*/ 261 w 367"/>
                  <a:gd name="T5" fmla="*/ 530 h 554"/>
                  <a:gd name="T6" fmla="*/ 236 w 367"/>
                  <a:gd name="T7" fmla="*/ 543 h 554"/>
                  <a:gd name="T8" fmla="*/ 197 w 367"/>
                  <a:gd name="T9" fmla="*/ 553 h 554"/>
                  <a:gd name="T10" fmla="*/ 155 w 367"/>
                  <a:gd name="T11" fmla="*/ 553 h 554"/>
                  <a:gd name="T12" fmla="*/ 119 w 367"/>
                  <a:gd name="T13" fmla="*/ 544 h 554"/>
                  <a:gd name="T14" fmla="*/ 87 w 367"/>
                  <a:gd name="T15" fmla="*/ 528 h 554"/>
                  <a:gd name="T16" fmla="*/ 66 w 367"/>
                  <a:gd name="T17" fmla="*/ 512 h 554"/>
                  <a:gd name="T18" fmla="*/ 42 w 367"/>
                  <a:gd name="T19" fmla="*/ 484 h 554"/>
                  <a:gd name="T20" fmla="*/ 19 w 367"/>
                  <a:gd name="T21" fmla="*/ 443 h 554"/>
                  <a:gd name="T22" fmla="*/ 7 w 367"/>
                  <a:gd name="T23" fmla="*/ 404 h 554"/>
                  <a:gd name="T24" fmla="*/ 0 w 367"/>
                  <a:gd name="T25" fmla="*/ 341 h 554"/>
                  <a:gd name="T26" fmla="*/ 5 w 367"/>
                  <a:gd name="T27" fmla="*/ 288 h 554"/>
                  <a:gd name="T28" fmla="*/ 19 w 367"/>
                  <a:gd name="T29" fmla="*/ 240 h 554"/>
                  <a:gd name="T30" fmla="*/ 37 w 367"/>
                  <a:gd name="T31" fmla="*/ 206 h 554"/>
                  <a:gd name="T32" fmla="*/ 61 w 367"/>
                  <a:gd name="T33" fmla="*/ 177 h 554"/>
                  <a:gd name="T34" fmla="*/ 89 w 367"/>
                  <a:gd name="T35" fmla="*/ 154 h 554"/>
                  <a:gd name="T36" fmla="*/ 123 w 367"/>
                  <a:gd name="T37" fmla="*/ 138 h 554"/>
                  <a:gd name="T38" fmla="*/ 161 w 367"/>
                  <a:gd name="T39" fmla="*/ 129 h 554"/>
                  <a:gd name="T40" fmla="*/ 202 w 367"/>
                  <a:gd name="T41" fmla="*/ 129 h 554"/>
                  <a:gd name="T42" fmla="*/ 238 w 367"/>
                  <a:gd name="T43" fmla="*/ 139 h 554"/>
                  <a:gd name="T44" fmla="*/ 269 w 367"/>
                  <a:gd name="T45" fmla="*/ 156 h 554"/>
                  <a:gd name="T46" fmla="*/ 286 w 367"/>
                  <a:gd name="T47" fmla="*/ 170 h 554"/>
                  <a:gd name="T48" fmla="*/ 305 w 367"/>
                  <a:gd name="T49" fmla="*/ 194 h 554"/>
                  <a:gd name="T50" fmla="*/ 169 w 367"/>
                  <a:gd name="T51" fmla="*/ 188 h 554"/>
                  <a:gd name="T52" fmla="*/ 143 w 367"/>
                  <a:gd name="T53" fmla="*/ 194 h 554"/>
                  <a:gd name="T54" fmla="*/ 120 w 367"/>
                  <a:gd name="T55" fmla="*/ 206 h 554"/>
                  <a:gd name="T56" fmla="*/ 101 w 367"/>
                  <a:gd name="T57" fmla="*/ 223 h 554"/>
                  <a:gd name="T58" fmla="*/ 80 w 367"/>
                  <a:gd name="T59" fmla="*/ 256 h 554"/>
                  <a:gd name="T60" fmla="*/ 64 w 367"/>
                  <a:gd name="T61" fmla="*/ 311 h 554"/>
                  <a:gd name="T62" fmla="*/ 64 w 367"/>
                  <a:gd name="T63" fmla="*/ 372 h 554"/>
                  <a:gd name="T64" fmla="*/ 74 w 367"/>
                  <a:gd name="T65" fmla="*/ 413 h 554"/>
                  <a:gd name="T66" fmla="*/ 93 w 367"/>
                  <a:gd name="T67" fmla="*/ 449 h 554"/>
                  <a:gd name="T68" fmla="*/ 115 w 367"/>
                  <a:gd name="T69" fmla="*/ 472 h 554"/>
                  <a:gd name="T70" fmla="*/ 137 w 367"/>
                  <a:gd name="T71" fmla="*/ 485 h 554"/>
                  <a:gd name="T72" fmla="*/ 183 w 367"/>
                  <a:gd name="T73" fmla="*/ 495 h 554"/>
                  <a:gd name="T74" fmla="*/ 220 w 367"/>
                  <a:gd name="T75" fmla="*/ 490 h 554"/>
                  <a:gd name="T76" fmla="*/ 244 w 367"/>
                  <a:gd name="T77" fmla="*/ 479 h 554"/>
                  <a:gd name="T78" fmla="*/ 264 w 367"/>
                  <a:gd name="T79" fmla="*/ 464 h 554"/>
                  <a:gd name="T80" fmla="*/ 287 w 367"/>
                  <a:gd name="T81" fmla="*/ 432 h 554"/>
                  <a:gd name="T82" fmla="*/ 302 w 367"/>
                  <a:gd name="T83" fmla="*/ 386 h 554"/>
                  <a:gd name="T84" fmla="*/ 306 w 367"/>
                  <a:gd name="T85" fmla="*/ 341 h 554"/>
                  <a:gd name="T86" fmla="*/ 298 w 367"/>
                  <a:gd name="T87" fmla="*/ 283 h 554"/>
                  <a:gd name="T88" fmla="*/ 282 w 367"/>
                  <a:gd name="T89" fmla="*/ 244 h 554"/>
                  <a:gd name="T90" fmla="*/ 262 w 367"/>
                  <a:gd name="T91" fmla="*/ 219 h 554"/>
                  <a:gd name="T92" fmla="*/ 236 w 367"/>
                  <a:gd name="T93" fmla="*/ 199 h 554"/>
                  <a:gd name="T94" fmla="*/ 211 w 367"/>
                  <a:gd name="T95" fmla="*/ 19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7" h="554">
                    <a:moveTo>
                      <a:pt x="305" y="0"/>
                    </a:moveTo>
                    <a:lnTo>
                      <a:pt x="367" y="0"/>
                    </a:lnTo>
                    <a:lnTo>
                      <a:pt x="367" y="547"/>
                    </a:lnTo>
                    <a:lnTo>
                      <a:pt x="308" y="547"/>
                    </a:lnTo>
                    <a:lnTo>
                      <a:pt x="308" y="481"/>
                    </a:lnTo>
                    <a:lnTo>
                      <a:pt x="303" y="489"/>
                    </a:lnTo>
                    <a:lnTo>
                      <a:pt x="297" y="498"/>
                    </a:lnTo>
                    <a:lnTo>
                      <a:pt x="290" y="505"/>
                    </a:lnTo>
                    <a:lnTo>
                      <a:pt x="284" y="512"/>
                    </a:lnTo>
                    <a:lnTo>
                      <a:pt x="277" y="519"/>
                    </a:lnTo>
                    <a:lnTo>
                      <a:pt x="269" y="525"/>
                    </a:lnTo>
                    <a:lnTo>
                      <a:pt x="261" y="530"/>
                    </a:lnTo>
                    <a:lnTo>
                      <a:pt x="253" y="535"/>
                    </a:lnTo>
                    <a:lnTo>
                      <a:pt x="245" y="539"/>
                    </a:lnTo>
                    <a:lnTo>
                      <a:pt x="240" y="541"/>
                    </a:lnTo>
                    <a:lnTo>
                      <a:pt x="236" y="543"/>
                    </a:lnTo>
                    <a:lnTo>
                      <a:pt x="226" y="547"/>
                    </a:lnTo>
                    <a:lnTo>
                      <a:pt x="217" y="549"/>
                    </a:lnTo>
                    <a:lnTo>
                      <a:pt x="207" y="551"/>
                    </a:lnTo>
                    <a:lnTo>
                      <a:pt x="197" y="553"/>
                    </a:lnTo>
                    <a:lnTo>
                      <a:pt x="186" y="554"/>
                    </a:lnTo>
                    <a:lnTo>
                      <a:pt x="175" y="554"/>
                    </a:lnTo>
                    <a:lnTo>
                      <a:pt x="165" y="554"/>
                    </a:lnTo>
                    <a:lnTo>
                      <a:pt x="155" y="553"/>
                    </a:lnTo>
                    <a:lnTo>
                      <a:pt x="146" y="552"/>
                    </a:lnTo>
                    <a:lnTo>
                      <a:pt x="137" y="550"/>
                    </a:lnTo>
                    <a:lnTo>
                      <a:pt x="128" y="547"/>
                    </a:lnTo>
                    <a:lnTo>
                      <a:pt x="119" y="544"/>
                    </a:lnTo>
                    <a:lnTo>
                      <a:pt x="110" y="541"/>
                    </a:lnTo>
                    <a:lnTo>
                      <a:pt x="102" y="537"/>
                    </a:lnTo>
                    <a:lnTo>
                      <a:pt x="94" y="533"/>
                    </a:lnTo>
                    <a:lnTo>
                      <a:pt x="87" y="528"/>
                    </a:lnTo>
                    <a:lnTo>
                      <a:pt x="83" y="526"/>
                    </a:lnTo>
                    <a:lnTo>
                      <a:pt x="79" y="523"/>
                    </a:lnTo>
                    <a:lnTo>
                      <a:pt x="72" y="518"/>
                    </a:lnTo>
                    <a:lnTo>
                      <a:pt x="66" y="512"/>
                    </a:lnTo>
                    <a:lnTo>
                      <a:pt x="59" y="505"/>
                    </a:lnTo>
                    <a:lnTo>
                      <a:pt x="53" y="499"/>
                    </a:lnTo>
                    <a:lnTo>
                      <a:pt x="47" y="492"/>
                    </a:lnTo>
                    <a:lnTo>
                      <a:pt x="42" y="484"/>
                    </a:lnTo>
                    <a:lnTo>
                      <a:pt x="37" y="477"/>
                    </a:lnTo>
                    <a:lnTo>
                      <a:pt x="27" y="460"/>
                    </a:lnTo>
                    <a:lnTo>
                      <a:pt x="23" y="452"/>
                    </a:lnTo>
                    <a:lnTo>
                      <a:pt x="19" y="443"/>
                    </a:lnTo>
                    <a:lnTo>
                      <a:pt x="16" y="433"/>
                    </a:lnTo>
                    <a:lnTo>
                      <a:pt x="12" y="424"/>
                    </a:lnTo>
                    <a:lnTo>
                      <a:pt x="10" y="414"/>
                    </a:lnTo>
                    <a:lnTo>
                      <a:pt x="7" y="404"/>
                    </a:lnTo>
                    <a:lnTo>
                      <a:pt x="3" y="384"/>
                    </a:lnTo>
                    <a:lnTo>
                      <a:pt x="1" y="363"/>
                    </a:lnTo>
                    <a:lnTo>
                      <a:pt x="1" y="352"/>
                    </a:lnTo>
                    <a:lnTo>
                      <a:pt x="0" y="341"/>
                    </a:lnTo>
                    <a:lnTo>
                      <a:pt x="1" y="320"/>
                    </a:lnTo>
                    <a:lnTo>
                      <a:pt x="2" y="309"/>
                    </a:lnTo>
                    <a:lnTo>
                      <a:pt x="3" y="299"/>
                    </a:lnTo>
                    <a:lnTo>
                      <a:pt x="5" y="288"/>
                    </a:lnTo>
                    <a:lnTo>
                      <a:pt x="7" y="278"/>
                    </a:lnTo>
                    <a:lnTo>
                      <a:pt x="10" y="268"/>
                    </a:lnTo>
                    <a:lnTo>
                      <a:pt x="13" y="259"/>
                    </a:lnTo>
                    <a:lnTo>
                      <a:pt x="19" y="240"/>
                    </a:lnTo>
                    <a:lnTo>
                      <a:pt x="23" y="231"/>
                    </a:lnTo>
                    <a:lnTo>
                      <a:pt x="28" y="222"/>
                    </a:lnTo>
                    <a:lnTo>
                      <a:pt x="32" y="214"/>
                    </a:lnTo>
                    <a:lnTo>
                      <a:pt x="37" y="206"/>
                    </a:lnTo>
                    <a:lnTo>
                      <a:pt x="43" y="198"/>
                    </a:lnTo>
                    <a:lnTo>
                      <a:pt x="48" y="191"/>
                    </a:lnTo>
                    <a:lnTo>
                      <a:pt x="54" y="184"/>
                    </a:lnTo>
                    <a:lnTo>
                      <a:pt x="61" y="177"/>
                    </a:lnTo>
                    <a:lnTo>
                      <a:pt x="67" y="171"/>
                    </a:lnTo>
                    <a:lnTo>
                      <a:pt x="74" y="165"/>
                    </a:lnTo>
                    <a:lnTo>
                      <a:pt x="82" y="159"/>
                    </a:lnTo>
                    <a:lnTo>
                      <a:pt x="89" y="154"/>
                    </a:lnTo>
                    <a:lnTo>
                      <a:pt x="97" y="149"/>
                    </a:lnTo>
                    <a:lnTo>
                      <a:pt x="105" y="145"/>
                    </a:lnTo>
                    <a:lnTo>
                      <a:pt x="114" y="141"/>
                    </a:lnTo>
                    <a:lnTo>
                      <a:pt x="123" y="138"/>
                    </a:lnTo>
                    <a:lnTo>
                      <a:pt x="132" y="135"/>
                    </a:lnTo>
                    <a:lnTo>
                      <a:pt x="142" y="132"/>
                    </a:lnTo>
                    <a:lnTo>
                      <a:pt x="151" y="130"/>
                    </a:lnTo>
                    <a:lnTo>
                      <a:pt x="161" y="129"/>
                    </a:lnTo>
                    <a:lnTo>
                      <a:pt x="172" y="128"/>
                    </a:lnTo>
                    <a:lnTo>
                      <a:pt x="182" y="128"/>
                    </a:lnTo>
                    <a:lnTo>
                      <a:pt x="192" y="128"/>
                    </a:lnTo>
                    <a:lnTo>
                      <a:pt x="202" y="129"/>
                    </a:lnTo>
                    <a:lnTo>
                      <a:pt x="212" y="131"/>
                    </a:lnTo>
                    <a:lnTo>
                      <a:pt x="221" y="133"/>
                    </a:lnTo>
                    <a:lnTo>
                      <a:pt x="230" y="135"/>
                    </a:lnTo>
                    <a:lnTo>
                      <a:pt x="238" y="139"/>
                    </a:lnTo>
                    <a:lnTo>
                      <a:pt x="247" y="142"/>
                    </a:lnTo>
                    <a:lnTo>
                      <a:pt x="254" y="146"/>
                    </a:lnTo>
                    <a:lnTo>
                      <a:pt x="262" y="151"/>
                    </a:lnTo>
                    <a:lnTo>
                      <a:pt x="269" y="156"/>
                    </a:lnTo>
                    <a:lnTo>
                      <a:pt x="273" y="158"/>
                    </a:lnTo>
                    <a:lnTo>
                      <a:pt x="276" y="161"/>
                    </a:lnTo>
                    <a:lnTo>
                      <a:pt x="283" y="167"/>
                    </a:lnTo>
                    <a:lnTo>
                      <a:pt x="286" y="170"/>
                    </a:lnTo>
                    <a:lnTo>
                      <a:pt x="289" y="173"/>
                    </a:lnTo>
                    <a:lnTo>
                      <a:pt x="294" y="180"/>
                    </a:lnTo>
                    <a:lnTo>
                      <a:pt x="300" y="186"/>
                    </a:lnTo>
                    <a:lnTo>
                      <a:pt x="305" y="194"/>
                    </a:lnTo>
                    <a:lnTo>
                      <a:pt x="305" y="0"/>
                    </a:lnTo>
                    <a:close/>
                    <a:moveTo>
                      <a:pt x="183" y="187"/>
                    </a:moveTo>
                    <a:lnTo>
                      <a:pt x="176" y="187"/>
                    </a:lnTo>
                    <a:lnTo>
                      <a:pt x="169" y="188"/>
                    </a:lnTo>
                    <a:lnTo>
                      <a:pt x="162" y="189"/>
                    </a:lnTo>
                    <a:lnTo>
                      <a:pt x="155" y="190"/>
                    </a:lnTo>
                    <a:lnTo>
                      <a:pt x="149" y="192"/>
                    </a:lnTo>
                    <a:lnTo>
                      <a:pt x="143" y="194"/>
                    </a:lnTo>
                    <a:lnTo>
                      <a:pt x="137" y="197"/>
                    </a:lnTo>
                    <a:lnTo>
                      <a:pt x="131" y="199"/>
                    </a:lnTo>
                    <a:lnTo>
                      <a:pt x="126" y="203"/>
                    </a:lnTo>
                    <a:lnTo>
                      <a:pt x="120" y="206"/>
                    </a:lnTo>
                    <a:lnTo>
                      <a:pt x="115" y="210"/>
                    </a:lnTo>
                    <a:lnTo>
                      <a:pt x="110" y="214"/>
                    </a:lnTo>
                    <a:lnTo>
                      <a:pt x="106" y="219"/>
                    </a:lnTo>
                    <a:lnTo>
                      <a:pt x="101" y="223"/>
                    </a:lnTo>
                    <a:lnTo>
                      <a:pt x="97" y="228"/>
                    </a:lnTo>
                    <a:lnTo>
                      <a:pt x="93" y="233"/>
                    </a:lnTo>
                    <a:lnTo>
                      <a:pt x="86" y="244"/>
                    </a:lnTo>
                    <a:lnTo>
                      <a:pt x="80" y="256"/>
                    </a:lnTo>
                    <a:lnTo>
                      <a:pt x="75" y="269"/>
                    </a:lnTo>
                    <a:lnTo>
                      <a:pt x="70" y="283"/>
                    </a:lnTo>
                    <a:lnTo>
                      <a:pt x="67" y="297"/>
                    </a:lnTo>
                    <a:lnTo>
                      <a:pt x="64" y="311"/>
                    </a:lnTo>
                    <a:lnTo>
                      <a:pt x="63" y="326"/>
                    </a:lnTo>
                    <a:lnTo>
                      <a:pt x="62" y="341"/>
                    </a:lnTo>
                    <a:lnTo>
                      <a:pt x="63" y="357"/>
                    </a:lnTo>
                    <a:lnTo>
                      <a:pt x="64" y="372"/>
                    </a:lnTo>
                    <a:lnTo>
                      <a:pt x="67" y="386"/>
                    </a:lnTo>
                    <a:lnTo>
                      <a:pt x="68" y="393"/>
                    </a:lnTo>
                    <a:lnTo>
                      <a:pt x="70" y="400"/>
                    </a:lnTo>
                    <a:lnTo>
                      <a:pt x="74" y="413"/>
                    </a:lnTo>
                    <a:lnTo>
                      <a:pt x="80" y="426"/>
                    </a:lnTo>
                    <a:lnTo>
                      <a:pt x="86" y="438"/>
                    </a:lnTo>
                    <a:lnTo>
                      <a:pt x="89" y="444"/>
                    </a:lnTo>
                    <a:lnTo>
                      <a:pt x="93" y="449"/>
                    </a:lnTo>
                    <a:lnTo>
                      <a:pt x="101" y="459"/>
                    </a:lnTo>
                    <a:lnTo>
                      <a:pt x="105" y="464"/>
                    </a:lnTo>
                    <a:lnTo>
                      <a:pt x="110" y="468"/>
                    </a:lnTo>
                    <a:lnTo>
                      <a:pt x="115" y="472"/>
                    </a:lnTo>
                    <a:lnTo>
                      <a:pt x="120" y="476"/>
                    </a:lnTo>
                    <a:lnTo>
                      <a:pt x="125" y="479"/>
                    </a:lnTo>
                    <a:lnTo>
                      <a:pt x="131" y="483"/>
                    </a:lnTo>
                    <a:lnTo>
                      <a:pt x="137" y="485"/>
                    </a:lnTo>
                    <a:lnTo>
                      <a:pt x="143" y="488"/>
                    </a:lnTo>
                    <a:lnTo>
                      <a:pt x="155" y="492"/>
                    </a:lnTo>
                    <a:lnTo>
                      <a:pt x="169" y="494"/>
                    </a:lnTo>
                    <a:lnTo>
                      <a:pt x="183" y="495"/>
                    </a:lnTo>
                    <a:lnTo>
                      <a:pt x="199" y="494"/>
                    </a:lnTo>
                    <a:lnTo>
                      <a:pt x="206" y="493"/>
                    </a:lnTo>
                    <a:lnTo>
                      <a:pt x="213" y="492"/>
                    </a:lnTo>
                    <a:lnTo>
                      <a:pt x="220" y="490"/>
                    </a:lnTo>
                    <a:lnTo>
                      <a:pt x="226" y="488"/>
                    </a:lnTo>
                    <a:lnTo>
                      <a:pt x="232" y="485"/>
                    </a:lnTo>
                    <a:lnTo>
                      <a:pt x="238" y="483"/>
                    </a:lnTo>
                    <a:lnTo>
                      <a:pt x="244" y="479"/>
                    </a:lnTo>
                    <a:lnTo>
                      <a:pt x="249" y="476"/>
                    </a:lnTo>
                    <a:lnTo>
                      <a:pt x="255" y="472"/>
                    </a:lnTo>
                    <a:lnTo>
                      <a:pt x="259" y="468"/>
                    </a:lnTo>
                    <a:lnTo>
                      <a:pt x="264" y="464"/>
                    </a:lnTo>
                    <a:lnTo>
                      <a:pt x="269" y="459"/>
                    </a:lnTo>
                    <a:lnTo>
                      <a:pt x="277" y="449"/>
                    </a:lnTo>
                    <a:lnTo>
                      <a:pt x="284" y="438"/>
                    </a:lnTo>
                    <a:lnTo>
                      <a:pt x="287" y="432"/>
                    </a:lnTo>
                    <a:lnTo>
                      <a:pt x="290" y="426"/>
                    </a:lnTo>
                    <a:lnTo>
                      <a:pt x="295" y="413"/>
                    </a:lnTo>
                    <a:lnTo>
                      <a:pt x="299" y="400"/>
                    </a:lnTo>
                    <a:lnTo>
                      <a:pt x="302" y="386"/>
                    </a:lnTo>
                    <a:lnTo>
                      <a:pt x="303" y="379"/>
                    </a:lnTo>
                    <a:lnTo>
                      <a:pt x="304" y="372"/>
                    </a:lnTo>
                    <a:lnTo>
                      <a:pt x="306" y="357"/>
                    </a:lnTo>
                    <a:lnTo>
                      <a:pt x="306" y="341"/>
                    </a:lnTo>
                    <a:lnTo>
                      <a:pt x="306" y="326"/>
                    </a:lnTo>
                    <a:lnTo>
                      <a:pt x="304" y="311"/>
                    </a:lnTo>
                    <a:lnTo>
                      <a:pt x="302" y="297"/>
                    </a:lnTo>
                    <a:lnTo>
                      <a:pt x="298" y="283"/>
                    </a:lnTo>
                    <a:lnTo>
                      <a:pt x="294" y="269"/>
                    </a:lnTo>
                    <a:lnTo>
                      <a:pt x="288" y="256"/>
                    </a:lnTo>
                    <a:lnTo>
                      <a:pt x="285" y="250"/>
                    </a:lnTo>
                    <a:lnTo>
                      <a:pt x="282" y="244"/>
                    </a:lnTo>
                    <a:lnTo>
                      <a:pt x="275" y="233"/>
                    </a:lnTo>
                    <a:lnTo>
                      <a:pt x="271" y="228"/>
                    </a:lnTo>
                    <a:lnTo>
                      <a:pt x="266" y="223"/>
                    </a:lnTo>
                    <a:lnTo>
                      <a:pt x="262" y="219"/>
                    </a:lnTo>
                    <a:lnTo>
                      <a:pt x="257" y="214"/>
                    </a:lnTo>
                    <a:lnTo>
                      <a:pt x="247" y="206"/>
                    </a:lnTo>
                    <a:lnTo>
                      <a:pt x="242" y="203"/>
                    </a:lnTo>
                    <a:lnTo>
                      <a:pt x="236" y="199"/>
                    </a:lnTo>
                    <a:lnTo>
                      <a:pt x="230" y="197"/>
                    </a:lnTo>
                    <a:lnTo>
                      <a:pt x="224" y="194"/>
                    </a:lnTo>
                    <a:lnTo>
                      <a:pt x="218" y="192"/>
                    </a:lnTo>
                    <a:lnTo>
                      <a:pt x="211" y="190"/>
                    </a:lnTo>
                    <a:lnTo>
                      <a:pt x="205" y="189"/>
                    </a:lnTo>
                    <a:lnTo>
                      <a:pt x="198" y="188"/>
                    </a:lnTo>
                    <a:lnTo>
                      <a:pt x="183" y="1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44"/>
                <a:endParaRPr lang="fi-FI" sz="1400">
                  <a:solidFill>
                    <a:srgbClr val="4D4D4D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80688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1290"/>
                                  </p:stCondLst>
                                  <p:childTnLst>
                                    <p:animMotion origin="layout" path="M -2.6102E-6 -1.11111E-6 L -2.6102E-6 -0.08025 " pathEditMode="relative" rAng="0" ptsTypes="AA">
                                      <p:cBhvr>
                                        <p:cTn id="6" dur="2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0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1.11111E-6 0.04285 L -1.11111E-6 -0.41831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0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8" accel="50000" decel="50000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8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8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20" grpId="0"/>
      <p:bldP spid="21" grpId="0"/>
      <p:bldP spid="22" grpId="0"/>
      <p:bldP spid="25" grpId="0"/>
      <p:bldP spid="26" grpId="0"/>
      <p:bldP spid="27" grpId="0"/>
      <p:bldP spid="28" grpId="0"/>
      <p:bldP spid="34" grpId="0"/>
      <p:bldP spid="35" grpId="0"/>
      <p:bldP spid="36" grpId="0"/>
      <p:bldP spid="37" grpId="0"/>
      <p:bldP spid="38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06" y="1132777"/>
            <a:ext cx="8653807" cy="28382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50222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5000" b="-1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84507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89001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C:\Users\meike\Downloads\Presentatie BlueLine-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" y="0"/>
            <a:ext cx="914129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530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Users\meike\Desktop\Presentatie BlueLine20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mobilsenteret.net/media/catalog/product/cache/1/image/1200x1200/9df78eab33525d08d6e5fb8d27136e95/n/o/nokia_6310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608095"/>
            <a:ext cx="3262666" cy="3262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ep 2"/>
          <p:cNvGrpSpPr/>
          <p:nvPr/>
        </p:nvGrpSpPr>
        <p:grpSpPr>
          <a:xfrm>
            <a:off x="5233185" y="1558393"/>
            <a:ext cx="2016224" cy="3317613"/>
            <a:chOff x="4962525" y="419101"/>
            <a:chExt cx="2104966" cy="3810000"/>
          </a:xfrm>
        </p:grpSpPr>
        <p:sp>
          <p:nvSpPr>
            <p:cNvPr id="2" name="Rechthoek 1"/>
            <p:cNvSpPr/>
            <p:nvPr/>
          </p:nvSpPr>
          <p:spPr>
            <a:xfrm>
              <a:off x="5148064" y="915566"/>
              <a:ext cx="1656184" cy="28062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pic>
          <p:nvPicPr>
            <p:cNvPr id="1032" name="Picture 8" descr="https://d13yacurqjgara.cloudfront.net/users/161337/screenshots/1719571/attachments/303273/iphone_6.pn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5284" b="94227" l="9988" r="4867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25" t="3632" r="50000" b="5130"/>
            <a:stretch/>
          </p:blipFill>
          <p:spPr bwMode="auto">
            <a:xfrm>
              <a:off x="4962525" y="419101"/>
              <a:ext cx="2104966" cy="381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Rechthoek 3"/>
          <p:cNvSpPr/>
          <p:nvPr/>
        </p:nvSpPr>
        <p:spPr>
          <a:xfrm>
            <a:off x="1471762" y="900209"/>
            <a:ext cx="16862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2005</a:t>
            </a:r>
            <a:endParaRPr lang="nl-NL" sz="3200" b="1" dirty="0">
              <a:solidFill>
                <a:schemeClr val="bg1"/>
              </a:solidFill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5623520" y="888986"/>
            <a:ext cx="109517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2015</a:t>
            </a:r>
            <a:endParaRPr lang="nl-NL" sz="3200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Tabel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221368"/>
              </p:ext>
            </p:extLst>
          </p:nvPr>
        </p:nvGraphicFramePr>
        <p:xfrm>
          <a:off x="2575285" y="3217571"/>
          <a:ext cx="1996715" cy="93689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17024"/>
                <a:gridCol w="579691"/>
              </a:tblGrid>
              <a:tr h="230504">
                <a:tc gridSpan="2">
                  <a:txBody>
                    <a:bodyPr/>
                    <a:lstStyle/>
                    <a:p>
                      <a:pPr algn="ctr"/>
                      <a:r>
                        <a:rPr lang="nl-NL" sz="1000" b="1" dirty="0" smtClean="0">
                          <a:latin typeface="Helveticaa"/>
                        </a:rPr>
                        <a:t>NOKIA 6310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6835" marR="76835" marT="38417" marB="38417" anchor="ctr"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</a:tr>
              <a:tr h="230504">
                <a:tc>
                  <a:txBody>
                    <a:bodyPr/>
                    <a:lstStyle/>
                    <a:p>
                      <a:r>
                        <a:rPr lang="nl-NL" sz="1000" b="1" dirty="0" smtClean="0">
                          <a:latin typeface="Helveticaa"/>
                        </a:rPr>
                        <a:t>ARPU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6835" marR="76835" marT="38417" marB="38417" anchor="ctr"/>
                </a:tc>
                <a:tc>
                  <a:txBody>
                    <a:bodyPr/>
                    <a:lstStyle/>
                    <a:p>
                      <a:r>
                        <a:rPr lang="nl-NL" sz="1000" b="1" dirty="0" smtClean="0">
                          <a:latin typeface="Helveticaa"/>
                        </a:rPr>
                        <a:t>€ 95,-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6835" marR="76835" marT="38417" marB="38417" anchor="ctr"/>
                </a:tc>
              </a:tr>
              <a:tr h="230504">
                <a:tc>
                  <a:txBody>
                    <a:bodyPr/>
                    <a:lstStyle/>
                    <a:p>
                      <a:r>
                        <a:rPr lang="nl-NL" sz="1000" b="1" dirty="0" smtClean="0">
                          <a:latin typeface="Helveticaa"/>
                        </a:rPr>
                        <a:t>MARGE TOESTEL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6835" marR="76835" marT="38417" marB="38417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000" b="1" dirty="0" smtClean="0">
                          <a:latin typeface="Helveticaa"/>
                        </a:rPr>
                        <a:t>€ 50,-</a:t>
                      </a:r>
                    </a:p>
                  </a:txBody>
                  <a:tcPr marL="76835" marR="76835" marT="38417" marB="38417" anchor="ctr"/>
                </a:tc>
              </a:tr>
              <a:tr h="245385">
                <a:tc>
                  <a:txBody>
                    <a:bodyPr/>
                    <a:lstStyle/>
                    <a:p>
                      <a:r>
                        <a:rPr lang="nl-NL" sz="1000" b="1" dirty="0" smtClean="0">
                          <a:latin typeface="Helveticaa"/>
                        </a:rPr>
                        <a:t>TOESTEL</a:t>
                      </a:r>
                      <a:r>
                        <a:rPr lang="nl-NL" sz="1000" b="1" baseline="0" dirty="0" smtClean="0">
                          <a:latin typeface="Helveticaa"/>
                        </a:rPr>
                        <a:t>PRIJS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6835" marR="76835" marT="38417" marB="38417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000" b="1" dirty="0" smtClean="0">
                          <a:latin typeface="Helveticaa"/>
                        </a:rPr>
                        <a:t>€ 279,-</a:t>
                      </a:r>
                    </a:p>
                  </a:txBody>
                  <a:tcPr marL="76835" marR="76835" marT="38417" marB="38417" anchor="ctr"/>
                </a:tc>
              </a:tr>
            </a:tbl>
          </a:graphicData>
        </a:graphic>
      </p:graphicFrame>
      <p:graphicFrame>
        <p:nvGraphicFramePr>
          <p:cNvPr id="18" name="Tabe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306273"/>
              </p:ext>
            </p:extLst>
          </p:nvPr>
        </p:nvGraphicFramePr>
        <p:xfrm>
          <a:off x="6444208" y="3212480"/>
          <a:ext cx="1944216" cy="91617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42367"/>
                <a:gridCol w="701849"/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l-NL" sz="1000" b="1" dirty="0" err="1" smtClean="0">
                          <a:latin typeface="Helveticaa"/>
                        </a:rPr>
                        <a:t>iPHONE</a:t>
                      </a:r>
                      <a:r>
                        <a:rPr lang="nl-NL" sz="1000" b="1" baseline="0" dirty="0" smtClean="0">
                          <a:latin typeface="Helveticaa"/>
                        </a:rPr>
                        <a:t> 6S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4815" marR="74815" marT="37407" marB="37407" anchor="ctr"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</a:tr>
              <a:tr h="225784">
                <a:tc>
                  <a:txBody>
                    <a:bodyPr/>
                    <a:lstStyle/>
                    <a:p>
                      <a:r>
                        <a:rPr lang="nl-NL" sz="1000" b="1" dirty="0" smtClean="0">
                          <a:latin typeface="Helveticaa"/>
                        </a:rPr>
                        <a:t>ARPU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4815" marR="74815" marT="37407" marB="37407" anchor="ctr"/>
                </a:tc>
                <a:tc>
                  <a:txBody>
                    <a:bodyPr/>
                    <a:lstStyle/>
                    <a:p>
                      <a:r>
                        <a:rPr lang="nl-NL" sz="1000" b="1" dirty="0" smtClean="0">
                          <a:latin typeface="Helveticaa"/>
                        </a:rPr>
                        <a:t>€ 35,-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4815" marR="74815" marT="37407" marB="37407" anchor="ctr"/>
                </a:tc>
              </a:tr>
              <a:tr h="234530">
                <a:tc>
                  <a:txBody>
                    <a:bodyPr/>
                    <a:lstStyle/>
                    <a:p>
                      <a:r>
                        <a:rPr lang="nl-NL" sz="1000" b="1" dirty="0" smtClean="0">
                          <a:latin typeface="Helveticaa"/>
                        </a:rPr>
                        <a:t>MARGE TOESTEL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4815" marR="74815" marT="37407" marB="37407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000" b="1" dirty="0" smtClean="0">
                          <a:latin typeface="Helveticaa"/>
                        </a:rPr>
                        <a:t>€ 20,-</a:t>
                      </a:r>
                    </a:p>
                  </a:txBody>
                  <a:tcPr marL="74815" marR="74815" marT="37407" marB="37407" anchor="ctr"/>
                </a:tc>
              </a:tr>
              <a:tr h="225784">
                <a:tc>
                  <a:txBody>
                    <a:bodyPr/>
                    <a:lstStyle/>
                    <a:p>
                      <a:r>
                        <a:rPr lang="nl-NL" sz="1000" b="1" dirty="0" smtClean="0">
                          <a:latin typeface="Helveticaa"/>
                        </a:rPr>
                        <a:t>TOESTEL</a:t>
                      </a:r>
                      <a:r>
                        <a:rPr lang="nl-NL" sz="1000" b="1" baseline="0" dirty="0" smtClean="0">
                          <a:latin typeface="Helveticaa"/>
                        </a:rPr>
                        <a:t>PRIJS</a:t>
                      </a:r>
                      <a:endParaRPr lang="nl-NL" sz="1000" b="1" dirty="0">
                        <a:latin typeface="Helveticaa"/>
                      </a:endParaRPr>
                    </a:p>
                  </a:txBody>
                  <a:tcPr marL="74815" marR="74815" marT="37407" marB="37407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000" b="1" dirty="0" smtClean="0">
                          <a:latin typeface="Helveticaa"/>
                        </a:rPr>
                        <a:t>€ 749,-</a:t>
                      </a:r>
                    </a:p>
                  </a:txBody>
                  <a:tcPr marL="74815" marR="74815" marT="37407" marB="37407" anchor="ctr"/>
                </a:tc>
              </a:tr>
            </a:tbl>
          </a:graphicData>
        </a:graphic>
      </p:graphicFrame>
      <p:sp>
        <p:nvSpPr>
          <p:cNvPr id="13" name="Tekstvak 12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Ontwikkeling</a:t>
            </a:r>
          </a:p>
        </p:txBody>
      </p:sp>
    </p:spTree>
    <p:extLst>
      <p:ext uri="{BB962C8B-B14F-4D97-AF65-F5344CB8AC3E}">
        <p14:creationId xmlns:p14="http://schemas.microsoft.com/office/powerpoint/2010/main" val="223742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meike\Desktop\Presentatie BlueLine20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hoek 2"/>
          <p:cNvSpPr/>
          <p:nvPr/>
        </p:nvSpPr>
        <p:spPr>
          <a:xfrm>
            <a:off x="323529" y="997538"/>
            <a:ext cx="13681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nl-NL" sz="1400" b="1" dirty="0" smtClean="0">
                <a:solidFill>
                  <a:schemeClr val="bg1"/>
                </a:solidFill>
                <a:latin typeface="Helveticaa"/>
              </a:rPr>
              <a:t>Gemiddelde </a:t>
            </a:r>
          </a:p>
          <a:p>
            <a:pPr algn="r"/>
            <a:r>
              <a:rPr lang="nl-NL" sz="1400" b="1" dirty="0" smtClean="0">
                <a:solidFill>
                  <a:schemeClr val="bg1"/>
                </a:solidFill>
                <a:latin typeface="Helveticaa"/>
              </a:rPr>
              <a:t>omzet (€) p/m</a:t>
            </a:r>
            <a:endParaRPr lang="nl-NL" sz="1400" b="1" dirty="0">
              <a:solidFill>
                <a:schemeClr val="bg1"/>
              </a:solidFill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6084168" y="4803998"/>
            <a:ext cx="10297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400" b="1" dirty="0" smtClean="0">
                <a:solidFill>
                  <a:schemeClr val="bg1"/>
                </a:solidFill>
                <a:latin typeface="Helveticaa"/>
              </a:rPr>
              <a:t>Klanten</a:t>
            </a:r>
            <a:endParaRPr lang="nl-NL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Grafiek 5"/>
          <p:cNvGraphicFramePr/>
          <p:nvPr>
            <p:extLst>
              <p:ext uri="{D42A27DB-BD31-4B8C-83A1-F6EECF244321}">
                <p14:modId xmlns:p14="http://schemas.microsoft.com/office/powerpoint/2010/main" val="699734320"/>
              </p:ext>
            </p:extLst>
          </p:nvPr>
        </p:nvGraphicFramePr>
        <p:xfrm>
          <a:off x="1660225" y="1275606"/>
          <a:ext cx="5641306" cy="3723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kstvak 6"/>
          <p:cNvSpPr txBox="1"/>
          <p:nvPr/>
        </p:nvSpPr>
        <p:spPr>
          <a:xfrm>
            <a:off x="1691680" y="3641373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400" b="1" dirty="0" smtClean="0">
                <a:solidFill>
                  <a:schemeClr val="bg1"/>
                </a:solidFill>
                <a:latin typeface="Helveticaa"/>
              </a:rPr>
              <a:t>VERBINDINGEN</a:t>
            </a:r>
            <a:endParaRPr lang="nl-NL" sz="1400" b="1" dirty="0">
              <a:solidFill>
                <a:schemeClr val="bg1"/>
              </a:solidFill>
              <a:latin typeface="Helveticaa"/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1691680" y="4341708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400" b="1" dirty="0" smtClean="0">
                <a:solidFill>
                  <a:schemeClr val="bg1"/>
                </a:solidFill>
                <a:latin typeface="Helveticaa"/>
              </a:rPr>
              <a:t>DEVICES</a:t>
            </a:r>
            <a:endParaRPr lang="nl-NL" sz="1400" b="1" dirty="0">
              <a:solidFill>
                <a:schemeClr val="bg1"/>
              </a:solidFill>
              <a:latin typeface="Helveticaa"/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1691680" y="2489245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400" b="1" dirty="0" smtClean="0">
                <a:solidFill>
                  <a:schemeClr val="bg1"/>
                </a:solidFill>
                <a:latin typeface="Helveticaa"/>
              </a:rPr>
              <a:t>APPLICATIES</a:t>
            </a:r>
            <a:endParaRPr lang="nl-NL" sz="1400" b="1" dirty="0">
              <a:solidFill>
                <a:schemeClr val="bg1"/>
              </a:solidFill>
              <a:latin typeface="Helveticaa"/>
            </a:endParaRPr>
          </a:p>
        </p:txBody>
      </p:sp>
      <p:sp>
        <p:nvSpPr>
          <p:cNvPr id="14" name="Tekstvak 13"/>
          <p:cNvSpPr txBox="1"/>
          <p:nvPr/>
        </p:nvSpPr>
        <p:spPr>
          <a:xfrm>
            <a:off x="4409751" y="3200033"/>
            <a:ext cx="2880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400" b="1" dirty="0" smtClean="0">
                <a:solidFill>
                  <a:schemeClr val="bg1"/>
                </a:solidFill>
                <a:latin typeface="Helveticaa"/>
              </a:rPr>
              <a:t>NEW BUSINESS</a:t>
            </a:r>
            <a:endParaRPr lang="nl-NL" sz="1400" b="1" dirty="0">
              <a:solidFill>
                <a:schemeClr val="bg1"/>
              </a:solidFill>
              <a:latin typeface="Helveticaa"/>
            </a:endParaRPr>
          </a:p>
        </p:txBody>
      </p:sp>
      <p:sp>
        <p:nvSpPr>
          <p:cNvPr id="10" name="Tekstvak 9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Marge</a:t>
            </a:r>
          </a:p>
        </p:txBody>
      </p:sp>
      <p:sp>
        <p:nvSpPr>
          <p:cNvPr id="2" name="Rechthoek 1"/>
          <p:cNvSpPr/>
          <p:nvPr/>
        </p:nvSpPr>
        <p:spPr>
          <a:xfrm>
            <a:off x="3464886" y="788228"/>
            <a:ext cx="2251386" cy="4873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2000" dirty="0">
                <a:solidFill>
                  <a:schemeClr val="bg1"/>
                </a:solidFill>
                <a:latin typeface="Helveticaa"/>
              </a:rPr>
              <a:t>Toekomstig model</a:t>
            </a:r>
          </a:p>
        </p:txBody>
      </p:sp>
      <p:cxnSp>
        <p:nvCxnSpPr>
          <p:cNvPr id="5" name="Rechte verbindingslijn met pijl 4"/>
          <p:cNvCxnSpPr/>
          <p:nvPr/>
        </p:nvCxnSpPr>
        <p:spPr>
          <a:xfrm flipV="1">
            <a:off x="3203848" y="3003798"/>
            <a:ext cx="0" cy="5040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chte verbindingslijn met pijl 11"/>
          <p:cNvCxnSpPr/>
          <p:nvPr/>
        </p:nvCxnSpPr>
        <p:spPr>
          <a:xfrm>
            <a:off x="4283968" y="3641373"/>
            <a:ext cx="100811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76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6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2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6">
                                            <p:graphicEl>
                                              <a:chart seriesIdx="2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">
                                            <p:graphicEl>
                                              <a:chart seriesIdx="2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6">
                                            <p:graphicEl>
                                              <a:chart seriesIdx="2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3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6">
                                            <p:graphicEl>
                                              <a:chart seriesIdx="3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6">
                                            <p:graphicEl>
                                              <a:chart seriesIdx="3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6">
                                            <p:graphicEl>
                                              <a:chart seriesIdx="3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/>
      <p:bldGraphic spid="6" grpId="0" uiExpand="1">
        <p:bldSub>
          <a:bldChart bld="categoryEl"/>
        </p:bldSub>
      </p:bldGraphic>
      <p:bldP spid="7" grpId="0"/>
      <p:bldP spid="11" grpId="0"/>
      <p:bldP spid="13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meike\Desktop\Presentatie BlueLine20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037580622"/>
              </p:ext>
            </p:extLst>
          </p:nvPr>
        </p:nvGraphicFramePr>
        <p:xfrm>
          <a:off x="2483768" y="987574"/>
          <a:ext cx="4374039" cy="3528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138087721"/>
              </p:ext>
            </p:extLst>
          </p:nvPr>
        </p:nvGraphicFramePr>
        <p:xfrm>
          <a:off x="2699793" y="1059582"/>
          <a:ext cx="3976400" cy="3528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704168979"/>
              </p:ext>
            </p:extLst>
          </p:nvPr>
        </p:nvGraphicFramePr>
        <p:xfrm>
          <a:off x="2699792" y="1059582"/>
          <a:ext cx="3976400" cy="3528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6" name="Tekstvak 5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Van </a:t>
            </a:r>
            <a:r>
              <a:rPr lang="nl-NL" sz="3200" b="1" dirty="0" err="1" smtClean="0">
                <a:solidFill>
                  <a:schemeClr val="bg1"/>
                </a:solidFill>
                <a:latin typeface="Helveticaa"/>
              </a:rPr>
              <a:t>reseller</a:t>
            </a: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 naar </a:t>
            </a:r>
            <a:r>
              <a:rPr lang="nl-NL" sz="3200" b="1" dirty="0" err="1" smtClean="0">
                <a:solidFill>
                  <a:schemeClr val="bg1"/>
                </a:solidFill>
                <a:latin typeface="Helveticaa"/>
              </a:rPr>
              <a:t>managed</a:t>
            </a: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 service provider</a:t>
            </a:r>
          </a:p>
        </p:txBody>
      </p:sp>
    </p:spTree>
    <p:extLst>
      <p:ext uri="{BB962C8B-B14F-4D97-AF65-F5344CB8AC3E}">
        <p14:creationId xmlns:p14="http://schemas.microsoft.com/office/powerpoint/2010/main" val="45398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C983EB90-9859-4B3E-AD3D-6A5B8491E8A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2">
                                            <p:graphicEl>
                                              <a:dgm id="{C983EB90-9859-4B3E-AD3D-6A5B8491E8A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A837A120-2DAE-4CD1-ADCB-0ABBF1CAA99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2">
                                            <p:graphicEl>
                                              <a:dgm id="{A837A120-2DAE-4CD1-ADCB-0ABBF1CAA99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4917C1BE-A582-4ADE-8AAC-C725845A4F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2">
                                            <p:graphicEl>
                                              <a:dgm id="{4917C1BE-A582-4ADE-8AAC-C725845A4F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B9E4DAAD-7F47-48C2-8F29-06D29115FE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2">
                                            <p:graphicEl>
                                              <a:dgm id="{B9E4DAAD-7F47-48C2-8F29-06D29115FE1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2000"/>
                                        <p:tgtEl>
                                          <p:spTgt spid="12">
                                            <p:graphicEl>
                                              <a:dgm id="{C983EB90-9859-4B3E-AD3D-6A5B8491E8A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C983EB90-9859-4B3E-AD3D-6A5B8491E8A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000"/>
                                        <p:tgtEl>
                                          <p:spTgt spid="12">
                                            <p:graphicEl>
                                              <a:dgm id="{A837A120-2DAE-4CD1-ADCB-0ABBF1CAA99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A837A120-2DAE-4CD1-ADCB-0ABBF1CAA99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2000"/>
                                        <p:tgtEl>
                                          <p:spTgt spid="12">
                                            <p:graphicEl>
                                              <a:dgm id="{4917C1BE-A582-4ADE-8AAC-C725845A4F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4917C1BE-A582-4ADE-8AAC-C725845A4F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2000"/>
                                        <p:tgtEl>
                                          <p:spTgt spid="12">
                                            <p:graphicEl>
                                              <a:dgm id="{B9E4DAAD-7F47-48C2-8F29-06D29115FE1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>
                                            <p:graphicEl>
                                              <a:dgm id="{B9E4DAAD-7F47-48C2-8F29-06D29115FE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 uiExpand="1">
        <p:bldSub>
          <a:bldDgm/>
        </p:bldSub>
      </p:bldGraphic>
      <p:bldGraphic spid="12" grpId="1" uiExpand="1">
        <p:bldSub>
          <a:bldDgm/>
        </p:bldSub>
      </p:bldGraphic>
      <p:bldGraphic spid="4" grpId="0">
        <p:bldAsOne/>
      </p:bldGraphic>
      <p:bldGraphic spid="4" grpId="1">
        <p:bldAsOne/>
      </p:bldGraphic>
      <p:bldGraphic spid="5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meike\Desktop\Presentatie BlueLine20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kstvak 5"/>
          <p:cNvSpPr txBox="1"/>
          <p:nvPr/>
        </p:nvSpPr>
        <p:spPr>
          <a:xfrm>
            <a:off x="0" y="411510"/>
            <a:ext cx="9144000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500"/>
              </a:lnSpc>
            </a:pPr>
            <a:r>
              <a:rPr lang="nl-NL" sz="3200" b="1" dirty="0" smtClean="0">
                <a:solidFill>
                  <a:schemeClr val="bg1"/>
                </a:solidFill>
                <a:latin typeface="Helveticaa"/>
              </a:rPr>
              <a:t>Servic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9797" y="99465"/>
            <a:ext cx="5502206" cy="4848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683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OHZZ3TDUChzSJ5U_u3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OHZZ3TDUChzSJ5U_u3IA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e online company">
  <a:themeElements>
    <a:clrScheme name="Fundamenteel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he">
      <a:majorFont>
        <a:latin typeface="Helvetica Neue"/>
        <a:ea typeface=""/>
        <a:cs typeface=""/>
      </a:majorFont>
      <a:minorFont>
        <a:latin typeface="Helvetica Neu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blank">
  <a:themeElements>
    <a:clrScheme name="SANOMA">
      <a:dk1>
        <a:srgbClr val="4D4D4D"/>
      </a:dk1>
      <a:lt1>
        <a:sysClr val="window" lastClr="FFFFFF"/>
      </a:lt1>
      <a:dk2>
        <a:srgbClr val="7326FA"/>
      </a:dk2>
      <a:lt2>
        <a:srgbClr val="E8E8E8"/>
      </a:lt2>
      <a:accent1>
        <a:srgbClr val="999999"/>
      </a:accent1>
      <a:accent2>
        <a:srgbClr val="1D039E"/>
      </a:accent2>
      <a:accent3>
        <a:srgbClr val="F77D82"/>
      </a:accent3>
      <a:accent4>
        <a:srgbClr val="30FA8E"/>
      </a:accent4>
      <a:accent5>
        <a:srgbClr val="00F5F4"/>
      </a:accent5>
      <a:accent6>
        <a:srgbClr val="BD2EFB"/>
      </a:accent6>
      <a:hlink>
        <a:srgbClr val="2F20EC"/>
      </a:hlink>
      <a:folHlink>
        <a:srgbClr val="9999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pc="-40" dirty="0" smtClean="0">
            <a:solidFill>
              <a:schemeClr val="accent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sanoma 16:9 - green">
  <a:themeElements>
    <a:clrScheme name="SANOMA">
      <a:dk1>
        <a:srgbClr val="4D4D4D"/>
      </a:dk1>
      <a:lt1>
        <a:sysClr val="window" lastClr="FFFFFF"/>
      </a:lt1>
      <a:dk2>
        <a:srgbClr val="7326FA"/>
      </a:dk2>
      <a:lt2>
        <a:srgbClr val="E8E8E8"/>
      </a:lt2>
      <a:accent1>
        <a:srgbClr val="999999"/>
      </a:accent1>
      <a:accent2>
        <a:srgbClr val="1D039E"/>
      </a:accent2>
      <a:accent3>
        <a:srgbClr val="F77D82"/>
      </a:accent3>
      <a:accent4>
        <a:srgbClr val="30FA8E"/>
      </a:accent4>
      <a:accent5>
        <a:srgbClr val="00F5F4"/>
      </a:accent5>
      <a:accent6>
        <a:srgbClr val="BD2EFB"/>
      </a:accent6>
      <a:hlink>
        <a:srgbClr val="2F20EC"/>
      </a:hlink>
      <a:folHlink>
        <a:srgbClr val="9999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pc="-40" dirty="0" smtClean="0">
            <a:solidFill>
              <a:schemeClr val="accent1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21</TotalTime>
  <Words>1501</Words>
  <Application>Microsoft Office PowerPoint</Application>
  <PresentationFormat>Diavoorstelling (16:9)</PresentationFormat>
  <Paragraphs>444</Paragraphs>
  <Slides>58</Slides>
  <Notes>12</Notes>
  <HiddenSlides>6</HiddenSlides>
  <MMClips>4</MMClips>
  <ScaleCrop>false</ScaleCrop>
  <HeadingPairs>
    <vt:vector size="4" baseType="variant">
      <vt:variant>
        <vt:lpstr>Thema</vt:lpstr>
      </vt:variant>
      <vt:variant>
        <vt:i4>5</vt:i4>
      </vt:variant>
      <vt:variant>
        <vt:lpstr>Diatitels</vt:lpstr>
      </vt:variant>
      <vt:variant>
        <vt:i4>58</vt:i4>
      </vt:variant>
    </vt:vector>
  </HeadingPairs>
  <TitlesOfParts>
    <vt:vector size="63" baseType="lpstr">
      <vt:lpstr>Kantoorthema</vt:lpstr>
      <vt:lpstr>Office-thema</vt:lpstr>
      <vt:lpstr>The online company</vt:lpstr>
      <vt:lpstr>blank</vt:lpstr>
      <vt:lpstr>sanoma 16:9 - green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BlueLine &amp; ClickDistrict</vt:lpstr>
      <vt:lpstr>Over ClickDistrict</vt:lpstr>
      <vt:lpstr>PowerPoint-presentatie</vt:lpstr>
      <vt:lpstr>Outline uitgangspositie</vt:lpstr>
      <vt:lpstr>Strategie</vt:lpstr>
      <vt:lpstr>Strategie</vt:lpstr>
      <vt:lpstr>Display Advertising – Programmatic</vt:lpstr>
      <vt:lpstr>Display Advertising - prospecting</vt:lpstr>
      <vt:lpstr>Display Advertising – Retargeting</vt:lpstr>
      <vt:lpstr>Mobile Marketing - Custom Audiences</vt:lpstr>
      <vt:lpstr>Tracking – Monitoring voortgang campagne</vt:lpstr>
      <vt:lpstr>Tracking en inzichten</vt:lpstr>
      <vt:lpstr>PowerPoint-presentatie</vt:lpstr>
      <vt:lpstr>PowerPoint-presentatie</vt:lpstr>
      <vt:lpstr>PowerPoint-presentatie</vt:lpstr>
      <vt:lpstr>Sanoma Mobile update Kick-off MSP 24    |    3 december 2015    |    Orban Büller</vt:lpstr>
      <vt:lpstr>PowerPoint-presentatie</vt:lpstr>
      <vt:lpstr>Wereldwijde media verschuiving richting Mobiel</vt:lpstr>
      <vt:lpstr>Sanoma: 70% van onze traffic komt van een mobiel device</vt:lpstr>
      <vt:lpstr>NU.nl: de afgelopen 4 jaar is het aantal pagina vertoningen per gebruiker bijna verdrievoudigd naar meer dan 200 per maand</vt:lpstr>
      <vt:lpstr>DE 3 ERGSTE DINGEN DIE KUNNEN GEBEUREN</vt:lpstr>
      <vt:lpstr>PowerPoint-presentatie</vt:lpstr>
      <vt:lpstr>Mobiel adverteren heeft de grootste impact op merk bekendheid</vt:lpstr>
      <vt:lpstr>Interactieve formaten presteren tot 10x beter dan statische display uitingen</vt:lpstr>
      <vt:lpstr>PowerPoint-presentatie</vt:lpstr>
      <vt:lpstr>PowerPoint-presentatie</vt:lpstr>
      <vt:lpstr>PowerPoint-presentatie</vt:lpstr>
      <vt:lpstr>PowerPoint-presentatie</vt:lpstr>
      <vt:lpstr>PowerPoint-presentatie</vt:lpstr>
      <vt:lpstr>Bereik op leesgedrag</vt:lpstr>
      <vt:lpstr>Bereik op locatiegedrag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eike Peekstok</dc:creator>
  <cp:lastModifiedBy>Meike Peekstok</cp:lastModifiedBy>
  <cp:revision>325</cp:revision>
  <dcterms:created xsi:type="dcterms:W3CDTF">2015-10-06T13:19:24Z</dcterms:created>
  <dcterms:modified xsi:type="dcterms:W3CDTF">2015-12-03T20:29:04Z</dcterms:modified>
</cp:coreProperties>
</file>